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3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4.xml" ContentType="application/vnd.openxmlformats-officedocument.theme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theme/theme5.xml" ContentType="application/vnd.openxmlformats-officedocument.theme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theme/theme6.xml" ContentType="application/vnd.openxmlformats-officedocument.theme+xml"/>
  <Override PartName="/ppt/ink/ink1.xml" ContentType="application/inkml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theme/theme7.xml" ContentType="application/vnd.openxmlformats-officedocument.theme+xml"/>
  <Override PartName="/ppt/ink/ink2.xml" ContentType="application/inkml+xml"/>
  <Override PartName="/ppt/ink/ink3.xml" ContentType="application/inkml+xml"/>
  <Override PartName="/ppt/ink/ink4.xml" ContentType="application/inkml+xml"/>
  <Override PartName="/ppt/tags/tag4.xml" ContentType="application/vnd.openxmlformats-officedocument.presentationml.tags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theme/theme8.xml" ContentType="application/vnd.openxmlformats-officedocument.theme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theme/theme9.xml" ContentType="application/vnd.openxmlformats-officedocument.theme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theme/theme10.xml" ContentType="application/vnd.openxmlformats-officedocument.theme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ink/ink9.xml" ContentType="application/inkml+xml"/>
  <Override PartName="/ppt/tags/tag5.xml" ContentType="application/vnd.openxmlformats-officedocument.presentationml.tags+xml"/>
  <Override PartName="/ppt/theme/theme11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1" r:id="rId1"/>
    <p:sldMasterId id="2147483690" r:id="rId2"/>
    <p:sldMasterId id="2147483717" r:id="rId3"/>
    <p:sldMasterId id="2147483744" r:id="rId4"/>
    <p:sldMasterId id="2147483798" r:id="rId5"/>
    <p:sldMasterId id="2147483826" r:id="rId6"/>
    <p:sldMasterId id="2147483862" r:id="rId7"/>
    <p:sldMasterId id="2147483914" r:id="rId8"/>
    <p:sldMasterId id="2147483926" r:id="rId9"/>
    <p:sldMasterId id="2147483938" r:id="rId10"/>
  </p:sldMasterIdLst>
  <p:notesMasterIdLst>
    <p:notesMasterId r:id="rId71"/>
  </p:notesMasterIdLst>
  <p:sldIdLst>
    <p:sldId id="1225" r:id="rId11"/>
    <p:sldId id="1226" r:id="rId12"/>
    <p:sldId id="1779" r:id="rId13"/>
    <p:sldId id="1780" r:id="rId14"/>
    <p:sldId id="1781" r:id="rId15"/>
    <p:sldId id="1782" r:id="rId16"/>
    <p:sldId id="1783" r:id="rId17"/>
    <p:sldId id="1784" r:id="rId18"/>
    <p:sldId id="1785" r:id="rId19"/>
    <p:sldId id="1786" r:id="rId20"/>
    <p:sldId id="1790" r:id="rId21"/>
    <p:sldId id="1791" r:id="rId22"/>
    <p:sldId id="1787" r:id="rId23"/>
    <p:sldId id="1788" r:id="rId24"/>
    <p:sldId id="1789" r:id="rId25"/>
    <p:sldId id="1792" r:id="rId26"/>
    <p:sldId id="261" r:id="rId27"/>
    <p:sldId id="1793" r:id="rId28"/>
    <p:sldId id="1794" r:id="rId29"/>
    <p:sldId id="1795" r:id="rId30"/>
    <p:sldId id="1797" r:id="rId31"/>
    <p:sldId id="1796" r:id="rId32"/>
    <p:sldId id="1798" r:id="rId33"/>
    <p:sldId id="262" r:id="rId34"/>
    <p:sldId id="1799" r:id="rId35"/>
    <p:sldId id="1800" r:id="rId36"/>
    <p:sldId id="1801" r:id="rId37"/>
    <p:sldId id="1802" r:id="rId38"/>
    <p:sldId id="1803" r:id="rId39"/>
    <p:sldId id="1804" r:id="rId40"/>
    <p:sldId id="1805" r:id="rId41"/>
    <p:sldId id="1806" r:id="rId42"/>
    <p:sldId id="263" r:id="rId43"/>
    <p:sldId id="1807" r:id="rId44"/>
    <p:sldId id="1808" r:id="rId45"/>
    <p:sldId id="1816" r:id="rId46"/>
    <p:sldId id="1817" r:id="rId47"/>
    <p:sldId id="1818" r:id="rId48"/>
    <p:sldId id="1819" r:id="rId49"/>
    <p:sldId id="1820" r:id="rId50"/>
    <p:sldId id="1821" r:id="rId51"/>
    <p:sldId id="1822" r:id="rId52"/>
    <p:sldId id="1823" r:id="rId53"/>
    <p:sldId id="1824" r:id="rId54"/>
    <p:sldId id="1825" r:id="rId55"/>
    <p:sldId id="1826" r:id="rId56"/>
    <p:sldId id="1827" r:id="rId57"/>
    <p:sldId id="1828" r:id="rId58"/>
    <p:sldId id="1829" r:id="rId59"/>
    <p:sldId id="1830" r:id="rId60"/>
    <p:sldId id="1831" r:id="rId61"/>
    <p:sldId id="1832" r:id="rId62"/>
    <p:sldId id="1833" r:id="rId63"/>
    <p:sldId id="1834" r:id="rId64"/>
    <p:sldId id="1835" r:id="rId65"/>
    <p:sldId id="1809" r:id="rId66"/>
    <p:sldId id="1810" r:id="rId67"/>
    <p:sldId id="1811" r:id="rId68"/>
    <p:sldId id="1812" r:id="rId69"/>
    <p:sldId id="264" r:id="rId7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BE96BF7-E961-4B4E-A2BF-7231CD060175}" v="56" dt="2019-05-08T17:51:13.05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171"/>
    <p:restoredTop sz="94622"/>
  </p:normalViewPr>
  <p:slideViewPr>
    <p:cSldViewPr snapToGrid="0" snapToObjects="1">
      <p:cViewPr varScale="1">
        <p:scale>
          <a:sx n="162" d="100"/>
          <a:sy n="162" d="100"/>
        </p:scale>
        <p:origin x="402" y="1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slide" Target="slides/slide29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slide" Target="slides/slide32.xml"/><Relationship Id="rId47" Type="http://schemas.openxmlformats.org/officeDocument/2006/relationships/slide" Target="slides/slide37.xml"/><Relationship Id="rId50" Type="http://schemas.openxmlformats.org/officeDocument/2006/relationships/slide" Target="slides/slide40.xml"/><Relationship Id="rId55" Type="http://schemas.openxmlformats.org/officeDocument/2006/relationships/slide" Target="slides/slide45.xml"/><Relationship Id="rId63" Type="http://schemas.openxmlformats.org/officeDocument/2006/relationships/slide" Target="slides/slide53.xml"/><Relationship Id="rId68" Type="http://schemas.openxmlformats.org/officeDocument/2006/relationships/slide" Target="slides/slide58.xml"/><Relationship Id="rId76" Type="http://schemas.microsoft.com/office/2016/11/relationships/changesInfo" Target="changesInfos/changesInfo1.xml"/><Relationship Id="rId7" Type="http://schemas.openxmlformats.org/officeDocument/2006/relationships/slideMaster" Target="slideMasters/slideMaster7.xml"/><Relationship Id="rId71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9" Type="http://schemas.openxmlformats.org/officeDocument/2006/relationships/slide" Target="slides/slide19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40" Type="http://schemas.openxmlformats.org/officeDocument/2006/relationships/slide" Target="slides/slide30.xml"/><Relationship Id="rId45" Type="http://schemas.openxmlformats.org/officeDocument/2006/relationships/slide" Target="slides/slide35.xml"/><Relationship Id="rId53" Type="http://schemas.openxmlformats.org/officeDocument/2006/relationships/slide" Target="slides/slide43.xml"/><Relationship Id="rId58" Type="http://schemas.openxmlformats.org/officeDocument/2006/relationships/slide" Target="slides/slide48.xml"/><Relationship Id="rId66" Type="http://schemas.openxmlformats.org/officeDocument/2006/relationships/slide" Target="slides/slide56.xml"/><Relationship Id="rId74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49" Type="http://schemas.openxmlformats.org/officeDocument/2006/relationships/slide" Target="slides/slide39.xml"/><Relationship Id="rId57" Type="http://schemas.openxmlformats.org/officeDocument/2006/relationships/slide" Target="slides/slide47.xml"/><Relationship Id="rId61" Type="http://schemas.openxmlformats.org/officeDocument/2006/relationships/slide" Target="slides/slide5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4" Type="http://schemas.openxmlformats.org/officeDocument/2006/relationships/slide" Target="slides/slide34.xml"/><Relationship Id="rId52" Type="http://schemas.openxmlformats.org/officeDocument/2006/relationships/slide" Target="slides/slide42.xml"/><Relationship Id="rId60" Type="http://schemas.openxmlformats.org/officeDocument/2006/relationships/slide" Target="slides/slide50.xml"/><Relationship Id="rId65" Type="http://schemas.openxmlformats.org/officeDocument/2006/relationships/slide" Target="slides/slide55.xml"/><Relationship Id="rId73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slide" Target="slides/slide33.xml"/><Relationship Id="rId48" Type="http://schemas.openxmlformats.org/officeDocument/2006/relationships/slide" Target="slides/slide38.xml"/><Relationship Id="rId56" Type="http://schemas.openxmlformats.org/officeDocument/2006/relationships/slide" Target="slides/slide46.xml"/><Relationship Id="rId64" Type="http://schemas.openxmlformats.org/officeDocument/2006/relationships/slide" Target="slides/slide54.xml"/><Relationship Id="rId69" Type="http://schemas.openxmlformats.org/officeDocument/2006/relationships/slide" Target="slides/slide59.xml"/><Relationship Id="rId77" Type="http://schemas.microsoft.com/office/2015/10/relationships/revisionInfo" Target="revisionInfo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1.xml"/><Relationship Id="rId72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slide" Target="slides/slide28.xml"/><Relationship Id="rId46" Type="http://schemas.openxmlformats.org/officeDocument/2006/relationships/slide" Target="slides/slide36.xml"/><Relationship Id="rId59" Type="http://schemas.openxmlformats.org/officeDocument/2006/relationships/slide" Target="slides/slide49.xml"/><Relationship Id="rId67" Type="http://schemas.openxmlformats.org/officeDocument/2006/relationships/slide" Target="slides/slide57.xml"/><Relationship Id="rId20" Type="http://schemas.openxmlformats.org/officeDocument/2006/relationships/slide" Target="slides/slide10.xml"/><Relationship Id="rId41" Type="http://schemas.openxmlformats.org/officeDocument/2006/relationships/slide" Target="slides/slide31.xml"/><Relationship Id="rId54" Type="http://schemas.openxmlformats.org/officeDocument/2006/relationships/slide" Target="slides/slide44.xml"/><Relationship Id="rId62" Type="http://schemas.openxmlformats.org/officeDocument/2006/relationships/slide" Target="slides/slide52.xml"/><Relationship Id="rId70" Type="http://schemas.openxmlformats.org/officeDocument/2006/relationships/slide" Target="slides/slide60.xml"/><Relationship Id="rId75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yle Ruddy" userId="70d4f512-afb0-4914-9e33-3c5aeb8378a7" providerId="ADAL" clId="{CBE96BF7-E961-4B4E-A2BF-7231CD060175}"/>
    <pc:docChg chg="undo custSel addSld delSld modSld modMainMaster">
      <pc:chgData name="Kyle Ruddy" userId="70d4f512-afb0-4914-9e33-3c5aeb8378a7" providerId="ADAL" clId="{CBE96BF7-E961-4B4E-A2BF-7231CD060175}" dt="2019-05-08T17:51:13.052" v="242"/>
      <pc:docMkLst>
        <pc:docMk/>
      </pc:docMkLst>
      <pc:sldChg chg="addSp delSp modSp">
        <pc:chgData name="Kyle Ruddy" userId="70d4f512-afb0-4914-9e33-3c5aeb8378a7" providerId="ADAL" clId="{CBE96BF7-E961-4B4E-A2BF-7231CD060175}" dt="2019-05-08T17:25:37.435" v="205"/>
        <pc:sldMkLst>
          <pc:docMk/>
          <pc:sldMk cId="1907952412" sldId="256"/>
        </pc:sldMkLst>
        <pc:spChg chg="del">
          <ac:chgData name="Kyle Ruddy" userId="70d4f512-afb0-4914-9e33-3c5aeb8378a7" providerId="ADAL" clId="{CBE96BF7-E961-4B4E-A2BF-7231CD060175}" dt="2019-05-08T17:24:55.951" v="149" actId="478"/>
          <ac:spMkLst>
            <pc:docMk/>
            <pc:sldMk cId="1907952412" sldId="256"/>
            <ac:spMk id="5" creationId="{00000000-0000-0000-0000-000000000000}"/>
          </ac:spMkLst>
        </pc:spChg>
        <pc:spChg chg="add mod">
          <ac:chgData name="Kyle Ruddy" userId="70d4f512-afb0-4914-9e33-3c5aeb8378a7" providerId="ADAL" clId="{CBE96BF7-E961-4B4E-A2BF-7231CD060175}" dt="2019-05-08T17:25:06.869" v="159" actId="20577"/>
          <ac:spMkLst>
            <pc:docMk/>
            <pc:sldMk cId="1907952412" sldId="256"/>
            <ac:spMk id="6" creationId="{78904175-1927-E748-A699-2E3E755ADE3E}"/>
          </ac:spMkLst>
        </pc:spChg>
        <pc:spChg chg="del mod">
          <ac:chgData name="Kyle Ruddy" userId="70d4f512-afb0-4914-9e33-3c5aeb8378a7" providerId="ADAL" clId="{CBE96BF7-E961-4B4E-A2BF-7231CD060175}" dt="2019-05-08T17:24:55.951" v="149" actId="478"/>
          <ac:spMkLst>
            <pc:docMk/>
            <pc:sldMk cId="1907952412" sldId="256"/>
            <ac:spMk id="7" creationId="{7EACF805-AA61-F049-A81B-1552C9E618CB}"/>
          </ac:spMkLst>
        </pc:spChg>
        <pc:spChg chg="del mod">
          <ac:chgData name="Kyle Ruddy" userId="70d4f512-afb0-4914-9e33-3c5aeb8378a7" providerId="ADAL" clId="{CBE96BF7-E961-4B4E-A2BF-7231CD060175}" dt="2019-05-08T17:24:55.951" v="149" actId="478"/>
          <ac:spMkLst>
            <pc:docMk/>
            <pc:sldMk cId="1907952412" sldId="256"/>
            <ac:spMk id="9" creationId="{D1DE817F-C304-6F44-8BF6-433A6F180459}"/>
          </ac:spMkLst>
        </pc:spChg>
        <pc:spChg chg="add mod">
          <ac:chgData name="Kyle Ruddy" userId="70d4f512-afb0-4914-9e33-3c5aeb8378a7" providerId="ADAL" clId="{CBE96BF7-E961-4B4E-A2BF-7231CD060175}" dt="2019-05-08T17:25:22.149" v="204" actId="20577"/>
          <ac:spMkLst>
            <pc:docMk/>
            <pc:sldMk cId="1907952412" sldId="256"/>
            <ac:spMk id="10" creationId="{B717399C-86E7-1649-948D-A7DA889F6D5D}"/>
          </ac:spMkLst>
        </pc:spChg>
        <pc:spChg chg="add mod">
          <ac:chgData name="Kyle Ruddy" userId="70d4f512-afb0-4914-9e33-3c5aeb8378a7" providerId="ADAL" clId="{CBE96BF7-E961-4B4E-A2BF-7231CD060175}" dt="2019-05-08T17:25:37.435" v="205"/>
          <ac:spMkLst>
            <pc:docMk/>
            <pc:sldMk cId="1907952412" sldId="256"/>
            <ac:spMk id="12" creationId="{D192AA26-73EF-9940-84D9-2CE36909898E}"/>
          </ac:spMkLst>
        </pc:spChg>
      </pc:sldChg>
      <pc:sldChg chg="modSp">
        <pc:chgData name="Kyle Ruddy" userId="70d4f512-afb0-4914-9e33-3c5aeb8378a7" providerId="ADAL" clId="{CBE96BF7-E961-4B4E-A2BF-7231CD060175}" dt="2019-05-08T17:14:38.446" v="54" actId="20577"/>
        <pc:sldMkLst>
          <pc:docMk/>
          <pc:sldMk cId="1143890659" sldId="258"/>
        </pc:sldMkLst>
        <pc:spChg chg="mod">
          <ac:chgData name="Kyle Ruddy" userId="70d4f512-afb0-4914-9e33-3c5aeb8378a7" providerId="ADAL" clId="{CBE96BF7-E961-4B4E-A2BF-7231CD060175}" dt="2019-05-08T17:14:38.446" v="54" actId="20577"/>
          <ac:spMkLst>
            <pc:docMk/>
            <pc:sldMk cId="1143890659" sldId="258"/>
            <ac:spMk id="3" creationId="{00000000-0000-0000-0000-000000000000}"/>
          </ac:spMkLst>
        </pc:spChg>
      </pc:sldChg>
      <pc:sldChg chg="modSp">
        <pc:chgData name="Kyle Ruddy" userId="70d4f512-afb0-4914-9e33-3c5aeb8378a7" providerId="ADAL" clId="{CBE96BF7-E961-4B4E-A2BF-7231CD060175}" dt="2019-05-08T17:15:03.866" v="58" actId="122"/>
        <pc:sldMkLst>
          <pc:docMk/>
          <pc:sldMk cId="2039215864" sldId="259"/>
        </pc:sldMkLst>
        <pc:spChg chg="mod">
          <ac:chgData name="Kyle Ruddy" userId="70d4f512-afb0-4914-9e33-3c5aeb8378a7" providerId="ADAL" clId="{CBE96BF7-E961-4B4E-A2BF-7231CD060175}" dt="2019-05-08T17:15:03.866" v="58" actId="122"/>
          <ac:spMkLst>
            <pc:docMk/>
            <pc:sldMk cId="2039215864" sldId="259"/>
            <ac:spMk id="3" creationId="{00000000-0000-0000-0000-000000000000}"/>
          </ac:spMkLst>
        </pc:spChg>
      </pc:sldChg>
      <pc:sldChg chg="modSp">
        <pc:chgData name="Kyle Ruddy" userId="70d4f512-afb0-4914-9e33-3c5aeb8378a7" providerId="ADAL" clId="{CBE96BF7-E961-4B4E-A2BF-7231CD060175}" dt="2019-05-08T17:15:17.658" v="60" actId="20577"/>
        <pc:sldMkLst>
          <pc:docMk/>
          <pc:sldMk cId="514452876" sldId="262"/>
        </pc:sldMkLst>
        <pc:spChg chg="mod">
          <ac:chgData name="Kyle Ruddy" userId="70d4f512-afb0-4914-9e33-3c5aeb8378a7" providerId="ADAL" clId="{CBE96BF7-E961-4B4E-A2BF-7231CD060175}" dt="2019-05-08T17:15:17.658" v="60" actId="20577"/>
          <ac:spMkLst>
            <pc:docMk/>
            <pc:sldMk cId="514452876" sldId="262"/>
            <ac:spMk id="3" creationId="{00000000-0000-0000-0000-000000000000}"/>
          </ac:spMkLst>
        </pc:spChg>
      </pc:sldChg>
      <pc:sldChg chg="addSp delSp modSp del modTransition">
        <pc:chgData name="Kyle Ruddy" userId="70d4f512-afb0-4914-9e33-3c5aeb8378a7" providerId="ADAL" clId="{CBE96BF7-E961-4B4E-A2BF-7231CD060175}" dt="2019-05-08T17:43:25.093" v="209" actId="2696"/>
        <pc:sldMkLst>
          <pc:docMk/>
          <pc:sldMk cId="16819946" sldId="264"/>
        </pc:sldMkLst>
        <pc:spChg chg="add mod">
          <ac:chgData name="Kyle Ruddy" userId="70d4f512-afb0-4914-9e33-3c5aeb8378a7" providerId="ADAL" clId="{CBE96BF7-E961-4B4E-A2BF-7231CD060175}" dt="2019-05-08T17:15:47.173" v="62"/>
          <ac:spMkLst>
            <pc:docMk/>
            <pc:sldMk cId="16819946" sldId="264"/>
            <ac:spMk id="3" creationId="{344DF8B1-4DEC-1444-ADDE-4EB60647C5D5}"/>
          </ac:spMkLst>
        </pc:spChg>
        <pc:spChg chg="del mod">
          <ac:chgData name="Kyle Ruddy" userId="70d4f512-afb0-4914-9e33-3c5aeb8378a7" providerId="ADAL" clId="{CBE96BF7-E961-4B4E-A2BF-7231CD060175}" dt="2019-05-08T17:15:52.551" v="64" actId="478"/>
          <ac:spMkLst>
            <pc:docMk/>
            <pc:sldMk cId="16819946" sldId="264"/>
            <ac:spMk id="4" creationId="{00000000-0000-0000-0000-000000000000}"/>
          </ac:spMkLst>
        </pc:spChg>
        <pc:spChg chg="add mod">
          <ac:chgData name="Kyle Ruddy" userId="70d4f512-afb0-4914-9e33-3c5aeb8378a7" providerId="ADAL" clId="{CBE96BF7-E961-4B4E-A2BF-7231CD060175}" dt="2019-05-08T17:16:12.444" v="71" actId="20577"/>
          <ac:spMkLst>
            <pc:docMk/>
            <pc:sldMk cId="16819946" sldId="264"/>
            <ac:spMk id="5" creationId="{750380C7-8680-6F4C-B521-604FC7FAEC8A}"/>
          </ac:spMkLst>
        </pc:spChg>
      </pc:sldChg>
      <pc:sldChg chg="addSp delSp modSp del modTransition">
        <pc:chgData name="Kyle Ruddy" userId="70d4f512-afb0-4914-9e33-3c5aeb8378a7" providerId="ADAL" clId="{CBE96BF7-E961-4B4E-A2BF-7231CD060175}" dt="2019-05-08T17:43:25.124" v="211" actId="2696"/>
        <pc:sldMkLst>
          <pc:docMk/>
          <pc:sldMk cId="1887703439" sldId="265"/>
        </pc:sldMkLst>
        <pc:spChg chg="del mod">
          <ac:chgData name="Kyle Ruddy" userId="70d4f512-afb0-4914-9e33-3c5aeb8378a7" providerId="ADAL" clId="{CBE96BF7-E961-4B4E-A2BF-7231CD060175}" dt="2019-05-08T17:16:52.136" v="81" actId="478"/>
          <ac:spMkLst>
            <pc:docMk/>
            <pc:sldMk cId="1887703439" sldId="265"/>
            <ac:spMk id="3" creationId="{00000000-0000-0000-0000-000000000000}"/>
          </ac:spMkLst>
        </pc:spChg>
        <pc:spChg chg="add mod">
          <ac:chgData name="Kyle Ruddy" userId="70d4f512-afb0-4914-9e33-3c5aeb8378a7" providerId="ADAL" clId="{CBE96BF7-E961-4B4E-A2BF-7231CD060175}" dt="2019-05-08T17:16:46.336" v="79"/>
          <ac:spMkLst>
            <pc:docMk/>
            <pc:sldMk cId="1887703439" sldId="265"/>
            <ac:spMk id="4" creationId="{061D90BD-7FA3-2647-8224-321CE25CD06B}"/>
          </ac:spMkLst>
        </pc:spChg>
        <pc:spChg chg="add mod">
          <ac:chgData name="Kyle Ruddy" userId="70d4f512-afb0-4914-9e33-3c5aeb8378a7" providerId="ADAL" clId="{CBE96BF7-E961-4B4E-A2BF-7231CD060175}" dt="2019-05-08T17:16:55.919" v="84" actId="20577"/>
          <ac:spMkLst>
            <pc:docMk/>
            <pc:sldMk cId="1887703439" sldId="265"/>
            <ac:spMk id="5" creationId="{1F6C4369-77A4-3549-BE48-852B77E7ADD4}"/>
          </ac:spMkLst>
        </pc:spChg>
      </pc:sldChg>
      <pc:sldChg chg="addSp delSp modSp del modTransition">
        <pc:chgData name="Kyle Ruddy" userId="70d4f512-afb0-4914-9e33-3c5aeb8378a7" providerId="ADAL" clId="{CBE96BF7-E961-4B4E-A2BF-7231CD060175}" dt="2019-05-08T17:43:25.113" v="210" actId="2696"/>
        <pc:sldMkLst>
          <pc:docMk/>
          <pc:sldMk cId="1855782142" sldId="266"/>
        </pc:sldMkLst>
        <pc:spChg chg="add mod">
          <ac:chgData name="Kyle Ruddy" userId="70d4f512-afb0-4914-9e33-3c5aeb8378a7" providerId="ADAL" clId="{CBE96BF7-E961-4B4E-A2BF-7231CD060175}" dt="2019-05-08T17:16:22.886" v="72"/>
          <ac:spMkLst>
            <pc:docMk/>
            <pc:sldMk cId="1855782142" sldId="266"/>
            <ac:spMk id="3" creationId="{A0EA9BD1-1B80-1149-B471-C2FB62117EB8}"/>
          </ac:spMkLst>
        </pc:spChg>
        <pc:spChg chg="del mod">
          <ac:chgData name="Kyle Ruddy" userId="70d4f512-afb0-4914-9e33-3c5aeb8378a7" providerId="ADAL" clId="{CBE96BF7-E961-4B4E-A2BF-7231CD060175}" dt="2019-05-08T17:16:29.802" v="74" actId="478"/>
          <ac:spMkLst>
            <pc:docMk/>
            <pc:sldMk cId="1855782142" sldId="266"/>
            <ac:spMk id="4" creationId="{00000000-0000-0000-0000-000000000000}"/>
          </ac:spMkLst>
        </pc:spChg>
        <pc:spChg chg="add mod">
          <ac:chgData name="Kyle Ruddy" userId="70d4f512-afb0-4914-9e33-3c5aeb8378a7" providerId="ADAL" clId="{CBE96BF7-E961-4B4E-A2BF-7231CD060175}" dt="2019-05-08T17:16:34.567" v="77" actId="20577"/>
          <ac:spMkLst>
            <pc:docMk/>
            <pc:sldMk cId="1855782142" sldId="266"/>
            <ac:spMk id="6" creationId="{911816CC-D011-4E46-A77C-F7F4859296F8}"/>
          </ac:spMkLst>
        </pc:spChg>
        <pc:picChg chg="mod">
          <ac:chgData name="Kyle Ruddy" userId="70d4f512-afb0-4914-9e33-3c5aeb8378a7" providerId="ADAL" clId="{CBE96BF7-E961-4B4E-A2BF-7231CD060175}" dt="2019-05-08T17:16:38.336" v="78" actId="1076"/>
          <ac:picMkLst>
            <pc:docMk/>
            <pc:sldMk cId="1855782142" sldId="266"/>
            <ac:picMk id="5" creationId="{00000000-0000-0000-0000-000000000000}"/>
          </ac:picMkLst>
        </pc:picChg>
      </pc:sldChg>
      <pc:sldChg chg="del">
        <pc:chgData name="Kyle Ruddy" userId="70d4f512-afb0-4914-9e33-3c5aeb8378a7" providerId="ADAL" clId="{CBE96BF7-E961-4B4E-A2BF-7231CD060175}" dt="2019-05-08T17:43:25.142" v="212" actId="2696"/>
        <pc:sldMkLst>
          <pc:docMk/>
          <pc:sldMk cId="201545098" sldId="267"/>
        </pc:sldMkLst>
      </pc:sldChg>
      <pc:sldChg chg="addSp delSp modSp del modTransition">
        <pc:chgData name="Kyle Ruddy" userId="70d4f512-afb0-4914-9e33-3c5aeb8378a7" providerId="ADAL" clId="{CBE96BF7-E961-4B4E-A2BF-7231CD060175}" dt="2019-05-08T17:43:25.161" v="213" actId="2696"/>
        <pc:sldMkLst>
          <pc:docMk/>
          <pc:sldMk cId="1688404289" sldId="268"/>
        </pc:sldMkLst>
        <pc:spChg chg="del mod">
          <ac:chgData name="Kyle Ruddy" userId="70d4f512-afb0-4914-9e33-3c5aeb8378a7" providerId="ADAL" clId="{CBE96BF7-E961-4B4E-A2BF-7231CD060175}" dt="2019-05-08T17:17:15.517" v="87" actId="478"/>
          <ac:spMkLst>
            <pc:docMk/>
            <pc:sldMk cId="1688404289" sldId="268"/>
            <ac:spMk id="3" creationId="{00000000-0000-0000-0000-000000000000}"/>
          </ac:spMkLst>
        </pc:spChg>
        <pc:spChg chg="add mod">
          <ac:chgData name="Kyle Ruddy" userId="70d4f512-afb0-4914-9e33-3c5aeb8378a7" providerId="ADAL" clId="{CBE96BF7-E961-4B4E-A2BF-7231CD060175}" dt="2019-05-08T17:17:11.344" v="85"/>
          <ac:spMkLst>
            <pc:docMk/>
            <pc:sldMk cId="1688404289" sldId="268"/>
            <ac:spMk id="4" creationId="{F1E3A90D-AE64-084B-A8CB-436082D8F066}"/>
          </ac:spMkLst>
        </pc:spChg>
        <pc:spChg chg="add mod">
          <ac:chgData name="Kyle Ruddy" userId="70d4f512-afb0-4914-9e33-3c5aeb8378a7" providerId="ADAL" clId="{CBE96BF7-E961-4B4E-A2BF-7231CD060175}" dt="2019-05-08T17:17:19.432" v="90" actId="20577"/>
          <ac:spMkLst>
            <pc:docMk/>
            <pc:sldMk cId="1688404289" sldId="268"/>
            <ac:spMk id="5" creationId="{03A621D5-FF5A-D744-8B3E-43E274B68239}"/>
          </ac:spMkLst>
        </pc:spChg>
      </pc:sldChg>
      <pc:sldChg chg="addSp delSp modSp del modTransition">
        <pc:chgData name="Kyle Ruddy" userId="70d4f512-afb0-4914-9e33-3c5aeb8378a7" providerId="ADAL" clId="{CBE96BF7-E961-4B4E-A2BF-7231CD060175}" dt="2019-05-08T17:43:25.182" v="214" actId="2696"/>
        <pc:sldMkLst>
          <pc:docMk/>
          <pc:sldMk cId="1911190859" sldId="269"/>
        </pc:sldMkLst>
        <pc:spChg chg="del mod">
          <ac:chgData name="Kyle Ruddy" userId="70d4f512-afb0-4914-9e33-3c5aeb8378a7" providerId="ADAL" clId="{CBE96BF7-E961-4B4E-A2BF-7231CD060175}" dt="2019-05-08T17:17:27.281" v="92" actId="478"/>
          <ac:spMkLst>
            <pc:docMk/>
            <pc:sldMk cId="1911190859" sldId="269"/>
            <ac:spMk id="3" creationId="{00000000-0000-0000-0000-000000000000}"/>
          </ac:spMkLst>
        </pc:spChg>
        <pc:spChg chg="add mod">
          <ac:chgData name="Kyle Ruddy" userId="70d4f512-afb0-4914-9e33-3c5aeb8378a7" providerId="ADAL" clId="{CBE96BF7-E961-4B4E-A2BF-7231CD060175}" dt="2019-05-08T17:17:31.126" v="93"/>
          <ac:spMkLst>
            <pc:docMk/>
            <pc:sldMk cId="1911190859" sldId="269"/>
            <ac:spMk id="4" creationId="{4B2F773A-C916-4143-80CD-57FF9EE8E011}"/>
          </ac:spMkLst>
        </pc:spChg>
        <pc:spChg chg="add mod">
          <ac:chgData name="Kyle Ruddy" userId="70d4f512-afb0-4914-9e33-3c5aeb8378a7" providerId="ADAL" clId="{CBE96BF7-E961-4B4E-A2BF-7231CD060175}" dt="2019-05-08T17:17:34.903" v="95" actId="5793"/>
          <ac:spMkLst>
            <pc:docMk/>
            <pc:sldMk cId="1911190859" sldId="269"/>
            <ac:spMk id="5" creationId="{A35F1F29-9725-904D-B1E2-7FC9989F75A8}"/>
          </ac:spMkLst>
        </pc:spChg>
      </pc:sldChg>
      <pc:sldChg chg="del">
        <pc:chgData name="Kyle Ruddy" userId="70d4f512-afb0-4914-9e33-3c5aeb8378a7" providerId="ADAL" clId="{CBE96BF7-E961-4B4E-A2BF-7231CD060175}" dt="2019-05-08T17:43:25.199" v="215" actId="2696"/>
        <pc:sldMkLst>
          <pc:docMk/>
          <pc:sldMk cId="1491100885" sldId="270"/>
        </pc:sldMkLst>
      </pc:sldChg>
      <pc:sldChg chg="del">
        <pc:chgData name="Kyle Ruddy" userId="70d4f512-afb0-4914-9e33-3c5aeb8378a7" providerId="ADAL" clId="{CBE96BF7-E961-4B4E-A2BF-7231CD060175}" dt="2019-05-08T17:43:25.218" v="216" actId="2696"/>
        <pc:sldMkLst>
          <pc:docMk/>
          <pc:sldMk cId="158948861" sldId="271"/>
        </pc:sldMkLst>
      </pc:sldChg>
      <pc:sldChg chg="addSp modSp del modTransition">
        <pc:chgData name="Kyle Ruddy" userId="70d4f512-afb0-4914-9e33-3c5aeb8378a7" providerId="ADAL" clId="{CBE96BF7-E961-4B4E-A2BF-7231CD060175}" dt="2019-05-08T17:43:25.229" v="217" actId="2696"/>
        <pc:sldMkLst>
          <pc:docMk/>
          <pc:sldMk cId="1663293033" sldId="272"/>
        </pc:sldMkLst>
        <pc:spChg chg="add mod">
          <ac:chgData name="Kyle Ruddy" userId="70d4f512-afb0-4914-9e33-3c5aeb8378a7" providerId="ADAL" clId="{CBE96BF7-E961-4B4E-A2BF-7231CD060175}" dt="2019-05-08T17:18:05.526" v="96"/>
          <ac:spMkLst>
            <pc:docMk/>
            <pc:sldMk cId="1663293033" sldId="272"/>
            <ac:spMk id="3" creationId="{AAF56FFA-303E-7F4C-AE37-F6CF1D070BD5}"/>
          </ac:spMkLst>
        </pc:spChg>
        <pc:spChg chg="mod">
          <ac:chgData name="Kyle Ruddy" userId="70d4f512-afb0-4914-9e33-3c5aeb8378a7" providerId="ADAL" clId="{CBE96BF7-E961-4B4E-A2BF-7231CD060175}" dt="2019-05-08T17:18:08.674" v="97"/>
          <ac:spMkLst>
            <pc:docMk/>
            <pc:sldMk cId="1663293033" sldId="272"/>
            <ac:spMk id="4" creationId="{00000000-0000-0000-0000-000000000000}"/>
          </ac:spMkLst>
        </pc:spChg>
        <pc:spChg chg="add mod">
          <ac:chgData name="Kyle Ruddy" userId="70d4f512-afb0-4914-9e33-3c5aeb8378a7" providerId="ADAL" clId="{CBE96BF7-E961-4B4E-A2BF-7231CD060175}" dt="2019-05-08T17:18:17.930" v="102" actId="20577"/>
          <ac:spMkLst>
            <pc:docMk/>
            <pc:sldMk cId="1663293033" sldId="272"/>
            <ac:spMk id="5" creationId="{9DA75E0C-DBEB-4246-989C-A1ACB02BB9AB}"/>
          </ac:spMkLst>
        </pc:spChg>
      </pc:sldChg>
      <pc:sldChg chg="addSp modSp modTransition">
        <pc:chgData name="Kyle Ruddy" userId="70d4f512-afb0-4914-9e33-3c5aeb8378a7" providerId="ADAL" clId="{CBE96BF7-E961-4B4E-A2BF-7231CD060175}" dt="2019-05-08T17:18:35.886" v="104" actId="1076"/>
        <pc:sldMkLst>
          <pc:docMk/>
          <pc:sldMk cId="412649179" sldId="274"/>
        </pc:sldMkLst>
        <pc:spChg chg="add mod">
          <ac:chgData name="Kyle Ruddy" userId="70d4f512-afb0-4914-9e33-3c5aeb8378a7" providerId="ADAL" clId="{CBE96BF7-E961-4B4E-A2BF-7231CD060175}" dt="2019-05-08T17:18:29.582" v="103"/>
          <ac:spMkLst>
            <pc:docMk/>
            <pc:sldMk cId="412649179" sldId="274"/>
            <ac:spMk id="4" creationId="{43D85408-8DA8-B74B-B622-6EE07DD2911B}"/>
          </ac:spMkLst>
        </pc:spChg>
        <pc:picChg chg="mod">
          <ac:chgData name="Kyle Ruddy" userId="70d4f512-afb0-4914-9e33-3c5aeb8378a7" providerId="ADAL" clId="{CBE96BF7-E961-4B4E-A2BF-7231CD060175}" dt="2019-05-08T17:18:35.886" v="104" actId="1076"/>
          <ac:picMkLst>
            <pc:docMk/>
            <pc:sldMk cId="412649179" sldId="274"/>
            <ac:picMk id="5" creationId="{00000000-0000-0000-0000-000000000000}"/>
          </ac:picMkLst>
        </pc:picChg>
      </pc:sldChg>
      <pc:sldChg chg="addSp modSp modTransition">
        <pc:chgData name="Kyle Ruddy" userId="70d4f512-afb0-4914-9e33-3c5aeb8378a7" providerId="ADAL" clId="{CBE96BF7-E961-4B4E-A2BF-7231CD060175}" dt="2019-05-08T17:19:05.139" v="107" actId="1076"/>
        <pc:sldMkLst>
          <pc:docMk/>
          <pc:sldMk cId="249601409" sldId="275"/>
        </pc:sldMkLst>
        <pc:spChg chg="mod">
          <ac:chgData name="Kyle Ruddy" userId="70d4f512-afb0-4914-9e33-3c5aeb8378a7" providerId="ADAL" clId="{CBE96BF7-E961-4B4E-A2BF-7231CD060175}" dt="2019-05-08T17:18:59.881" v="106" actId="20577"/>
          <ac:spMkLst>
            <pc:docMk/>
            <pc:sldMk cId="249601409" sldId="275"/>
            <ac:spMk id="3" creationId="{00000000-0000-0000-0000-000000000000}"/>
          </ac:spMkLst>
        </pc:spChg>
        <pc:spChg chg="add mod">
          <ac:chgData name="Kyle Ruddy" userId="70d4f512-afb0-4914-9e33-3c5aeb8378a7" providerId="ADAL" clId="{CBE96BF7-E961-4B4E-A2BF-7231CD060175}" dt="2019-05-08T17:18:55.396" v="105"/>
          <ac:spMkLst>
            <pc:docMk/>
            <pc:sldMk cId="249601409" sldId="275"/>
            <ac:spMk id="5" creationId="{1D4787EB-DCDD-1146-96B4-F031920FF68D}"/>
          </ac:spMkLst>
        </pc:spChg>
        <pc:picChg chg="mod">
          <ac:chgData name="Kyle Ruddy" userId="70d4f512-afb0-4914-9e33-3c5aeb8378a7" providerId="ADAL" clId="{CBE96BF7-E961-4B4E-A2BF-7231CD060175}" dt="2019-05-08T17:19:05.139" v="107" actId="1076"/>
          <ac:picMkLst>
            <pc:docMk/>
            <pc:sldMk cId="249601409" sldId="275"/>
            <ac:picMk id="4" creationId="{00000000-0000-0000-0000-000000000000}"/>
          </ac:picMkLst>
        </pc:picChg>
      </pc:sldChg>
      <pc:sldChg chg="del">
        <pc:chgData name="Kyle Ruddy" userId="70d4f512-afb0-4914-9e33-3c5aeb8378a7" providerId="ADAL" clId="{CBE96BF7-E961-4B4E-A2BF-7231CD060175}" dt="2019-05-08T17:44:00.781" v="219" actId="2696"/>
        <pc:sldMkLst>
          <pc:docMk/>
          <pc:sldMk cId="695971822" sldId="276"/>
        </pc:sldMkLst>
      </pc:sldChg>
      <pc:sldChg chg="addSp modSp del modTransition">
        <pc:chgData name="Kyle Ruddy" userId="70d4f512-afb0-4914-9e33-3c5aeb8378a7" providerId="ADAL" clId="{CBE96BF7-E961-4B4E-A2BF-7231CD060175}" dt="2019-05-08T17:44:00.803" v="220" actId="2696"/>
        <pc:sldMkLst>
          <pc:docMk/>
          <pc:sldMk cId="836351468" sldId="277"/>
        </pc:sldMkLst>
        <pc:spChg chg="mod">
          <ac:chgData name="Kyle Ruddy" userId="70d4f512-afb0-4914-9e33-3c5aeb8378a7" providerId="ADAL" clId="{CBE96BF7-E961-4B4E-A2BF-7231CD060175}" dt="2019-05-08T17:20:15.479" v="114" actId="404"/>
          <ac:spMkLst>
            <pc:docMk/>
            <pc:sldMk cId="836351468" sldId="277"/>
            <ac:spMk id="3" creationId="{00000000-0000-0000-0000-000000000000}"/>
          </ac:spMkLst>
        </pc:spChg>
        <pc:spChg chg="add mod">
          <ac:chgData name="Kyle Ruddy" userId="70d4f512-afb0-4914-9e33-3c5aeb8378a7" providerId="ADAL" clId="{CBE96BF7-E961-4B4E-A2BF-7231CD060175}" dt="2019-05-08T17:19:52.928" v="110"/>
          <ac:spMkLst>
            <pc:docMk/>
            <pc:sldMk cId="836351468" sldId="277"/>
            <ac:spMk id="5" creationId="{8AF7E337-6A44-1C4E-B9F2-79EB8CD2EDEF}"/>
          </ac:spMkLst>
        </pc:spChg>
      </pc:sldChg>
      <pc:sldChg chg="addSp delSp modSp modTransition">
        <pc:chgData name="Kyle Ruddy" userId="70d4f512-afb0-4914-9e33-3c5aeb8378a7" providerId="ADAL" clId="{CBE96BF7-E961-4B4E-A2BF-7231CD060175}" dt="2019-05-08T17:19:38.006" v="109"/>
        <pc:sldMkLst>
          <pc:docMk/>
          <pc:sldMk cId="1051831063" sldId="278"/>
        </pc:sldMkLst>
        <pc:spChg chg="add del mod">
          <ac:chgData name="Kyle Ruddy" userId="70d4f512-afb0-4914-9e33-3c5aeb8378a7" providerId="ADAL" clId="{CBE96BF7-E961-4B4E-A2BF-7231CD060175}" dt="2019-05-08T17:19:38.006" v="109"/>
          <ac:spMkLst>
            <pc:docMk/>
            <pc:sldMk cId="1051831063" sldId="278"/>
            <ac:spMk id="3" creationId="{D6AD7D5F-056A-1E49-A9AD-586AAAE9C2D9}"/>
          </ac:spMkLst>
        </pc:spChg>
        <pc:spChg chg="add del mod">
          <ac:chgData name="Kyle Ruddy" userId="70d4f512-afb0-4914-9e33-3c5aeb8378a7" providerId="ADAL" clId="{CBE96BF7-E961-4B4E-A2BF-7231CD060175}" dt="2019-05-08T17:19:38.006" v="109"/>
          <ac:spMkLst>
            <pc:docMk/>
            <pc:sldMk cId="1051831063" sldId="278"/>
            <ac:spMk id="7" creationId="{C0499665-618F-9A4C-A916-221D1C3096DF}"/>
          </ac:spMkLst>
        </pc:spChg>
        <pc:spChg chg="add mod">
          <ac:chgData name="Kyle Ruddy" userId="70d4f512-afb0-4914-9e33-3c5aeb8378a7" providerId="ADAL" clId="{CBE96BF7-E961-4B4E-A2BF-7231CD060175}" dt="2019-05-08T17:19:38.006" v="109"/>
          <ac:spMkLst>
            <pc:docMk/>
            <pc:sldMk cId="1051831063" sldId="278"/>
            <ac:spMk id="8" creationId="{F75F2F9B-9C60-A743-A0B8-23C3147E03D9}"/>
          </ac:spMkLst>
        </pc:spChg>
      </pc:sldChg>
      <pc:sldChg chg="addSp modSp modTransition">
        <pc:chgData name="Kyle Ruddy" userId="70d4f512-afb0-4914-9e33-3c5aeb8378a7" providerId="ADAL" clId="{CBE96BF7-E961-4B4E-A2BF-7231CD060175}" dt="2019-05-08T17:20:31.161" v="115"/>
        <pc:sldMkLst>
          <pc:docMk/>
          <pc:sldMk cId="1657514117" sldId="280"/>
        </pc:sldMkLst>
        <pc:spChg chg="add mod">
          <ac:chgData name="Kyle Ruddy" userId="70d4f512-afb0-4914-9e33-3c5aeb8378a7" providerId="ADAL" clId="{CBE96BF7-E961-4B4E-A2BF-7231CD060175}" dt="2019-05-08T17:20:31.161" v="115"/>
          <ac:spMkLst>
            <pc:docMk/>
            <pc:sldMk cId="1657514117" sldId="280"/>
            <ac:spMk id="7" creationId="{2B48B38E-E2D8-4947-9CD5-A1517F7B79AE}"/>
          </ac:spMkLst>
        </pc:spChg>
      </pc:sldChg>
      <pc:sldChg chg="addSp delSp modSp modTransition">
        <pc:chgData name="Kyle Ruddy" userId="70d4f512-afb0-4914-9e33-3c5aeb8378a7" providerId="ADAL" clId="{CBE96BF7-E961-4B4E-A2BF-7231CD060175}" dt="2019-05-08T17:21:14.684" v="123" actId="122"/>
        <pc:sldMkLst>
          <pc:docMk/>
          <pc:sldMk cId="397581538" sldId="283"/>
        </pc:sldMkLst>
        <pc:spChg chg="del mod">
          <ac:chgData name="Kyle Ruddy" userId="70d4f512-afb0-4914-9e33-3c5aeb8378a7" providerId="ADAL" clId="{CBE96BF7-E961-4B4E-A2BF-7231CD060175}" dt="2019-05-08T17:21:03.878" v="118"/>
          <ac:spMkLst>
            <pc:docMk/>
            <pc:sldMk cId="397581538" sldId="283"/>
            <ac:spMk id="3" creationId="{00000000-0000-0000-0000-000000000000}"/>
          </ac:spMkLst>
        </pc:spChg>
        <pc:spChg chg="add mod">
          <ac:chgData name="Kyle Ruddy" userId="70d4f512-afb0-4914-9e33-3c5aeb8378a7" providerId="ADAL" clId="{CBE96BF7-E961-4B4E-A2BF-7231CD060175}" dt="2019-05-08T17:21:03.878" v="118"/>
          <ac:spMkLst>
            <pc:docMk/>
            <pc:sldMk cId="397581538" sldId="283"/>
            <ac:spMk id="6" creationId="{B96BE7A7-5843-DB45-8029-5CF5AD37011A}"/>
          </ac:spMkLst>
        </pc:spChg>
        <pc:spChg chg="add mod">
          <ac:chgData name="Kyle Ruddy" userId="70d4f512-afb0-4914-9e33-3c5aeb8378a7" providerId="ADAL" clId="{CBE96BF7-E961-4B4E-A2BF-7231CD060175}" dt="2019-05-08T17:21:14.684" v="123" actId="122"/>
          <ac:spMkLst>
            <pc:docMk/>
            <pc:sldMk cId="397581538" sldId="283"/>
            <ac:spMk id="7" creationId="{87F81C64-02D8-794E-9341-F3884D96C3CE}"/>
          </ac:spMkLst>
        </pc:spChg>
      </pc:sldChg>
      <pc:sldChg chg="addSp modSp modTransition">
        <pc:chgData name="Kyle Ruddy" userId="70d4f512-afb0-4914-9e33-3c5aeb8378a7" providerId="ADAL" clId="{CBE96BF7-E961-4B4E-A2BF-7231CD060175}" dt="2019-05-08T17:21:23.612" v="124"/>
        <pc:sldMkLst>
          <pc:docMk/>
          <pc:sldMk cId="1866539382" sldId="284"/>
        </pc:sldMkLst>
        <pc:spChg chg="add mod">
          <ac:chgData name="Kyle Ruddy" userId="70d4f512-afb0-4914-9e33-3c5aeb8378a7" providerId="ADAL" clId="{CBE96BF7-E961-4B4E-A2BF-7231CD060175}" dt="2019-05-08T17:21:23.612" v="124"/>
          <ac:spMkLst>
            <pc:docMk/>
            <pc:sldMk cId="1866539382" sldId="284"/>
            <ac:spMk id="4" creationId="{0CCB64C3-3E30-C24D-9DF7-43898B5EF3B3}"/>
          </ac:spMkLst>
        </pc:spChg>
      </pc:sldChg>
      <pc:sldChg chg="addSp modSp modTransition">
        <pc:chgData name="Kyle Ruddy" userId="70d4f512-afb0-4914-9e33-3c5aeb8378a7" providerId="ADAL" clId="{CBE96BF7-E961-4B4E-A2BF-7231CD060175}" dt="2019-05-08T17:21:30.569" v="125"/>
        <pc:sldMkLst>
          <pc:docMk/>
          <pc:sldMk cId="258561272" sldId="285"/>
        </pc:sldMkLst>
        <pc:spChg chg="add mod">
          <ac:chgData name="Kyle Ruddy" userId="70d4f512-afb0-4914-9e33-3c5aeb8378a7" providerId="ADAL" clId="{CBE96BF7-E961-4B4E-A2BF-7231CD060175}" dt="2019-05-08T17:21:30.569" v="125"/>
          <ac:spMkLst>
            <pc:docMk/>
            <pc:sldMk cId="258561272" sldId="285"/>
            <ac:spMk id="4" creationId="{7FF307A7-0AEE-8B43-99B8-450690A75F5E}"/>
          </ac:spMkLst>
        </pc:spChg>
      </pc:sldChg>
      <pc:sldChg chg="addSp modSp modTransition">
        <pc:chgData name="Kyle Ruddy" userId="70d4f512-afb0-4914-9e33-3c5aeb8378a7" providerId="ADAL" clId="{CBE96BF7-E961-4B4E-A2BF-7231CD060175}" dt="2019-05-08T17:22:08.481" v="132"/>
        <pc:sldMkLst>
          <pc:docMk/>
          <pc:sldMk cId="1628098982" sldId="286"/>
        </pc:sldMkLst>
        <pc:spChg chg="add mod">
          <ac:chgData name="Kyle Ruddy" userId="70d4f512-afb0-4914-9e33-3c5aeb8378a7" providerId="ADAL" clId="{CBE96BF7-E961-4B4E-A2BF-7231CD060175}" dt="2019-05-08T17:22:08.481" v="132"/>
          <ac:spMkLst>
            <pc:docMk/>
            <pc:sldMk cId="1628098982" sldId="286"/>
            <ac:spMk id="5" creationId="{56AE600D-BCB0-E743-BC2D-C460D716F308}"/>
          </ac:spMkLst>
        </pc:spChg>
        <pc:picChg chg="mod">
          <ac:chgData name="Kyle Ruddy" userId="70d4f512-afb0-4914-9e33-3c5aeb8378a7" providerId="ADAL" clId="{CBE96BF7-E961-4B4E-A2BF-7231CD060175}" dt="2019-05-08T17:21:56.556" v="129" actId="1076"/>
          <ac:picMkLst>
            <pc:docMk/>
            <pc:sldMk cId="1628098982" sldId="286"/>
            <ac:picMk id="3" creationId="{00000000-0000-0000-0000-000000000000}"/>
          </ac:picMkLst>
        </pc:picChg>
        <pc:picChg chg="mod">
          <ac:chgData name="Kyle Ruddy" userId="70d4f512-afb0-4914-9e33-3c5aeb8378a7" providerId="ADAL" clId="{CBE96BF7-E961-4B4E-A2BF-7231CD060175}" dt="2019-05-08T17:22:02.962" v="131" actId="1076"/>
          <ac:picMkLst>
            <pc:docMk/>
            <pc:sldMk cId="1628098982" sldId="286"/>
            <ac:picMk id="4" creationId="{00000000-0000-0000-0000-000000000000}"/>
          </ac:picMkLst>
        </pc:picChg>
      </pc:sldChg>
      <pc:sldChg chg="addSp modSp modTransition">
        <pc:chgData name="Kyle Ruddy" userId="70d4f512-afb0-4914-9e33-3c5aeb8378a7" providerId="ADAL" clId="{CBE96BF7-E961-4B4E-A2BF-7231CD060175}" dt="2019-05-08T17:42:18.542" v="207"/>
        <pc:sldMkLst>
          <pc:docMk/>
          <pc:sldMk cId="1758460844" sldId="287"/>
        </pc:sldMkLst>
        <pc:spChg chg="mod">
          <ac:chgData name="Kyle Ruddy" userId="70d4f512-afb0-4914-9e33-3c5aeb8378a7" providerId="ADAL" clId="{CBE96BF7-E961-4B4E-A2BF-7231CD060175}" dt="2019-05-08T17:42:18.542" v="207"/>
          <ac:spMkLst>
            <pc:docMk/>
            <pc:sldMk cId="1758460844" sldId="287"/>
            <ac:spMk id="2" creationId="{00000000-0000-0000-0000-000000000000}"/>
          </ac:spMkLst>
        </pc:spChg>
        <pc:spChg chg="add mod">
          <ac:chgData name="Kyle Ruddy" userId="70d4f512-afb0-4914-9e33-3c5aeb8378a7" providerId="ADAL" clId="{CBE96BF7-E961-4B4E-A2BF-7231CD060175}" dt="2019-05-08T17:15:37.233" v="61"/>
          <ac:spMkLst>
            <pc:docMk/>
            <pc:sldMk cId="1758460844" sldId="287"/>
            <ac:spMk id="4" creationId="{81D1E421-741F-9F47-82CF-DCB6F7F986E7}"/>
          </ac:spMkLst>
        </pc:spChg>
      </pc:sldChg>
      <pc:sldChg chg="addSp modSp modTransition">
        <pc:chgData name="Kyle Ruddy" userId="70d4f512-afb0-4914-9e33-3c5aeb8378a7" providerId="ADAL" clId="{CBE96BF7-E961-4B4E-A2BF-7231CD060175}" dt="2019-05-08T17:22:22.833" v="133"/>
        <pc:sldMkLst>
          <pc:docMk/>
          <pc:sldMk cId="1284130928" sldId="289"/>
        </pc:sldMkLst>
        <pc:spChg chg="add mod">
          <ac:chgData name="Kyle Ruddy" userId="70d4f512-afb0-4914-9e33-3c5aeb8378a7" providerId="ADAL" clId="{CBE96BF7-E961-4B4E-A2BF-7231CD060175}" dt="2019-05-08T17:22:22.833" v="133"/>
          <ac:spMkLst>
            <pc:docMk/>
            <pc:sldMk cId="1284130928" sldId="289"/>
            <ac:spMk id="4" creationId="{D408C3D5-E259-7D4C-972B-A1521B895D11}"/>
          </ac:spMkLst>
        </pc:spChg>
      </pc:sldChg>
      <pc:sldChg chg="addSp modSp modTransition">
        <pc:chgData name="Kyle Ruddy" userId="70d4f512-afb0-4914-9e33-3c5aeb8378a7" providerId="ADAL" clId="{CBE96BF7-E961-4B4E-A2BF-7231CD060175}" dt="2019-05-08T17:22:38.938" v="134"/>
        <pc:sldMkLst>
          <pc:docMk/>
          <pc:sldMk cId="30136516" sldId="290"/>
        </pc:sldMkLst>
        <pc:spChg chg="add mod">
          <ac:chgData name="Kyle Ruddy" userId="70d4f512-afb0-4914-9e33-3c5aeb8378a7" providerId="ADAL" clId="{CBE96BF7-E961-4B4E-A2BF-7231CD060175}" dt="2019-05-08T17:22:38.938" v="134"/>
          <ac:spMkLst>
            <pc:docMk/>
            <pc:sldMk cId="30136516" sldId="290"/>
            <ac:spMk id="4" creationId="{EAB92A16-F477-A74D-A8F1-56E4A585B136}"/>
          </ac:spMkLst>
        </pc:spChg>
      </pc:sldChg>
      <pc:sldChg chg="addSp modSp modTransition">
        <pc:chgData name="Kyle Ruddy" userId="70d4f512-afb0-4914-9e33-3c5aeb8378a7" providerId="ADAL" clId="{CBE96BF7-E961-4B4E-A2BF-7231CD060175}" dt="2019-05-08T17:22:58.309" v="137" actId="1076"/>
        <pc:sldMkLst>
          <pc:docMk/>
          <pc:sldMk cId="74049226" sldId="291"/>
        </pc:sldMkLst>
        <pc:spChg chg="add mod">
          <ac:chgData name="Kyle Ruddy" userId="70d4f512-afb0-4914-9e33-3c5aeb8378a7" providerId="ADAL" clId="{CBE96BF7-E961-4B4E-A2BF-7231CD060175}" dt="2019-05-08T17:22:50.396" v="135"/>
          <ac:spMkLst>
            <pc:docMk/>
            <pc:sldMk cId="74049226" sldId="291"/>
            <ac:spMk id="4" creationId="{B27EE85C-CB86-4E41-B518-9AFF0272CDE3}"/>
          </ac:spMkLst>
        </pc:spChg>
        <pc:picChg chg="mod">
          <ac:chgData name="Kyle Ruddy" userId="70d4f512-afb0-4914-9e33-3c5aeb8378a7" providerId="ADAL" clId="{CBE96BF7-E961-4B4E-A2BF-7231CD060175}" dt="2019-05-08T17:22:58.309" v="137" actId="1076"/>
          <ac:picMkLst>
            <pc:docMk/>
            <pc:sldMk cId="74049226" sldId="291"/>
            <ac:picMk id="3" creationId="{00000000-0000-0000-0000-000000000000}"/>
          </ac:picMkLst>
        </pc:picChg>
      </pc:sldChg>
      <pc:sldChg chg="addSp modSp modTransition">
        <pc:chgData name="Kyle Ruddy" userId="70d4f512-afb0-4914-9e33-3c5aeb8378a7" providerId="ADAL" clId="{CBE96BF7-E961-4B4E-A2BF-7231CD060175}" dt="2019-05-08T17:23:31.752" v="139" actId="14100"/>
        <pc:sldMkLst>
          <pc:docMk/>
          <pc:sldMk cId="1152309769" sldId="292"/>
        </pc:sldMkLst>
        <pc:spChg chg="mod">
          <ac:chgData name="Kyle Ruddy" userId="70d4f512-afb0-4914-9e33-3c5aeb8378a7" providerId="ADAL" clId="{CBE96BF7-E961-4B4E-A2BF-7231CD060175}" dt="2019-05-08T17:23:31.752" v="139" actId="14100"/>
          <ac:spMkLst>
            <pc:docMk/>
            <pc:sldMk cId="1152309769" sldId="292"/>
            <ac:spMk id="3" creationId="{00000000-0000-0000-0000-000000000000}"/>
          </ac:spMkLst>
        </pc:spChg>
        <pc:spChg chg="add mod">
          <ac:chgData name="Kyle Ruddy" userId="70d4f512-afb0-4914-9e33-3c5aeb8378a7" providerId="ADAL" clId="{CBE96BF7-E961-4B4E-A2BF-7231CD060175}" dt="2019-05-08T17:23:23.637" v="138"/>
          <ac:spMkLst>
            <pc:docMk/>
            <pc:sldMk cId="1152309769" sldId="292"/>
            <ac:spMk id="4" creationId="{5B24C054-B667-9444-89E4-846E85EB383B}"/>
          </ac:spMkLst>
        </pc:spChg>
      </pc:sldChg>
      <pc:sldChg chg="modSp">
        <pc:chgData name="Kyle Ruddy" userId="70d4f512-afb0-4914-9e33-3c5aeb8378a7" providerId="ADAL" clId="{CBE96BF7-E961-4B4E-A2BF-7231CD060175}" dt="2019-05-08T17:23:43.479" v="141" actId="1076"/>
        <pc:sldMkLst>
          <pc:docMk/>
          <pc:sldMk cId="1707467431" sldId="293"/>
        </pc:sldMkLst>
        <pc:picChg chg="mod">
          <ac:chgData name="Kyle Ruddy" userId="70d4f512-afb0-4914-9e33-3c5aeb8378a7" providerId="ADAL" clId="{CBE96BF7-E961-4B4E-A2BF-7231CD060175}" dt="2019-05-08T17:23:43.479" v="141" actId="1076"/>
          <ac:picMkLst>
            <pc:docMk/>
            <pc:sldMk cId="1707467431" sldId="293"/>
            <ac:picMk id="3" creationId="{00000000-0000-0000-0000-000000000000}"/>
          </ac:picMkLst>
        </pc:picChg>
      </pc:sldChg>
      <pc:sldChg chg="addSp modSp modTransition">
        <pc:chgData name="Kyle Ruddy" userId="70d4f512-afb0-4914-9e33-3c5aeb8378a7" providerId="ADAL" clId="{CBE96BF7-E961-4B4E-A2BF-7231CD060175}" dt="2019-05-08T17:23:49.699" v="142"/>
        <pc:sldMkLst>
          <pc:docMk/>
          <pc:sldMk cId="581137956" sldId="294"/>
        </pc:sldMkLst>
        <pc:spChg chg="add mod">
          <ac:chgData name="Kyle Ruddy" userId="70d4f512-afb0-4914-9e33-3c5aeb8378a7" providerId="ADAL" clId="{CBE96BF7-E961-4B4E-A2BF-7231CD060175}" dt="2019-05-08T17:23:49.699" v="142"/>
          <ac:spMkLst>
            <pc:docMk/>
            <pc:sldMk cId="581137956" sldId="294"/>
            <ac:spMk id="4" creationId="{6F1F48D3-661A-164B-BFDE-48484BB4A34A}"/>
          </ac:spMkLst>
        </pc:spChg>
      </pc:sldChg>
      <pc:sldChg chg="addSp modSp modTransition">
        <pc:chgData name="Kyle Ruddy" userId="70d4f512-afb0-4914-9e33-3c5aeb8378a7" providerId="ADAL" clId="{CBE96BF7-E961-4B4E-A2BF-7231CD060175}" dt="2019-05-08T17:24:03.387" v="145" actId="1076"/>
        <pc:sldMkLst>
          <pc:docMk/>
          <pc:sldMk cId="1578362790" sldId="295"/>
        </pc:sldMkLst>
        <pc:spChg chg="add mod">
          <ac:chgData name="Kyle Ruddy" userId="70d4f512-afb0-4914-9e33-3c5aeb8378a7" providerId="ADAL" clId="{CBE96BF7-E961-4B4E-A2BF-7231CD060175}" dt="2019-05-08T17:23:56.142" v="143"/>
          <ac:spMkLst>
            <pc:docMk/>
            <pc:sldMk cId="1578362790" sldId="295"/>
            <ac:spMk id="4" creationId="{F8A7F098-C23A-7C46-9FC6-B74188A2146F}"/>
          </ac:spMkLst>
        </pc:spChg>
        <pc:picChg chg="mod">
          <ac:chgData name="Kyle Ruddy" userId="70d4f512-afb0-4914-9e33-3c5aeb8378a7" providerId="ADAL" clId="{CBE96BF7-E961-4B4E-A2BF-7231CD060175}" dt="2019-05-08T17:24:03.387" v="145" actId="1076"/>
          <ac:picMkLst>
            <pc:docMk/>
            <pc:sldMk cId="1578362790" sldId="295"/>
            <ac:picMk id="3" creationId="{00000000-0000-0000-0000-000000000000}"/>
          </ac:picMkLst>
        </pc:picChg>
      </pc:sldChg>
      <pc:sldChg chg="addSp modSp modTransition">
        <pc:chgData name="Kyle Ruddy" userId="70d4f512-afb0-4914-9e33-3c5aeb8378a7" providerId="ADAL" clId="{CBE96BF7-E961-4B4E-A2BF-7231CD060175}" dt="2019-05-08T17:24:18.516" v="147"/>
        <pc:sldMkLst>
          <pc:docMk/>
          <pc:sldMk cId="610050260" sldId="296"/>
        </pc:sldMkLst>
        <pc:spChg chg="mod">
          <ac:chgData name="Kyle Ruddy" userId="70d4f512-afb0-4914-9e33-3c5aeb8378a7" providerId="ADAL" clId="{CBE96BF7-E961-4B4E-A2BF-7231CD060175}" dt="2019-05-08T17:24:12.119" v="146" actId="20577"/>
          <ac:spMkLst>
            <pc:docMk/>
            <pc:sldMk cId="610050260" sldId="296"/>
            <ac:spMk id="3" creationId="{00000000-0000-0000-0000-000000000000}"/>
          </ac:spMkLst>
        </pc:spChg>
        <pc:spChg chg="add mod">
          <ac:chgData name="Kyle Ruddy" userId="70d4f512-afb0-4914-9e33-3c5aeb8378a7" providerId="ADAL" clId="{CBE96BF7-E961-4B4E-A2BF-7231CD060175}" dt="2019-05-08T17:24:18.516" v="147"/>
          <ac:spMkLst>
            <pc:docMk/>
            <pc:sldMk cId="610050260" sldId="296"/>
            <ac:spMk id="4" creationId="{1D726F79-ADFC-1C43-9126-EBC4CE8C7D2A}"/>
          </ac:spMkLst>
        </pc:spChg>
      </pc:sldChg>
      <pc:sldChg chg="del">
        <pc:chgData name="Kyle Ruddy" userId="70d4f512-afb0-4914-9e33-3c5aeb8378a7" providerId="ADAL" clId="{CBE96BF7-E961-4B4E-A2BF-7231CD060175}" dt="2019-05-08T17:14:09.415" v="52" actId="2696"/>
        <pc:sldMkLst>
          <pc:docMk/>
          <pc:sldMk cId="975243122" sldId="298"/>
        </pc:sldMkLst>
      </pc:sldChg>
      <pc:sldChg chg="add">
        <pc:chgData name="Kyle Ruddy" userId="70d4f512-afb0-4914-9e33-3c5aeb8378a7" providerId="ADAL" clId="{CBE96BF7-E961-4B4E-A2BF-7231CD060175}" dt="2019-05-08T17:14:06.566" v="51"/>
        <pc:sldMkLst>
          <pc:docMk/>
          <pc:sldMk cId="2196550498" sldId="1208"/>
        </pc:sldMkLst>
      </pc:sldChg>
      <pc:sldChg chg="add del">
        <pc:chgData name="Kyle Ruddy" userId="70d4f512-afb0-4914-9e33-3c5aeb8378a7" providerId="ADAL" clId="{CBE96BF7-E961-4B4E-A2BF-7231CD060175}" dt="2019-05-08T17:25:44.578" v="206" actId="2696"/>
        <pc:sldMkLst>
          <pc:docMk/>
          <pc:sldMk cId="2739530557" sldId="1209"/>
        </pc:sldMkLst>
      </pc:sldChg>
      <pc:sldChg chg="add">
        <pc:chgData name="Kyle Ruddy" userId="70d4f512-afb0-4914-9e33-3c5aeb8378a7" providerId="ADAL" clId="{CBE96BF7-E961-4B4E-A2BF-7231CD060175}" dt="2019-05-08T17:42:40.475" v="208"/>
        <pc:sldMkLst>
          <pc:docMk/>
          <pc:sldMk cId="1445733332" sldId="1213"/>
        </pc:sldMkLst>
      </pc:sldChg>
      <pc:sldChg chg="add">
        <pc:chgData name="Kyle Ruddy" userId="70d4f512-afb0-4914-9e33-3c5aeb8378a7" providerId="ADAL" clId="{CBE96BF7-E961-4B4E-A2BF-7231CD060175}" dt="2019-05-08T17:43:29.744" v="218"/>
        <pc:sldMkLst>
          <pc:docMk/>
          <pc:sldMk cId="3913538529" sldId="1214"/>
        </pc:sldMkLst>
      </pc:sldChg>
      <pc:sldChg chg="add">
        <pc:chgData name="Kyle Ruddy" userId="70d4f512-afb0-4914-9e33-3c5aeb8378a7" providerId="ADAL" clId="{CBE96BF7-E961-4B4E-A2BF-7231CD060175}" dt="2019-05-08T17:43:29.744" v="218"/>
        <pc:sldMkLst>
          <pc:docMk/>
          <pc:sldMk cId="3113109051" sldId="1215"/>
        </pc:sldMkLst>
      </pc:sldChg>
      <pc:sldChg chg="add">
        <pc:chgData name="Kyle Ruddy" userId="70d4f512-afb0-4914-9e33-3c5aeb8378a7" providerId="ADAL" clId="{CBE96BF7-E961-4B4E-A2BF-7231CD060175}" dt="2019-05-08T17:43:29.744" v="218"/>
        <pc:sldMkLst>
          <pc:docMk/>
          <pc:sldMk cId="2464994399" sldId="1216"/>
        </pc:sldMkLst>
      </pc:sldChg>
      <pc:sldChg chg="add">
        <pc:chgData name="Kyle Ruddy" userId="70d4f512-afb0-4914-9e33-3c5aeb8378a7" providerId="ADAL" clId="{CBE96BF7-E961-4B4E-A2BF-7231CD060175}" dt="2019-05-08T17:43:29.744" v="218"/>
        <pc:sldMkLst>
          <pc:docMk/>
          <pc:sldMk cId="2411389244" sldId="1217"/>
        </pc:sldMkLst>
      </pc:sldChg>
      <pc:sldChg chg="add">
        <pc:chgData name="Kyle Ruddy" userId="70d4f512-afb0-4914-9e33-3c5aeb8378a7" providerId="ADAL" clId="{CBE96BF7-E961-4B4E-A2BF-7231CD060175}" dt="2019-05-08T17:43:29.744" v="218"/>
        <pc:sldMkLst>
          <pc:docMk/>
          <pc:sldMk cId="3976590167" sldId="1218"/>
        </pc:sldMkLst>
      </pc:sldChg>
      <pc:sldChg chg="add">
        <pc:chgData name="Kyle Ruddy" userId="70d4f512-afb0-4914-9e33-3c5aeb8378a7" providerId="ADAL" clId="{CBE96BF7-E961-4B4E-A2BF-7231CD060175}" dt="2019-05-08T17:43:29.744" v="218"/>
        <pc:sldMkLst>
          <pc:docMk/>
          <pc:sldMk cId="2852292471" sldId="1219"/>
        </pc:sldMkLst>
      </pc:sldChg>
      <pc:sldChg chg="add">
        <pc:chgData name="Kyle Ruddy" userId="70d4f512-afb0-4914-9e33-3c5aeb8378a7" providerId="ADAL" clId="{CBE96BF7-E961-4B4E-A2BF-7231CD060175}" dt="2019-05-08T17:43:29.744" v="218"/>
        <pc:sldMkLst>
          <pc:docMk/>
          <pc:sldMk cId="1447666474" sldId="1220"/>
        </pc:sldMkLst>
      </pc:sldChg>
      <pc:sldChg chg="add">
        <pc:chgData name="Kyle Ruddy" userId="70d4f512-afb0-4914-9e33-3c5aeb8378a7" providerId="ADAL" clId="{CBE96BF7-E961-4B4E-A2BF-7231CD060175}" dt="2019-05-08T17:43:29.744" v="218"/>
        <pc:sldMkLst>
          <pc:docMk/>
          <pc:sldMk cId="1177043674" sldId="1221"/>
        </pc:sldMkLst>
      </pc:sldChg>
      <pc:sldChg chg="modSp add">
        <pc:chgData name="Kyle Ruddy" userId="70d4f512-afb0-4914-9e33-3c5aeb8378a7" providerId="ADAL" clId="{CBE96BF7-E961-4B4E-A2BF-7231CD060175}" dt="2019-05-08T17:50:42.473" v="239" actId="5793"/>
        <pc:sldMkLst>
          <pc:docMk/>
          <pc:sldMk cId="3546724647" sldId="1222"/>
        </pc:sldMkLst>
        <pc:spChg chg="mod">
          <ac:chgData name="Kyle Ruddy" userId="70d4f512-afb0-4914-9e33-3c5aeb8378a7" providerId="ADAL" clId="{CBE96BF7-E961-4B4E-A2BF-7231CD060175}" dt="2019-05-08T17:50:42.473" v="239" actId="5793"/>
          <ac:spMkLst>
            <pc:docMk/>
            <pc:sldMk cId="3546724647" sldId="1222"/>
            <ac:spMk id="2" creationId="{3ACA4B95-9784-E64A-AA4D-5587AD7123F2}"/>
          </ac:spMkLst>
        </pc:spChg>
      </pc:sldChg>
      <pc:sldChg chg="add del">
        <pc:chgData name="Kyle Ruddy" userId="70d4f512-afb0-4914-9e33-3c5aeb8378a7" providerId="ADAL" clId="{CBE96BF7-E961-4B4E-A2BF-7231CD060175}" dt="2019-05-08T17:50:47.950" v="241"/>
        <pc:sldMkLst>
          <pc:docMk/>
          <pc:sldMk cId="378555928" sldId="1223"/>
        </pc:sldMkLst>
      </pc:sldChg>
      <pc:sldChg chg="add">
        <pc:chgData name="Kyle Ruddy" userId="70d4f512-afb0-4914-9e33-3c5aeb8378a7" providerId="ADAL" clId="{CBE96BF7-E961-4B4E-A2BF-7231CD060175}" dt="2019-05-08T17:51:13.052" v="242"/>
        <pc:sldMkLst>
          <pc:docMk/>
          <pc:sldMk cId="865243535" sldId="1223"/>
        </pc:sldMkLst>
      </pc:sldChg>
      <pc:sldChg chg="add">
        <pc:chgData name="Kyle Ruddy" userId="70d4f512-afb0-4914-9e33-3c5aeb8378a7" providerId="ADAL" clId="{CBE96BF7-E961-4B4E-A2BF-7231CD060175}" dt="2019-05-08T17:51:13.052" v="242"/>
        <pc:sldMkLst>
          <pc:docMk/>
          <pc:sldMk cId="436118611" sldId="1224"/>
        </pc:sldMkLst>
      </pc:sldChg>
      <pc:sldChg chg="add del">
        <pc:chgData name="Kyle Ruddy" userId="70d4f512-afb0-4914-9e33-3c5aeb8378a7" providerId="ADAL" clId="{CBE96BF7-E961-4B4E-A2BF-7231CD060175}" dt="2019-05-08T17:50:47.950" v="241"/>
        <pc:sldMkLst>
          <pc:docMk/>
          <pc:sldMk cId="3828324441" sldId="1224"/>
        </pc:sldMkLst>
      </pc:sldChg>
      <pc:sldChg chg="add del">
        <pc:chgData name="Kyle Ruddy" userId="70d4f512-afb0-4914-9e33-3c5aeb8378a7" providerId="ADAL" clId="{CBE96BF7-E961-4B4E-A2BF-7231CD060175}" dt="2019-05-08T17:50:47.950" v="241"/>
        <pc:sldMkLst>
          <pc:docMk/>
          <pc:sldMk cId="1746946279" sldId="1225"/>
        </pc:sldMkLst>
      </pc:sldChg>
      <pc:sldChg chg="add del">
        <pc:chgData name="Kyle Ruddy" userId="70d4f512-afb0-4914-9e33-3c5aeb8378a7" providerId="ADAL" clId="{CBE96BF7-E961-4B4E-A2BF-7231CD060175}" dt="2019-05-08T17:50:47.950" v="241"/>
        <pc:sldMkLst>
          <pc:docMk/>
          <pc:sldMk cId="3550520817" sldId="1226"/>
        </pc:sldMkLst>
      </pc:sldChg>
      <pc:sldChg chg="add del">
        <pc:chgData name="Kyle Ruddy" userId="70d4f512-afb0-4914-9e33-3c5aeb8378a7" providerId="ADAL" clId="{CBE96BF7-E961-4B4E-A2BF-7231CD060175}" dt="2019-05-08T17:50:47.950" v="241"/>
        <pc:sldMkLst>
          <pc:docMk/>
          <pc:sldMk cId="507216904" sldId="1227"/>
        </pc:sldMkLst>
      </pc:sldChg>
      <pc:sldChg chg="add del">
        <pc:chgData name="Kyle Ruddy" userId="70d4f512-afb0-4914-9e33-3c5aeb8378a7" providerId="ADAL" clId="{CBE96BF7-E961-4B4E-A2BF-7231CD060175}" dt="2019-05-08T17:50:47.950" v="241"/>
        <pc:sldMkLst>
          <pc:docMk/>
          <pc:sldMk cId="2673727493" sldId="1228"/>
        </pc:sldMkLst>
      </pc:sldChg>
      <pc:sldChg chg="add del">
        <pc:chgData name="Kyle Ruddy" userId="70d4f512-afb0-4914-9e33-3c5aeb8378a7" providerId="ADAL" clId="{CBE96BF7-E961-4B4E-A2BF-7231CD060175}" dt="2019-05-08T17:50:47.950" v="241"/>
        <pc:sldMkLst>
          <pc:docMk/>
          <pc:sldMk cId="1354306766" sldId="1229"/>
        </pc:sldMkLst>
      </pc:sldChg>
      <pc:sldChg chg="add del">
        <pc:chgData name="Kyle Ruddy" userId="70d4f512-afb0-4914-9e33-3c5aeb8378a7" providerId="ADAL" clId="{CBE96BF7-E961-4B4E-A2BF-7231CD060175}" dt="2019-05-08T17:50:47.950" v="241"/>
        <pc:sldMkLst>
          <pc:docMk/>
          <pc:sldMk cId="3092499969" sldId="1230"/>
        </pc:sldMkLst>
      </pc:sldChg>
      <pc:sldMasterChg chg="modSldLayout">
        <pc:chgData name="Kyle Ruddy" userId="70d4f512-afb0-4914-9e33-3c5aeb8378a7" providerId="ADAL" clId="{CBE96BF7-E961-4B4E-A2BF-7231CD060175}" dt="2019-05-08T17:14:31.361" v="53"/>
        <pc:sldMasterMkLst>
          <pc:docMk/>
          <pc:sldMasterMk cId="2076142721" sldId="2147483862"/>
        </pc:sldMasterMkLst>
        <pc:sldLayoutChg chg="delSp">
          <pc:chgData name="Kyle Ruddy" userId="70d4f512-afb0-4914-9e33-3c5aeb8378a7" providerId="ADAL" clId="{CBE96BF7-E961-4B4E-A2BF-7231CD060175}" dt="2019-05-08T17:14:31.361" v="53"/>
          <pc:sldLayoutMkLst>
            <pc:docMk/>
            <pc:sldMasterMk cId="2076142721" sldId="2147483862"/>
            <pc:sldLayoutMk cId="2287170827" sldId="2147483911"/>
          </pc:sldLayoutMkLst>
          <pc:grpChg chg="del">
            <ac:chgData name="Kyle Ruddy" userId="70d4f512-afb0-4914-9e33-3c5aeb8378a7" providerId="ADAL" clId="{CBE96BF7-E961-4B4E-A2BF-7231CD060175}" dt="2019-05-08T17:14:31.361" v="53"/>
            <ac:grpSpMkLst>
              <pc:docMk/>
              <pc:sldMasterMk cId="2076142721" sldId="2147483862"/>
              <pc:sldLayoutMk cId="2287170827" sldId="2147483911"/>
              <ac:grpSpMk id="17" creationId="{00000000-0000-0000-0000-000000000000}"/>
            </ac:grpSpMkLst>
          </pc:grpChg>
          <pc:picChg chg="del">
            <ac:chgData name="Kyle Ruddy" userId="70d4f512-afb0-4914-9e33-3c5aeb8378a7" providerId="ADAL" clId="{CBE96BF7-E961-4B4E-A2BF-7231CD060175}" dt="2019-05-08T17:14:31.361" v="53"/>
            <ac:picMkLst>
              <pc:docMk/>
              <pc:sldMasterMk cId="2076142721" sldId="2147483862"/>
              <pc:sldLayoutMk cId="2287170827" sldId="2147483911"/>
              <ac:picMk id="16" creationId="{00000000-0000-0000-0000-000000000000}"/>
            </ac:picMkLst>
          </pc:picChg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18-01-18T15:55:36.535"/>
    </inkml:context>
    <inkml:brush xml:id="br0">
      <inkml:brushProperty name="width" value="0.03333" units="cm"/>
      <inkml:brushProperty name="height" value="0.03333" units="cm"/>
    </inkml:brush>
  </inkml:definitions>
  <inkml:trace contextRef="#ctx0" brushRef="#br0">13866 7577 4258 0 0,'0'0'-944'0'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18-01-18T15:55:36.535"/>
    </inkml:context>
    <inkml:brush xml:id="br0">
      <inkml:brushProperty name="width" value="0.03333" units="cm"/>
      <inkml:brushProperty name="height" value="0.03333" units="cm"/>
    </inkml:brush>
  </inkml:definitions>
  <inkml:trace contextRef="#ctx0" brushRef="#br0">13866 7577 4258 0 0,'0'0'-944'0'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18-01-18T15:55:36.535"/>
    </inkml:context>
    <inkml:brush xml:id="br0">
      <inkml:brushProperty name="width" value="0.03333" units="cm"/>
      <inkml:brushProperty name="height" value="0.03333" units="cm"/>
    </inkml:brush>
  </inkml:definitions>
  <inkml:trace contextRef="#ctx0" brushRef="#br0">13866 7577 4258 0 0,'0'0'-944'0'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18-01-18T15:55:36.535"/>
    </inkml:context>
    <inkml:brush xml:id="br0">
      <inkml:brushProperty name="width" value="0.03333" units="cm"/>
      <inkml:brushProperty name="height" value="0.03333" units="cm"/>
    </inkml:brush>
  </inkml:definitions>
  <inkml:trace contextRef="#ctx0" brushRef="#br0">13866 7577 4258 0 0,'0'0'-944'0'0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18-01-18T15:55:36.535"/>
    </inkml:context>
    <inkml:brush xml:id="br0">
      <inkml:brushProperty name="width" value="0.03333" units="cm"/>
      <inkml:brushProperty name="height" value="0.03333" units="cm"/>
    </inkml:brush>
  </inkml:definitions>
  <inkml:trace contextRef="#ctx0" brushRef="#br0">13866 7577 4258 0 0,'0'0'-944'0'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18-01-18T15:55:36.535"/>
    </inkml:context>
    <inkml:brush xml:id="br0">
      <inkml:brushProperty name="width" value="0.03333" units="cm"/>
      <inkml:brushProperty name="height" value="0.03333" units="cm"/>
    </inkml:brush>
  </inkml:definitions>
  <inkml:trace contextRef="#ctx0" brushRef="#br0">13866 7577 4258 0 0,'0'0'-944'0'0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18-01-18T15:55:36.535"/>
    </inkml:context>
    <inkml:brush xml:id="br0">
      <inkml:brushProperty name="width" value="0.03333" units="cm"/>
      <inkml:brushProperty name="height" value="0.03333" units="cm"/>
    </inkml:brush>
  </inkml:definitions>
  <inkml:trace contextRef="#ctx0" brushRef="#br0">13866 7577 4258 0 0,'0'0'-944'0'0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18-01-18T15:55:36.535"/>
    </inkml:context>
    <inkml:brush xml:id="br0">
      <inkml:brushProperty name="width" value="0.03333" units="cm"/>
      <inkml:brushProperty name="height" value="0.03333" units="cm"/>
    </inkml:brush>
  </inkml:definitions>
  <inkml:trace contextRef="#ctx0" brushRef="#br0">13866 7577 4258 0 0,'0'0'-944'0'0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18-01-18T15:55:36.535"/>
    </inkml:context>
    <inkml:brush xml:id="br0">
      <inkml:brushProperty name="width" value="0.03333" units="cm"/>
      <inkml:brushProperty name="height" value="0.03333" units="cm"/>
    </inkml:brush>
  </inkml:definitions>
  <inkml:trace contextRef="#ctx0" brushRef="#br0">13866 7577 4258 0 0,'0'0'-944'0'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AF1A85-0289-CD46-AB2A-59AB17965064}" type="datetimeFigureOut">
              <a:rPr lang="en-US" smtClean="0"/>
              <a:t>24-Sep-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5599AF4-C17B-2040-91F9-F6941E2711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38697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4.png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6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6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g"/><Relationship Id="rId1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g"/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g"/><Relationship Id="rId1" Type="http://schemas.openxmlformats.org/officeDocument/2006/relationships/slideMaster" Target="../slideMasters/slideMaster6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6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hyperlink" Target="http://www.vmware.com/brand" TargetMode="External"/><Relationship Id="rId1" Type="http://schemas.openxmlformats.org/officeDocument/2006/relationships/slideMaster" Target="../slideMasters/slideMaster6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3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customXml" Target="../ink/ink2.xml"/><Relationship Id="rId1" Type="http://schemas.openxmlformats.org/officeDocument/2006/relationships/slideMaster" Target="../slideMasters/slideMaster7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customXml" Target="../ink/ink3.xml"/><Relationship Id="rId1" Type="http://schemas.openxmlformats.org/officeDocument/2006/relationships/slideMaster" Target="../slideMasters/slideMaster7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customXml" Target="../ink/ink4.xml"/><Relationship Id="rId1" Type="http://schemas.openxmlformats.org/officeDocument/2006/relationships/slideMaster" Target="../slideMasters/slideMaster7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7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g"/><Relationship Id="rId1" Type="http://schemas.openxmlformats.org/officeDocument/2006/relationships/slideMaster" Target="../slideMasters/slideMaster7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7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g"/><Relationship Id="rId1" Type="http://schemas.openxmlformats.org/officeDocument/2006/relationships/slideMaster" Target="../slideMasters/slideMaster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g"/><Relationship Id="rId1" Type="http://schemas.openxmlformats.org/officeDocument/2006/relationships/slideMaster" Target="../slideMasters/slideMaster7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7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7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54.jp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44.svg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vmware.com/content/dam/brand/photography-only/power-point-assets/ppt-fonts/Metropolis-Light-Regular-font.zip" TargetMode="External"/><Relationship Id="rId1" Type="http://schemas.openxmlformats.org/officeDocument/2006/relationships/slideMaster" Target="../slideMasters/slideMaster7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4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customXml" Target="../ink/ink5.xml"/><Relationship Id="rId2" Type="http://schemas.openxmlformats.org/officeDocument/2006/relationships/image" Target="../media/image55.jp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56.pn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customXml" Target="../ink/ink6.xml"/><Relationship Id="rId2" Type="http://schemas.openxmlformats.org/officeDocument/2006/relationships/image" Target="../media/image55.jp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56.png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g"/><Relationship Id="rId1" Type="http://schemas.openxmlformats.org/officeDocument/2006/relationships/slideMaster" Target="../slideMasters/slideMaster10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jpg"/><Relationship Id="rId1" Type="http://schemas.openxmlformats.org/officeDocument/2006/relationships/slideMaster" Target="../slideMasters/slideMaster10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customXml" Target="../ink/ink7.xml"/><Relationship Id="rId1" Type="http://schemas.openxmlformats.org/officeDocument/2006/relationships/slideMaster" Target="../slideMasters/slideMaster10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customXml" Target="../ink/ink8.xml"/><Relationship Id="rId1" Type="http://schemas.openxmlformats.org/officeDocument/2006/relationships/slideMaster" Target="../slideMasters/slideMaster10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customXml" Target="../ink/ink9.xml"/><Relationship Id="rId1" Type="http://schemas.openxmlformats.org/officeDocument/2006/relationships/slideMaster" Target="../slideMasters/slideMaster10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0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g"/><Relationship Id="rId1" Type="http://schemas.openxmlformats.org/officeDocument/2006/relationships/slideMaster" Target="../slideMasters/slideMaster10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10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g"/><Relationship Id="rId1" Type="http://schemas.openxmlformats.org/officeDocument/2006/relationships/slideMaster" Target="../slideMasters/slideMaster10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g"/><Relationship Id="rId1" Type="http://schemas.openxmlformats.org/officeDocument/2006/relationships/slideMaster" Target="../slideMasters/slideMaster10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jpg"/><Relationship Id="rId1" Type="http://schemas.openxmlformats.org/officeDocument/2006/relationships/slideMaster" Target="../slideMasters/slideMaster10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g"/><Relationship Id="rId1" Type="http://schemas.openxmlformats.org/officeDocument/2006/relationships/slideMaster" Target="../slideMasters/slideMaster10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jpg"/><Relationship Id="rId1" Type="http://schemas.openxmlformats.org/officeDocument/2006/relationships/slideMaster" Target="../slideMasters/slideMaster10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61.jp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44.svg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vmware.com/content/dam/brand/photography-only/power-point-assets/ppt-fonts/Metropolis-Light-Regular-font.zip" TargetMode="External"/><Relationship Id="rId1" Type="http://schemas.openxmlformats.org/officeDocument/2006/relationships/slideMaster" Target="../slideMasters/slideMaster10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5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0" y="0"/>
            <a:ext cx="12192000" cy="685824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13" y="426720"/>
            <a:ext cx="9144001" cy="109728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13" y="1600200"/>
            <a:ext cx="9144001" cy="685800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8" name="Group 17"/>
          <p:cNvGrpSpPr/>
          <p:nvPr/>
        </p:nvGrpSpPr>
        <p:grpSpPr>
          <a:xfrm>
            <a:off x="10208810" y="6074857"/>
            <a:ext cx="1373445" cy="216433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19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0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1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3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4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5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9830079" y="6505956"/>
            <a:ext cx="1752163" cy="1996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4400">
              <a:lnSpc>
                <a:spcPct val="90000"/>
              </a:lnSpc>
            </a:pPr>
            <a:r>
              <a:rPr lang="en-US" sz="700" dirty="0">
                <a:solidFill>
                  <a:prstClr val="white"/>
                </a:solidFill>
                <a:latin typeface="Arial"/>
              </a:rPr>
              <a:t>© 2017 VMware Inc. All rights reserved.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wipe dir="r"/>
      </p:transition>
    </mc:Choice>
    <mc:Fallback xmlns="">
      <p:transition xmlns:p14="http://schemas.microsoft.com/office/powerpoint/2010/main" spd="slow">
        <p:wipe dir="r"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etric 3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056360" y="5213798"/>
            <a:ext cx="3734854" cy="1415602"/>
          </a:xfrm>
        </p:spPr>
        <p:txBody>
          <a:bodyPr anchor="ctr"/>
          <a:lstStyle>
            <a:lvl1pPr marL="3175" indent="0" algn="r">
              <a:spcBef>
                <a:spcPts val="0"/>
              </a:spcBef>
              <a:buNone/>
              <a:defRPr sz="88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6096014" y="5213798"/>
            <a:ext cx="4511040" cy="1415602"/>
          </a:xfrm>
        </p:spPr>
        <p:txBody>
          <a:bodyPr anchor="ctr"/>
          <a:lstStyle>
            <a:lvl1pPr marL="3175" indent="0">
              <a:spcBef>
                <a:spcPts val="0"/>
              </a:spcBef>
              <a:buNone/>
              <a:defRPr sz="24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618039" y="6446072"/>
            <a:ext cx="1100080" cy="173355"/>
            <a:chOff x="-84138" y="5622925"/>
            <a:chExt cx="4330701" cy="682626"/>
          </a:xfrm>
        </p:grpSpPr>
        <p:sp>
          <p:nvSpPr>
            <p:cNvPr id="1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1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19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1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2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wipe dir="r"/>
      </p:transition>
    </mc:Choice>
    <mc:Fallback xmlns="">
      <p:transition xmlns:p14="http://schemas.microsoft.com/office/powerpoint/2010/main" spd="slow">
        <p:wipe dir="r"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ustom Section Header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 bwMode="ltGray">
          <a:xfrm>
            <a:off x="2" y="5"/>
            <a:ext cx="12206314" cy="6867797"/>
            <a:chOff x="0" y="0"/>
            <a:chExt cx="9154736" cy="6867797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0" y="0"/>
              <a:ext cx="6409944" cy="6867797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3457935" y="856"/>
              <a:ext cx="5696801" cy="3154680"/>
            </a:xfrm>
            <a:prstGeom prst="rect">
              <a:avLst/>
            </a:prstGeom>
          </p:spPr>
        </p:pic>
        <p:grpSp>
          <p:nvGrpSpPr>
            <p:cNvPr id="5" name="Group 4"/>
            <p:cNvGrpSpPr/>
            <p:nvPr/>
          </p:nvGrpSpPr>
          <p:grpSpPr bwMode="ltGray">
            <a:xfrm>
              <a:off x="448524" y="6446044"/>
              <a:ext cx="1099793" cy="173355"/>
              <a:chOff x="-84138" y="5622925"/>
              <a:chExt cx="4330701" cy="682626"/>
            </a:xfrm>
          </p:grpSpPr>
          <p:sp>
            <p:nvSpPr>
              <p:cNvPr id="6" name="Freeform 6"/>
              <p:cNvSpPr>
                <a:spLocks/>
              </p:cNvSpPr>
              <p:nvPr/>
            </p:nvSpPr>
            <p:spPr bwMode="ltGray">
              <a:xfrm>
                <a:off x="1589088" y="5649913"/>
                <a:ext cx="914400" cy="647700"/>
              </a:xfrm>
              <a:custGeom>
                <a:avLst/>
                <a:gdLst>
                  <a:gd name="T0" fmla="*/ 52 w 243"/>
                  <a:gd name="T1" fmla="*/ 159 h 170"/>
                  <a:gd name="T2" fmla="*/ 2 w 243"/>
                  <a:gd name="T3" fmla="*/ 19 h 170"/>
                  <a:gd name="T4" fmla="*/ 0 w 243"/>
                  <a:gd name="T5" fmla="*/ 12 h 170"/>
                  <a:gd name="T6" fmla="*/ 13 w 243"/>
                  <a:gd name="T7" fmla="*/ 0 h 170"/>
                  <a:gd name="T8" fmla="*/ 25 w 243"/>
                  <a:gd name="T9" fmla="*/ 11 h 170"/>
                  <a:gd name="T10" fmla="*/ 67 w 243"/>
                  <a:gd name="T11" fmla="*/ 131 h 170"/>
                  <a:gd name="T12" fmla="*/ 109 w 243"/>
                  <a:gd name="T13" fmla="*/ 10 h 170"/>
                  <a:gd name="T14" fmla="*/ 121 w 243"/>
                  <a:gd name="T15" fmla="*/ 0 h 170"/>
                  <a:gd name="T16" fmla="*/ 122 w 243"/>
                  <a:gd name="T17" fmla="*/ 0 h 170"/>
                  <a:gd name="T18" fmla="*/ 135 w 243"/>
                  <a:gd name="T19" fmla="*/ 10 h 170"/>
                  <a:gd name="T20" fmla="*/ 177 w 243"/>
                  <a:gd name="T21" fmla="*/ 131 h 170"/>
                  <a:gd name="T22" fmla="*/ 219 w 243"/>
                  <a:gd name="T23" fmla="*/ 10 h 170"/>
                  <a:gd name="T24" fmla="*/ 231 w 243"/>
                  <a:gd name="T25" fmla="*/ 0 h 170"/>
                  <a:gd name="T26" fmla="*/ 243 w 243"/>
                  <a:gd name="T27" fmla="*/ 12 h 170"/>
                  <a:gd name="T28" fmla="*/ 241 w 243"/>
                  <a:gd name="T29" fmla="*/ 19 h 170"/>
                  <a:gd name="T30" fmla="*/ 191 w 243"/>
                  <a:gd name="T31" fmla="*/ 159 h 170"/>
                  <a:gd name="T32" fmla="*/ 177 w 243"/>
                  <a:gd name="T33" fmla="*/ 170 h 170"/>
                  <a:gd name="T34" fmla="*/ 176 w 243"/>
                  <a:gd name="T35" fmla="*/ 170 h 170"/>
                  <a:gd name="T36" fmla="*/ 163 w 243"/>
                  <a:gd name="T37" fmla="*/ 159 h 170"/>
                  <a:gd name="T38" fmla="*/ 122 w 243"/>
                  <a:gd name="T39" fmla="*/ 40 h 170"/>
                  <a:gd name="T40" fmla="*/ 80 w 243"/>
                  <a:gd name="T41" fmla="*/ 159 h 170"/>
                  <a:gd name="T42" fmla="*/ 66 w 243"/>
                  <a:gd name="T43" fmla="*/ 170 h 170"/>
                  <a:gd name="T44" fmla="*/ 66 w 243"/>
                  <a:gd name="T45" fmla="*/ 170 h 170"/>
                  <a:gd name="T46" fmla="*/ 52 w 243"/>
                  <a:gd name="T47" fmla="*/ 159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43" h="170">
                    <a:moveTo>
                      <a:pt x="52" y="159"/>
                    </a:moveTo>
                    <a:cubicBezTo>
                      <a:pt x="2" y="19"/>
                      <a:pt x="2" y="19"/>
                      <a:pt x="2" y="19"/>
                    </a:cubicBezTo>
                    <a:cubicBezTo>
                      <a:pt x="1" y="17"/>
                      <a:pt x="0" y="14"/>
                      <a:pt x="0" y="12"/>
                    </a:cubicBezTo>
                    <a:cubicBezTo>
                      <a:pt x="0" y="6"/>
                      <a:pt x="5" y="0"/>
                      <a:pt x="13" y="0"/>
                    </a:cubicBezTo>
                    <a:cubicBezTo>
                      <a:pt x="19" y="0"/>
                      <a:pt x="23" y="4"/>
                      <a:pt x="25" y="11"/>
                    </a:cubicBezTo>
                    <a:cubicBezTo>
                      <a:pt x="67" y="131"/>
                      <a:pt x="67" y="131"/>
                      <a:pt x="67" y="131"/>
                    </a:cubicBezTo>
                    <a:cubicBezTo>
                      <a:pt x="109" y="10"/>
                      <a:pt x="109" y="10"/>
                      <a:pt x="109" y="10"/>
                    </a:cubicBezTo>
                    <a:cubicBezTo>
                      <a:pt x="111" y="4"/>
                      <a:pt x="114" y="0"/>
                      <a:pt x="121" y="0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29" y="0"/>
                      <a:pt x="133" y="4"/>
                      <a:pt x="135" y="10"/>
                    </a:cubicBezTo>
                    <a:cubicBezTo>
                      <a:pt x="177" y="131"/>
                      <a:pt x="177" y="131"/>
                      <a:pt x="177" y="131"/>
                    </a:cubicBezTo>
                    <a:cubicBezTo>
                      <a:pt x="219" y="10"/>
                      <a:pt x="219" y="10"/>
                      <a:pt x="219" y="10"/>
                    </a:cubicBezTo>
                    <a:cubicBezTo>
                      <a:pt x="221" y="5"/>
                      <a:pt x="224" y="0"/>
                      <a:pt x="231" y="0"/>
                    </a:cubicBezTo>
                    <a:cubicBezTo>
                      <a:pt x="238" y="0"/>
                      <a:pt x="243" y="6"/>
                      <a:pt x="243" y="12"/>
                    </a:cubicBezTo>
                    <a:cubicBezTo>
                      <a:pt x="243" y="14"/>
                      <a:pt x="242" y="17"/>
                      <a:pt x="241" y="19"/>
                    </a:cubicBezTo>
                    <a:cubicBezTo>
                      <a:pt x="191" y="159"/>
                      <a:pt x="191" y="159"/>
                      <a:pt x="191" y="159"/>
                    </a:cubicBezTo>
                    <a:cubicBezTo>
                      <a:pt x="188" y="166"/>
                      <a:pt x="183" y="170"/>
                      <a:pt x="177" y="170"/>
                    </a:cubicBezTo>
                    <a:cubicBezTo>
                      <a:pt x="176" y="170"/>
                      <a:pt x="176" y="170"/>
                      <a:pt x="176" y="170"/>
                    </a:cubicBezTo>
                    <a:cubicBezTo>
                      <a:pt x="170" y="170"/>
                      <a:pt x="165" y="166"/>
                      <a:pt x="163" y="159"/>
                    </a:cubicBezTo>
                    <a:cubicBezTo>
                      <a:pt x="122" y="40"/>
                      <a:pt x="122" y="40"/>
                      <a:pt x="122" y="40"/>
                    </a:cubicBezTo>
                    <a:cubicBezTo>
                      <a:pt x="80" y="159"/>
                      <a:pt x="80" y="159"/>
                      <a:pt x="80" y="159"/>
                    </a:cubicBezTo>
                    <a:cubicBezTo>
                      <a:pt x="78" y="166"/>
                      <a:pt x="73" y="170"/>
                      <a:pt x="66" y="170"/>
                    </a:cubicBezTo>
                    <a:cubicBezTo>
                      <a:pt x="66" y="170"/>
                      <a:pt x="66" y="170"/>
                      <a:pt x="66" y="170"/>
                    </a:cubicBezTo>
                    <a:cubicBezTo>
                      <a:pt x="60" y="170"/>
                      <a:pt x="55" y="166"/>
                      <a:pt x="52" y="159"/>
                    </a:cubicBezTo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381"/>
                <a:endParaRPr lang="en-US" sz="1792">
                  <a:solidFill>
                    <a:srgbClr val="717074"/>
                  </a:solidFill>
                </a:endParaRPr>
              </a:p>
            </p:txBody>
          </p:sp>
          <p:sp>
            <p:nvSpPr>
              <p:cNvPr id="7" name="Freeform 7"/>
              <p:cNvSpPr>
                <a:spLocks/>
              </p:cNvSpPr>
              <p:nvPr/>
            </p:nvSpPr>
            <p:spPr bwMode="ltGray">
              <a:xfrm>
                <a:off x="3163888" y="5649913"/>
                <a:ext cx="354013" cy="647700"/>
              </a:xfrm>
              <a:custGeom>
                <a:avLst/>
                <a:gdLst>
                  <a:gd name="T0" fmla="*/ 0 w 94"/>
                  <a:gd name="T1" fmla="*/ 13 h 170"/>
                  <a:gd name="T2" fmla="*/ 12 w 94"/>
                  <a:gd name="T3" fmla="*/ 0 h 170"/>
                  <a:gd name="T4" fmla="*/ 24 w 94"/>
                  <a:gd name="T5" fmla="*/ 13 h 170"/>
                  <a:gd name="T6" fmla="*/ 24 w 94"/>
                  <a:gd name="T7" fmla="*/ 41 h 170"/>
                  <a:gd name="T8" fmla="*/ 82 w 94"/>
                  <a:gd name="T9" fmla="*/ 0 h 170"/>
                  <a:gd name="T10" fmla="*/ 94 w 94"/>
                  <a:gd name="T11" fmla="*/ 13 h 170"/>
                  <a:gd name="T12" fmla="*/ 83 w 94"/>
                  <a:gd name="T13" fmla="*/ 25 h 170"/>
                  <a:gd name="T14" fmla="*/ 24 w 94"/>
                  <a:gd name="T15" fmla="*/ 101 h 170"/>
                  <a:gd name="T16" fmla="*/ 24 w 94"/>
                  <a:gd name="T17" fmla="*/ 157 h 170"/>
                  <a:gd name="T18" fmla="*/ 12 w 94"/>
                  <a:gd name="T19" fmla="*/ 170 h 170"/>
                  <a:gd name="T20" fmla="*/ 0 w 94"/>
                  <a:gd name="T21" fmla="*/ 157 h 170"/>
                  <a:gd name="T22" fmla="*/ 0 w 94"/>
                  <a:gd name="T23" fmla="*/ 1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4" h="170">
                    <a:moveTo>
                      <a:pt x="0" y="13"/>
                    </a:moveTo>
                    <a:cubicBezTo>
                      <a:pt x="0" y="6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3"/>
                    </a:cubicBezTo>
                    <a:cubicBezTo>
                      <a:pt x="24" y="41"/>
                      <a:pt x="24" y="41"/>
                      <a:pt x="24" y="41"/>
                    </a:cubicBezTo>
                    <a:cubicBezTo>
                      <a:pt x="37" y="13"/>
                      <a:pt x="64" y="0"/>
                      <a:pt x="82" y="0"/>
                    </a:cubicBezTo>
                    <a:cubicBezTo>
                      <a:pt x="89" y="0"/>
                      <a:pt x="94" y="6"/>
                      <a:pt x="94" y="13"/>
                    </a:cubicBezTo>
                    <a:cubicBezTo>
                      <a:pt x="94" y="20"/>
                      <a:pt x="89" y="24"/>
                      <a:pt x="83" y="25"/>
                    </a:cubicBezTo>
                    <a:cubicBezTo>
                      <a:pt x="51" y="29"/>
                      <a:pt x="24" y="53"/>
                      <a:pt x="24" y="101"/>
                    </a:cubicBezTo>
                    <a:cubicBezTo>
                      <a:pt x="24" y="157"/>
                      <a:pt x="24" y="157"/>
                      <a:pt x="24" y="157"/>
                    </a:cubicBezTo>
                    <a:cubicBezTo>
                      <a:pt x="24" y="164"/>
                      <a:pt x="19" y="170"/>
                      <a:pt x="12" y="170"/>
                    </a:cubicBezTo>
                    <a:cubicBezTo>
                      <a:pt x="5" y="170"/>
                      <a:pt x="0" y="164"/>
                      <a:pt x="0" y="157"/>
                    </a:cubicBezTo>
                    <a:lnTo>
                      <a:pt x="0" y="13"/>
                    </a:lnTo>
                    <a:close/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381"/>
                <a:endParaRPr lang="en-US" sz="1792">
                  <a:solidFill>
                    <a:srgbClr val="717074"/>
                  </a:solidFill>
                </a:endParaRPr>
              </a:p>
            </p:txBody>
          </p:sp>
          <p:sp>
            <p:nvSpPr>
              <p:cNvPr id="9" name="Freeform 8"/>
              <p:cNvSpPr>
                <a:spLocks noEditPoints="1"/>
              </p:cNvSpPr>
              <p:nvPr/>
            </p:nvSpPr>
            <p:spPr bwMode="ltGray">
              <a:xfrm>
                <a:off x="3509963" y="5649913"/>
                <a:ext cx="579438" cy="655638"/>
              </a:xfrm>
              <a:custGeom>
                <a:avLst/>
                <a:gdLst>
                  <a:gd name="T0" fmla="*/ 129 w 154"/>
                  <a:gd name="T1" fmla="*/ 76 h 172"/>
                  <a:gd name="T2" fmla="*/ 77 w 154"/>
                  <a:gd name="T3" fmla="*/ 21 h 172"/>
                  <a:gd name="T4" fmla="*/ 25 w 154"/>
                  <a:gd name="T5" fmla="*/ 76 h 172"/>
                  <a:gd name="T6" fmla="*/ 129 w 154"/>
                  <a:gd name="T7" fmla="*/ 76 h 172"/>
                  <a:gd name="T8" fmla="*/ 81 w 154"/>
                  <a:gd name="T9" fmla="*/ 172 h 172"/>
                  <a:gd name="T10" fmla="*/ 0 w 154"/>
                  <a:gd name="T11" fmla="*/ 86 h 172"/>
                  <a:gd name="T12" fmla="*/ 0 w 154"/>
                  <a:gd name="T13" fmla="*/ 85 h 172"/>
                  <a:gd name="T14" fmla="*/ 78 w 154"/>
                  <a:gd name="T15" fmla="*/ 0 h 172"/>
                  <a:gd name="T16" fmla="*/ 154 w 154"/>
                  <a:gd name="T17" fmla="*/ 83 h 172"/>
                  <a:gd name="T18" fmla="*/ 142 w 154"/>
                  <a:gd name="T19" fmla="*/ 95 h 172"/>
                  <a:gd name="T20" fmla="*/ 25 w 154"/>
                  <a:gd name="T21" fmla="*/ 95 h 172"/>
                  <a:gd name="T22" fmla="*/ 82 w 154"/>
                  <a:gd name="T23" fmla="*/ 150 h 172"/>
                  <a:gd name="T24" fmla="*/ 129 w 154"/>
                  <a:gd name="T25" fmla="*/ 131 h 172"/>
                  <a:gd name="T26" fmla="*/ 136 w 154"/>
                  <a:gd name="T27" fmla="*/ 128 h 172"/>
                  <a:gd name="T28" fmla="*/ 146 w 154"/>
                  <a:gd name="T29" fmla="*/ 139 h 172"/>
                  <a:gd name="T30" fmla="*/ 142 w 154"/>
                  <a:gd name="T31" fmla="*/ 147 h 172"/>
                  <a:gd name="T32" fmla="*/ 81 w 154"/>
                  <a:gd name="T33" fmla="*/ 172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4" h="172">
                    <a:moveTo>
                      <a:pt x="129" y="76"/>
                    </a:moveTo>
                    <a:cubicBezTo>
                      <a:pt x="127" y="47"/>
                      <a:pt x="110" y="21"/>
                      <a:pt x="77" y="21"/>
                    </a:cubicBezTo>
                    <a:cubicBezTo>
                      <a:pt x="49" y="21"/>
                      <a:pt x="28" y="44"/>
                      <a:pt x="25" y="76"/>
                    </a:cubicBezTo>
                    <a:lnTo>
                      <a:pt x="129" y="76"/>
                    </a:lnTo>
                    <a:close/>
                    <a:moveTo>
                      <a:pt x="81" y="172"/>
                    </a:moveTo>
                    <a:cubicBezTo>
                      <a:pt x="36" y="172"/>
                      <a:pt x="0" y="137"/>
                      <a:pt x="0" y="86"/>
                    </a:cubicBezTo>
                    <a:cubicBezTo>
                      <a:pt x="0" y="85"/>
                      <a:pt x="0" y="85"/>
                      <a:pt x="0" y="85"/>
                    </a:cubicBezTo>
                    <a:cubicBezTo>
                      <a:pt x="0" y="38"/>
                      <a:pt x="33" y="0"/>
                      <a:pt x="78" y="0"/>
                    </a:cubicBezTo>
                    <a:cubicBezTo>
                      <a:pt x="126" y="0"/>
                      <a:pt x="154" y="40"/>
                      <a:pt x="154" y="83"/>
                    </a:cubicBezTo>
                    <a:cubicBezTo>
                      <a:pt x="154" y="90"/>
                      <a:pt x="148" y="95"/>
                      <a:pt x="142" y="95"/>
                    </a:cubicBezTo>
                    <a:cubicBezTo>
                      <a:pt x="25" y="95"/>
                      <a:pt x="25" y="95"/>
                      <a:pt x="25" y="95"/>
                    </a:cubicBezTo>
                    <a:cubicBezTo>
                      <a:pt x="28" y="130"/>
                      <a:pt x="53" y="150"/>
                      <a:pt x="82" y="150"/>
                    </a:cubicBezTo>
                    <a:cubicBezTo>
                      <a:pt x="102" y="150"/>
                      <a:pt x="117" y="142"/>
                      <a:pt x="129" y="131"/>
                    </a:cubicBezTo>
                    <a:cubicBezTo>
                      <a:pt x="131" y="130"/>
                      <a:pt x="133" y="128"/>
                      <a:pt x="136" y="128"/>
                    </a:cubicBezTo>
                    <a:cubicBezTo>
                      <a:pt x="142" y="128"/>
                      <a:pt x="146" y="133"/>
                      <a:pt x="146" y="139"/>
                    </a:cubicBezTo>
                    <a:cubicBezTo>
                      <a:pt x="146" y="142"/>
                      <a:pt x="145" y="145"/>
                      <a:pt x="142" y="147"/>
                    </a:cubicBezTo>
                    <a:cubicBezTo>
                      <a:pt x="127" y="162"/>
                      <a:pt x="109" y="172"/>
                      <a:pt x="81" y="172"/>
                    </a:cubicBezTo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381"/>
                <a:endParaRPr lang="en-US" sz="1792">
                  <a:solidFill>
                    <a:srgbClr val="717074"/>
                  </a:solidFill>
                </a:endParaRPr>
              </a:p>
            </p:txBody>
          </p:sp>
          <p:sp>
            <p:nvSpPr>
              <p:cNvPr id="10" name="Freeform 9"/>
              <p:cNvSpPr>
                <a:spLocks noEditPoints="1"/>
              </p:cNvSpPr>
              <p:nvPr/>
            </p:nvSpPr>
            <p:spPr bwMode="ltGray">
              <a:xfrm>
                <a:off x="2503488" y="5649913"/>
                <a:ext cx="547688" cy="655638"/>
              </a:xfrm>
              <a:custGeom>
                <a:avLst/>
                <a:gdLst>
                  <a:gd name="T0" fmla="*/ 122 w 146"/>
                  <a:gd name="T1" fmla="*/ 107 h 172"/>
                  <a:gd name="T2" fmla="*/ 122 w 146"/>
                  <a:gd name="T3" fmla="*/ 91 h 172"/>
                  <a:gd name="T4" fmla="*/ 74 w 146"/>
                  <a:gd name="T5" fmla="*/ 84 h 172"/>
                  <a:gd name="T6" fmla="*/ 25 w 146"/>
                  <a:gd name="T7" fmla="*/ 118 h 172"/>
                  <a:gd name="T8" fmla="*/ 25 w 146"/>
                  <a:gd name="T9" fmla="*/ 119 h 172"/>
                  <a:gd name="T10" fmla="*/ 67 w 146"/>
                  <a:gd name="T11" fmla="*/ 152 h 172"/>
                  <a:gd name="T12" fmla="*/ 122 w 146"/>
                  <a:gd name="T13" fmla="*/ 107 h 172"/>
                  <a:gd name="T14" fmla="*/ 0 w 146"/>
                  <a:gd name="T15" fmla="*/ 120 h 172"/>
                  <a:gd name="T16" fmla="*/ 0 w 146"/>
                  <a:gd name="T17" fmla="*/ 119 h 172"/>
                  <a:gd name="T18" fmla="*/ 71 w 146"/>
                  <a:gd name="T19" fmla="*/ 66 h 172"/>
                  <a:gd name="T20" fmla="*/ 122 w 146"/>
                  <a:gd name="T21" fmla="*/ 73 h 172"/>
                  <a:gd name="T22" fmla="*/ 122 w 146"/>
                  <a:gd name="T23" fmla="*/ 67 h 172"/>
                  <a:gd name="T24" fmla="*/ 73 w 146"/>
                  <a:gd name="T25" fmla="*/ 22 h 172"/>
                  <a:gd name="T26" fmla="*/ 34 w 146"/>
                  <a:gd name="T27" fmla="*/ 30 h 172"/>
                  <a:gd name="T28" fmla="*/ 30 w 146"/>
                  <a:gd name="T29" fmla="*/ 31 h 172"/>
                  <a:gd name="T30" fmla="*/ 19 w 146"/>
                  <a:gd name="T31" fmla="*/ 20 h 172"/>
                  <a:gd name="T32" fmla="*/ 26 w 146"/>
                  <a:gd name="T33" fmla="*/ 10 h 172"/>
                  <a:gd name="T34" fmla="*/ 75 w 146"/>
                  <a:gd name="T35" fmla="*/ 0 h 172"/>
                  <a:gd name="T36" fmla="*/ 129 w 146"/>
                  <a:gd name="T37" fmla="*/ 19 h 172"/>
                  <a:gd name="T38" fmla="*/ 146 w 146"/>
                  <a:gd name="T39" fmla="*/ 67 h 172"/>
                  <a:gd name="T40" fmla="*/ 146 w 146"/>
                  <a:gd name="T41" fmla="*/ 158 h 172"/>
                  <a:gd name="T42" fmla="*/ 134 w 146"/>
                  <a:gd name="T43" fmla="*/ 170 h 172"/>
                  <a:gd name="T44" fmla="*/ 122 w 146"/>
                  <a:gd name="T45" fmla="*/ 159 h 172"/>
                  <a:gd name="T46" fmla="*/ 122 w 146"/>
                  <a:gd name="T47" fmla="*/ 143 h 172"/>
                  <a:gd name="T48" fmla="*/ 62 w 146"/>
                  <a:gd name="T49" fmla="*/ 172 h 172"/>
                  <a:gd name="T50" fmla="*/ 0 w 146"/>
                  <a:gd name="T51" fmla="*/ 120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46" h="172">
                    <a:moveTo>
                      <a:pt x="122" y="107"/>
                    </a:moveTo>
                    <a:cubicBezTo>
                      <a:pt x="122" y="91"/>
                      <a:pt x="122" y="91"/>
                      <a:pt x="122" y="91"/>
                    </a:cubicBezTo>
                    <a:cubicBezTo>
                      <a:pt x="110" y="88"/>
                      <a:pt x="94" y="84"/>
                      <a:pt x="74" y="84"/>
                    </a:cubicBezTo>
                    <a:cubicBezTo>
                      <a:pt x="43" y="84"/>
                      <a:pt x="25" y="98"/>
                      <a:pt x="25" y="118"/>
                    </a:cubicBezTo>
                    <a:cubicBezTo>
                      <a:pt x="25" y="119"/>
                      <a:pt x="25" y="119"/>
                      <a:pt x="25" y="119"/>
                    </a:cubicBezTo>
                    <a:cubicBezTo>
                      <a:pt x="25" y="140"/>
                      <a:pt x="45" y="152"/>
                      <a:pt x="67" y="152"/>
                    </a:cubicBezTo>
                    <a:cubicBezTo>
                      <a:pt x="97" y="152"/>
                      <a:pt x="122" y="133"/>
                      <a:pt x="122" y="107"/>
                    </a:cubicBezTo>
                    <a:moveTo>
                      <a:pt x="0" y="120"/>
                    </a:moveTo>
                    <a:cubicBezTo>
                      <a:pt x="0" y="119"/>
                      <a:pt x="0" y="119"/>
                      <a:pt x="0" y="119"/>
                    </a:cubicBezTo>
                    <a:cubicBezTo>
                      <a:pt x="0" y="85"/>
                      <a:pt x="29" y="66"/>
                      <a:pt x="71" y="66"/>
                    </a:cubicBezTo>
                    <a:cubicBezTo>
                      <a:pt x="92" y="66"/>
                      <a:pt x="107" y="69"/>
                      <a:pt x="122" y="73"/>
                    </a:cubicBezTo>
                    <a:cubicBezTo>
                      <a:pt x="122" y="67"/>
                      <a:pt x="122" y="67"/>
                      <a:pt x="122" y="67"/>
                    </a:cubicBezTo>
                    <a:cubicBezTo>
                      <a:pt x="122" y="37"/>
                      <a:pt x="104" y="22"/>
                      <a:pt x="73" y="22"/>
                    </a:cubicBezTo>
                    <a:cubicBezTo>
                      <a:pt x="56" y="22"/>
                      <a:pt x="46" y="24"/>
                      <a:pt x="34" y="30"/>
                    </a:cubicBezTo>
                    <a:cubicBezTo>
                      <a:pt x="33" y="30"/>
                      <a:pt x="31" y="31"/>
                      <a:pt x="30" y="31"/>
                    </a:cubicBezTo>
                    <a:cubicBezTo>
                      <a:pt x="24" y="31"/>
                      <a:pt x="19" y="26"/>
                      <a:pt x="19" y="20"/>
                    </a:cubicBezTo>
                    <a:cubicBezTo>
                      <a:pt x="19" y="15"/>
                      <a:pt x="21" y="12"/>
                      <a:pt x="26" y="10"/>
                    </a:cubicBezTo>
                    <a:cubicBezTo>
                      <a:pt x="42" y="3"/>
                      <a:pt x="54" y="0"/>
                      <a:pt x="75" y="0"/>
                    </a:cubicBezTo>
                    <a:cubicBezTo>
                      <a:pt x="99" y="0"/>
                      <a:pt x="117" y="6"/>
                      <a:pt x="129" y="19"/>
                    </a:cubicBezTo>
                    <a:cubicBezTo>
                      <a:pt x="140" y="30"/>
                      <a:pt x="146" y="46"/>
                      <a:pt x="146" y="67"/>
                    </a:cubicBezTo>
                    <a:cubicBezTo>
                      <a:pt x="146" y="158"/>
                      <a:pt x="146" y="158"/>
                      <a:pt x="146" y="158"/>
                    </a:cubicBezTo>
                    <a:cubicBezTo>
                      <a:pt x="146" y="165"/>
                      <a:pt x="141" y="170"/>
                      <a:pt x="134" y="170"/>
                    </a:cubicBezTo>
                    <a:cubicBezTo>
                      <a:pt x="127" y="170"/>
                      <a:pt x="122" y="165"/>
                      <a:pt x="122" y="159"/>
                    </a:cubicBezTo>
                    <a:cubicBezTo>
                      <a:pt x="122" y="143"/>
                      <a:pt x="122" y="143"/>
                      <a:pt x="122" y="143"/>
                    </a:cubicBezTo>
                    <a:cubicBezTo>
                      <a:pt x="111" y="158"/>
                      <a:pt x="91" y="172"/>
                      <a:pt x="62" y="172"/>
                    </a:cubicBezTo>
                    <a:cubicBezTo>
                      <a:pt x="32" y="172"/>
                      <a:pt x="0" y="154"/>
                      <a:pt x="0" y="120"/>
                    </a:cubicBezTo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381"/>
                <a:endParaRPr lang="en-US" sz="1792">
                  <a:solidFill>
                    <a:srgbClr val="717074"/>
                  </a:solidFill>
                </a:endParaRPr>
              </a:p>
            </p:txBody>
          </p:sp>
          <p:sp>
            <p:nvSpPr>
              <p:cNvPr id="11" name="Freeform 10"/>
              <p:cNvSpPr>
                <a:spLocks/>
              </p:cNvSpPr>
              <p:nvPr/>
            </p:nvSpPr>
            <p:spPr bwMode="ltGray">
              <a:xfrm>
                <a:off x="-84138" y="5622925"/>
                <a:ext cx="1635125" cy="682625"/>
              </a:xfrm>
              <a:custGeom>
                <a:avLst/>
                <a:gdLst>
                  <a:gd name="T0" fmla="*/ 49 w 435"/>
                  <a:gd name="T1" fmla="*/ 18 h 179"/>
                  <a:gd name="T2" fmla="*/ 17 w 435"/>
                  <a:gd name="T3" fmla="*/ 6 h 179"/>
                  <a:gd name="T4" fmla="*/ 6 w 435"/>
                  <a:gd name="T5" fmla="*/ 37 h 179"/>
                  <a:gd name="T6" fmla="*/ 58 w 435"/>
                  <a:gd name="T7" fmla="*/ 152 h 179"/>
                  <a:gd name="T8" fmla="*/ 92 w 435"/>
                  <a:gd name="T9" fmla="*/ 179 h 179"/>
                  <a:gd name="T10" fmla="*/ 125 w 435"/>
                  <a:gd name="T11" fmla="*/ 152 h 179"/>
                  <a:gd name="T12" fmla="*/ 171 w 435"/>
                  <a:gd name="T13" fmla="*/ 51 h 179"/>
                  <a:gd name="T14" fmla="*/ 178 w 435"/>
                  <a:gd name="T15" fmla="*/ 46 h 179"/>
                  <a:gd name="T16" fmla="*/ 185 w 435"/>
                  <a:gd name="T17" fmla="*/ 54 h 179"/>
                  <a:gd name="T18" fmla="*/ 185 w 435"/>
                  <a:gd name="T19" fmla="*/ 151 h 179"/>
                  <a:gd name="T20" fmla="*/ 209 w 435"/>
                  <a:gd name="T21" fmla="*/ 179 h 179"/>
                  <a:gd name="T22" fmla="*/ 234 w 435"/>
                  <a:gd name="T23" fmla="*/ 151 h 179"/>
                  <a:gd name="T24" fmla="*/ 234 w 435"/>
                  <a:gd name="T25" fmla="*/ 72 h 179"/>
                  <a:gd name="T26" fmla="*/ 260 w 435"/>
                  <a:gd name="T27" fmla="*/ 46 h 179"/>
                  <a:gd name="T28" fmla="*/ 285 w 435"/>
                  <a:gd name="T29" fmla="*/ 72 h 179"/>
                  <a:gd name="T30" fmla="*/ 285 w 435"/>
                  <a:gd name="T31" fmla="*/ 151 h 179"/>
                  <a:gd name="T32" fmla="*/ 310 w 435"/>
                  <a:gd name="T33" fmla="*/ 179 h 179"/>
                  <a:gd name="T34" fmla="*/ 334 w 435"/>
                  <a:gd name="T35" fmla="*/ 151 h 179"/>
                  <a:gd name="T36" fmla="*/ 334 w 435"/>
                  <a:gd name="T37" fmla="*/ 72 h 179"/>
                  <a:gd name="T38" fmla="*/ 360 w 435"/>
                  <a:gd name="T39" fmla="*/ 46 h 179"/>
                  <a:gd name="T40" fmla="*/ 385 w 435"/>
                  <a:gd name="T41" fmla="*/ 72 h 179"/>
                  <a:gd name="T42" fmla="*/ 385 w 435"/>
                  <a:gd name="T43" fmla="*/ 151 h 179"/>
                  <a:gd name="T44" fmla="*/ 410 w 435"/>
                  <a:gd name="T45" fmla="*/ 179 h 179"/>
                  <a:gd name="T46" fmla="*/ 435 w 435"/>
                  <a:gd name="T47" fmla="*/ 151 h 179"/>
                  <a:gd name="T48" fmla="*/ 435 w 435"/>
                  <a:gd name="T49" fmla="*/ 61 h 179"/>
                  <a:gd name="T50" fmla="*/ 375 w 435"/>
                  <a:gd name="T51" fmla="*/ 4 h 179"/>
                  <a:gd name="T52" fmla="*/ 323 w 435"/>
                  <a:gd name="T53" fmla="*/ 26 h 179"/>
                  <a:gd name="T54" fmla="*/ 272 w 435"/>
                  <a:gd name="T55" fmla="*/ 4 h 179"/>
                  <a:gd name="T56" fmla="*/ 223 w 435"/>
                  <a:gd name="T57" fmla="*/ 26 h 179"/>
                  <a:gd name="T58" fmla="*/ 178 w 435"/>
                  <a:gd name="T59" fmla="*/ 4 h 179"/>
                  <a:gd name="T60" fmla="*/ 125 w 435"/>
                  <a:gd name="T61" fmla="*/ 40 h 179"/>
                  <a:gd name="T62" fmla="*/ 92 w 435"/>
                  <a:gd name="T63" fmla="*/ 119 h 179"/>
                  <a:gd name="T64" fmla="*/ 49 w 435"/>
                  <a:gd name="T65" fmla="*/ 18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35" h="179">
                    <a:moveTo>
                      <a:pt x="49" y="18"/>
                    </a:moveTo>
                    <a:cubicBezTo>
                      <a:pt x="43" y="6"/>
                      <a:pt x="30" y="0"/>
                      <a:pt x="17" y="6"/>
                    </a:cubicBezTo>
                    <a:cubicBezTo>
                      <a:pt x="5" y="12"/>
                      <a:pt x="0" y="25"/>
                      <a:pt x="6" y="37"/>
                    </a:cubicBezTo>
                    <a:cubicBezTo>
                      <a:pt x="58" y="152"/>
                      <a:pt x="58" y="152"/>
                      <a:pt x="58" y="152"/>
                    </a:cubicBezTo>
                    <a:cubicBezTo>
                      <a:pt x="67" y="169"/>
                      <a:pt x="75" y="179"/>
                      <a:pt x="92" y="179"/>
                    </a:cubicBezTo>
                    <a:cubicBezTo>
                      <a:pt x="109" y="179"/>
                      <a:pt x="117" y="169"/>
                      <a:pt x="125" y="152"/>
                    </a:cubicBezTo>
                    <a:cubicBezTo>
                      <a:pt x="125" y="152"/>
                      <a:pt x="171" y="52"/>
                      <a:pt x="171" y="51"/>
                    </a:cubicBezTo>
                    <a:cubicBezTo>
                      <a:pt x="172" y="50"/>
                      <a:pt x="173" y="46"/>
                      <a:pt x="178" y="46"/>
                    </a:cubicBezTo>
                    <a:cubicBezTo>
                      <a:pt x="182" y="47"/>
                      <a:pt x="185" y="50"/>
                      <a:pt x="185" y="54"/>
                    </a:cubicBezTo>
                    <a:cubicBezTo>
                      <a:pt x="185" y="151"/>
                      <a:pt x="185" y="151"/>
                      <a:pt x="185" y="151"/>
                    </a:cubicBezTo>
                    <a:cubicBezTo>
                      <a:pt x="185" y="166"/>
                      <a:pt x="193" y="179"/>
                      <a:pt x="209" y="179"/>
                    </a:cubicBezTo>
                    <a:cubicBezTo>
                      <a:pt x="225" y="179"/>
                      <a:pt x="234" y="166"/>
                      <a:pt x="234" y="151"/>
                    </a:cubicBezTo>
                    <a:cubicBezTo>
                      <a:pt x="234" y="72"/>
                      <a:pt x="234" y="72"/>
                      <a:pt x="234" y="72"/>
                    </a:cubicBezTo>
                    <a:cubicBezTo>
                      <a:pt x="234" y="56"/>
                      <a:pt x="245" y="46"/>
                      <a:pt x="260" y="46"/>
                    </a:cubicBezTo>
                    <a:cubicBezTo>
                      <a:pt x="275" y="46"/>
                      <a:pt x="285" y="57"/>
                      <a:pt x="285" y="72"/>
                    </a:cubicBezTo>
                    <a:cubicBezTo>
                      <a:pt x="285" y="151"/>
                      <a:pt x="285" y="151"/>
                      <a:pt x="285" y="151"/>
                    </a:cubicBezTo>
                    <a:cubicBezTo>
                      <a:pt x="285" y="166"/>
                      <a:pt x="294" y="179"/>
                      <a:pt x="310" y="179"/>
                    </a:cubicBezTo>
                    <a:cubicBezTo>
                      <a:pt x="326" y="179"/>
                      <a:pt x="334" y="166"/>
                      <a:pt x="334" y="151"/>
                    </a:cubicBezTo>
                    <a:cubicBezTo>
                      <a:pt x="334" y="72"/>
                      <a:pt x="334" y="72"/>
                      <a:pt x="334" y="72"/>
                    </a:cubicBezTo>
                    <a:cubicBezTo>
                      <a:pt x="334" y="56"/>
                      <a:pt x="345" y="46"/>
                      <a:pt x="360" y="46"/>
                    </a:cubicBezTo>
                    <a:cubicBezTo>
                      <a:pt x="375" y="46"/>
                      <a:pt x="385" y="57"/>
                      <a:pt x="385" y="72"/>
                    </a:cubicBezTo>
                    <a:cubicBezTo>
                      <a:pt x="385" y="151"/>
                      <a:pt x="385" y="151"/>
                      <a:pt x="385" y="151"/>
                    </a:cubicBezTo>
                    <a:cubicBezTo>
                      <a:pt x="385" y="166"/>
                      <a:pt x="394" y="179"/>
                      <a:pt x="410" y="179"/>
                    </a:cubicBezTo>
                    <a:cubicBezTo>
                      <a:pt x="426" y="179"/>
                      <a:pt x="435" y="166"/>
                      <a:pt x="435" y="151"/>
                    </a:cubicBezTo>
                    <a:cubicBezTo>
                      <a:pt x="435" y="61"/>
                      <a:pt x="435" y="61"/>
                      <a:pt x="435" y="61"/>
                    </a:cubicBezTo>
                    <a:cubicBezTo>
                      <a:pt x="435" y="27"/>
                      <a:pt x="408" y="4"/>
                      <a:pt x="375" y="4"/>
                    </a:cubicBezTo>
                    <a:cubicBezTo>
                      <a:pt x="343" y="4"/>
                      <a:pt x="323" y="26"/>
                      <a:pt x="323" y="26"/>
                    </a:cubicBezTo>
                    <a:cubicBezTo>
                      <a:pt x="312" y="12"/>
                      <a:pt x="297" y="4"/>
                      <a:pt x="272" y="4"/>
                    </a:cubicBezTo>
                    <a:cubicBezTo>
                      <a:pt x="246" y="4"/>
                      <a:pt x="223" y="26"/>
                      <a:pt x="223" y="26"/>
                    </a:cubicBezTo>
                    <a:cubicBezTo>
                      <a:pt x="212" y="12"/>
                      <a:pt x="194" y="4"/>
                      <a:pt x="178" y="4"/>
                    </a:cubicBezTo>
                    <a:cubicBezTo>
                      <a:pt x="155" y="4"/>
                      <a:pt x="136" y="14"/>
                      <a:pt x="125" y="40"/>
                    </a:cubicBezTo>
                    <a:cubicBezTo>
                      <a:pt x="92" y="119"/>
                      <a:pt x="92" y="119"/>
                      <a:pt x="92" y="119"/>
                    </a:cubicBezTo>
                    <a:lnTo>
                      <a:pt x="49" y="18"/>
                    </a:lnTo>
                    <a:close/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381"/>
                <a:endParaRPr lang="en-US" sz="1792">
                  <a:solidFill>
                    <a:srgbClr val="717074"/>
                  </a:solidFill>
                </a:endParaRPr>
              </a:p>
            </p:txBody>
          </p:sp>
          <p:sp>
            <p:nvSpPr>
              <p:cNvPr id="12" name="Freeform 11"/>
              <p:cNvSpPr>
                <a:spLocks noEditPoints="1"/>
              </p:cNvSpPr>
              <p:nvPr/>
            </p:nvSpPr>
            <p:spPr bwMode="ltGray">
              <a:xfrm>
                <a:off x="4097338" y="5649913"/>
                <a:ext cx="149225" cy="157163"/>
              </a:xfrm>
              <a:custGeom>
                <a:avLst/>
                <a:gdLst>
                  <a:gd name="T0" fmla="*/ 37 w 40"/>
                  <a:gd name="T1" fmla="*/ 20 h 41"/>
                  <a:gd name="T2" fmla="*/ 37 w 40"/>
                  <a:gd name="T3" fmla="*/ 20 h 41"/>
                  <a:gd name="T4" fmla="*/ 20 w 40"/>
                  <a:gd name="T5" fmla="*/ 4 h 41"/>
                  <a:gd name="T6" fmla="*/ 3 w 40"/>
                  <a:gd name="T7" fmla="*/ 20 h 41"/>
                  <a:gd name="T8" fmla="*/ 3 w 40"/>
                  <a:gd name="T9" fmla="*/ 21 h 41"/>
                  <a:gd name="T10" fmla="*/ 20 w 40"/>
                  <a:gd name="T11" fmla="*/ 37 h 41"/>
                  <a:gd name="T12" fmla="*/ 37 w 40"/>
                  <a:gd name="T13" fmla="*/ 20 h 41"/>
                  <a:gd name="T14" fmla="*/ 0 w 40"/>
                  <a:gd name="T15" fmla="*/ 21 h 41"/>
                  <a:gd name="T16" fmla="*/ 0 w 40"/>
                  <a:gd name="T17" fmla="*/ 20 h 41"/>
                  <a:gd name="T18" fmla="*/ 20 w 40"/>
                  <a:gd name="T19" fmla="*/ 0 h 41"/>
                  <a:gd name="T20" fmla="*/ 40 w 40"/>
                  <a:gd name="T21" fmla="*/ 20 h 41"/>
                  <a:gd name="T22" fmla="*/ 40 w 40"/>
                  <a:gd name="T23" fmla="*/ 20 h 41"/>
                  <a:gd name="T24" fmla="*/ 20 w 40"/>
                  <a:gd name="T25" fmla="*/ 41 h 41"/>
                  <a:gd name="T26" fmla="*/ 0 w 40"/>
                  <a:gd name="T27" fmla="*/ 2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0" h="41">
                    <a:moveTo>
                      <a:pt x="37" y="20"/>
                    </a:moveTo>
                    <a:cubicBezTo>
                      <a:pt x="37" y="20"/>
                      <a:pt x="37" y="20"/>
                      <a:pt x="37" y="20"/>
                    </a:cubicBezTo>
                    <a:cubicBezTo>
                      <a:pt x="37" y="11"/>
                      <a:pt x="29" y="4"/>
                      <a:pt x="20" y="4"/>
                    </a:cubicBezTo>
                    <a:cubicBezTo>
                      <a:pt x="11" y="4"/>
                      <a:pt x="3" y="11"/>
                      <a:pt x="3" y="20"/>
                    </a:cubicBezTo>
                    <a:cubicBezTo>
                      <a:pt x="3" y="21"/>
                      <a:pt x="3" y="21"/>
                      <a:pt x="3" y="21"/>
                    </a:cubicBezTo>
                    <a:cubicBezTo>
                      <a:pt x="3" y="30"/>
                      <a:pt x="11" y="37"/>
                      <a:pt x="20" y="37"/>
                    </a:cubicBezTo>
                    <a:cubicBezTo>
                      <a:pt x="29" y="37"/>
                      <a:pt x="37" y="30"/>
                      <a:pt x="37" y="20"/>
                    </a:cubicBezTo>
                    <a:moveTo>
                      <a:pt x="0" y="21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2" y="0"/>
                      <a:pt x="40" y="9"/>
                      <a:pt x="40" y="20"/>
                    </a:cubicBezTo>
                    <a:cubicBezTo>
                      <a:pt x="40" y="20"/>
                      <a:pt x="40" y="20"/>
                      <a:pt x="40" y="20"/>
                    </a:cubicBezTo>
                    <a:cubicBezTo>
                      <a:pt x="40" y="32"/>
                      <a:pt x="31" y="41"/>
                      <a:pt x="20" y="41"/>
                    </a:cubicBezTo>
                    <a:cubicBezTo>
                      <a:pt x="8" y="41"/>
                      <a:pt x="0" y="32"/>
                      <a:pt x="0" y="21"/>
                    </a:cubicBezTo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381"/>
                <a:endParaRPr lang="en-US" sz="1792">
                  <a:solidFill>
                    <a:srgbClr val="717074"/>
                  </a:solidFill>
                </a:endParaRPr>
              </a:p>
            </p:txBody>
          </p:sp>
          <p:sp>
            <p:nvSpPr>
              <p:cNvPr id="13" name="Freeform 12"/>
              <p:cNvSpPr>
                <a:spLocks noEditPoints="1"/>
              </p:cNvSpPr>
              <p:nvPr/>
            </p:nvSpPr>
            <p:spPr bwMode="ltGray">
              <a:xfrm>
                <a:off x="4141788" y="5688013"/>
                <a:ext cx="63500" cy="76200"/>
              </a:xfrm>
              <a:custGeom>
                <a:avLst/>
                <a:gdLst>
                  <a:gd name="T0" fmla="*/ 9 w 17"/>
                  <a:gd name="T1" fmla="*/ 10 h 20"/>
                  <a:gd name="T2" fmla="*/ 12 w 17"/>
                  <a:gd name="T3" fmla="*/ 7 h 20"/>
                  <a:gd name="T4" fmla="*/ 12 w 17"/>
                  <a:gd name="T5" fmla="*/ 7 h 20"/>
                  <a:gd name="T6" fmla="*/ 9 w 17"/>
                  <a:gd name="T7" fmla="*/ 4 h 20"/>
                  <a:gd name="T8" fmla="*/ 5 w 17"/>
                  <a:gd name="T9" fmla="*/ 4 h 20"/>
                  <a:gd name="T10" fmla="*/ 5 w 17"/>
                  <a:gd name="T11" fmla="*/ 10 h 20"/>
                  <a:gd name="T12" fmla="*/ 9 w 17"/>
                  <a:gd name="T13" fmla="*/ 10 h 20"/>
                  <a:gd name="T14" fmla="*/ 0 w 17"/>
                  <a:gd name="T15" fmla="*/ 2 h 20"/>
                  <a:gd name="T16" fmla="*/ 2 w 17"/>
                  <a:gd name="T17" fmla="*/ 0 h 20"/>
                  <a:gd name="T18" fmla="*/ 9 w 17"/>
                  <a:gd name="T19" fmla="*/ 0 h 20"/>
                  <a:gd name="T20" fmla="*/ 15 w 17"/>
                  <a:gd name="T21" fmla="*/ 2 h 20"/>
                  <a:gd name="T22" fmla="*/ 17 w 17"/>
                  <a:gd name="T23" fmla="*/ 7 h 20"/>
                  <a:gd name="T24" fmla="*/ 17 w 17"/>
                  <a:gd name="T25" fmla="*/ 7 h 20"/>
                  <a:gd name="T26" fmla="*/ 13 w 17"/>
                  <a:gd name="T27" fmla="*/ 13 h 20"/>
                  <a:gd name="T28" fmla="*/ 16 w 17"/>
                  <a:gd name="T29" fmla="*/ 17 h 20"/>
                  <a:gd name="T30" fmla="*/ 16 w 17"/>
                  <a:gd name="T31" fmla="*/ 18 h 20"/>
                  <a:gd name="T32" fmla="*/ 14 w 17"/>
                  <a:gd name="T33" fmla="*/ 20 h 20"/>
                  <a:gd name="T34" fmla="*/ 12 w 17"/>
                  <a:gd name="T35" fmla="*/ 19 h 20"/>
                  <a:gd name="T36" fmla="*/ 8 w 17"/>
                  <a:gd name="T37" fmla="*/ 14 h 20"/>
                  <a:gd name="T38" fmla="*/ 5 w 17"/>
                  <a:gd name="T39" fmla="*/ 14 h 20"/>
                  <a:gd name="T40" fmla="*/ 5 w 17"/>
                  <a:gd name="T41" fmla="*/ 18 h 20"/>
                  <a:gd name="T42" fmla="*/ 2 w 17"/>
                  <a:gd name="T43" fmla="*/ 20 h 20"/>
                  <a:gd name="T44" fmla="*/ 0 w 17"/>
                  <a:gd name="T45" fmla="*/ 18 h 20"/>
                  <a:gd name="T46" fmla="*/ 0 w 17"/>
                  <a:gd name="T47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7" h="20">
                    <a:moveTo>
                      <a:pt x="9" y="10"/>
                    </a:moveTo>
                    <a:cubicBezTo>
                      <a:pt x="11" y="10"/>
                      <a:pt x="12" y="9"/>
                      <a:pt x="12" y="7"/>
                    </a:cubicBezTo>
                    <a:cubicBezTo>
                      <a:pt x="12" y="7"/>
                      <a:pt x="12" y="7"/>
                      <a:pt x="12" y="7"/>
                    </a:cubicBezTo>
                    <a:cubicBezTo>
                      <a:pt x="12" y="5"/>
                      <a:pt x="11" y="4"/>
                      <a:pt x="9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10"/>
                      <a:pt x="5" y="10"/>
                      <a:pt x="5" y="10"/>
                    </a:cubicBezTo>
                    <a:lnTo>
                      <a:pt x="9" y="10"/>
                    </a:lnTo>
                    <a:close/>
                    <a:moveTo>
                      <a:pt x="0" y="2"/>
                    </a:moveTo>
                    <a:cubicBezTo>
                      <a:pt x="0" y="1"/>
                      <a:pt x="1" y="0"/>
                      <a:pt x="2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2" y="0"/>
                      <a:pt x="14" y="1"/>
                      <a:pt x="15" y="2"/>
                    </a:cubicBezTo>
                    <a:cubicBezTo>
                      <a:pt x="16" y="3"/>
                      <a:pt x="17" y="5"/>
                      <a:pt x="17" y="7"/>
                    </a:cubicBezTo>
                    <a:cubicBezTo>
                      <a:pt x="17" y="7"/>
                      <a:pt x="17" y="7"/>
                      <a:pt x="17" y="7"/>
                    </a:cubicBezTo>
                    <a:cubicBezTo>
                      <a:pt x="17" y="10"/>
                      <a:pt x="15" y="12"/>
                      <a:pt x="13" y="13"/>
                    </a:cubicBezTo>
                    <a:cubicBezTo>
                      <a:pt x="16" y="17"/>
                      <a:pt x="16" y="17"/>
                      <a:pt x="16" y="17"/>
                    </a:cubicBezTo>
                    <a:cubicBezTo>
                      <a:pt x="16" y="17"/>
                      <a:pt x="16" y="18"/>
                      <a:pt x="16" y="18"/>
                    </a:cubicBezTo>
                    <a:cubicBezTo>
                      <a:pt x="16" y="19"/>
                      <a:pt x="15" y="20"/>
                      <a:pt x="14" y="20"/>
                    </a:cubicBezTo>
                    <a:cubicBezTo>
                      <a:pt x="13" y="20"/>
                      <a:pt x="13" y="20"/>
                      <a:pt x="12" y="19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5" y="14"/>
                      <a:pt x="5" y="14"/>
                      <a:pt x="5" y="14"/>
                    </a:cubicBezTo>
                    <a:cubicBezTo>
                      <a:pt x="5" y="18"/>
                      <a:pt x="5" y="18"/>
                      <a:pt x="5" y="18"/>
                    </a:cubicBezTo>
                    <a:cubicBezTo>
                      <a:pt x="5" y="19"/>
                      <a:pt x="4" y="20"/>
                      <a:pt x="2" y="20"/>
                    </a:cubicBezTo>
                    <a:cubicBezTo>
                      <a:pt x="1" y="20"/>
                      <a:pt x="0" y="19"/>
                      <a:pt x="0" y="18"/>
                    </a:cubicBez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381"/>
                <a:endParaRPr lang="en-US" sz="1792">
                  <a:solidFill>
                    <a:srgbClr val="717074"/>
                  </a:solidFill>
                </a:endParaRPr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1676400"/>
            <a:ext cx="6096000" cy="1524000"/>
          </a:xfrm>
        </p:spPr>
        <p:txBody>
          <a:bodyPr anchor="b"/>
          <a:lstStyle>
            <a:lvl1pPr algn="l">
              <a:defRPr sz="3584" b="1" cap="none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3" y="3276600"/>
            <a:ext cx="6096000" cy="6096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992">
                <a:solidFill>
                  <a:schemeClr val="tx1"/>
                </a:solidFill>
              </a:defRPr>
            </a:lvl1pPr>
            <a:lvl2pPr marL="0" indent="0">
              <a:buNone/>
              <a:defRPr sz="1992">
                <a:solidFill>
                  <a:schemeClr val="accent4"/>
                </a:solidFill>
              </a:defRPr>
            </a:lvl2pPr>
            <a:lvl3pPr marL="0" indent="0">
              <a:buNone/>
              <a:defRPr sz="1992">
                <a:solidFill>
                  <a:schemeClr val="accent4"/>
                </a:solidFill>
              </a:defRPr>
            </a:lvl3pPr>
            <a:lvl4pPr marL="0" indent="0">
              <a:buNone/>
              <a:defRPr sz="1992">
                <a:solidFill>
                  <a:schemeClr val="accent4"/>
                </a:solidFill>
              </a:defRPr>
            </a:lvl4pPr>
            <a:lvl5pPr marL="0" indent="0">
              <a:buNone/>
              <a:defRPr sz="1992">
                <a:solidFill>
                  <a:schemeClr val="accent4"/>
                </a:solidFill>
              </a:defRPr>
            </a:lvl5pPr>
            <a:lvl6pPr marL="0" indent="0">
              <a:buNone/>
              <a:defRPr sz="1992">
                <a:solidFill>
                  <a:schemeClr val="accent4"/>
                </a:solidFill>
              </a:defRPr>
            </a:lvl6pPr>
            <a:lvl7pPr marL="0" indent="0">
              <a:buNone/>
              <a:defRPr sz="1992">
                <a:solidFill>
                  <a:schemeClr val="accent4"/>
                </a:solidFill>
              </a:defRPr>
            </a:lvl7pPr>
            <a:lvl8pPr marL="0" indent="0">
              <a:buNone/>
              <a:defRPr sz="1992">
                <a:solidFill>
                  <a:schemeClr val="accent4"/>
                </a:solidFill>
              </a:defRPr>
            </a:lvl8pPr>
            <a:lvl9pPr marL="0" indent="0">
              <a:buNone/>
              <a:defRPr sz="1992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Quote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 bwMode="ltGray">
          <a:xfrm>
            <a:off x="2" y="2855074"/>
            <a:ext cx="6337979" cy="4002933"/>
            <a:chOff x="0" y="2855067"/>
            <a:chExt cx="4753484" cy="4002933"/>
          </a:xfrm>
        </p:grpSpPr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0" y="2855067"/>
              <a:ext cx="4753484" cy="4002933"/>
            </a:xfrm>
            <a:prstGeom prst="rect">
              <a:avLst/>
            </a:prstGeom>
          </p:spPr>
        </p:pic>
        <p:grpSp>
          <p:nvGrpSpPr>
            <p:cNvPr id="18" name="Group 17"/>
            <p:cNvGrpSpPr/>
            <p:nvPr/>
          </p:nvGrpSpPr>
          <p:grpSpPr bwMode="ltGray">
            <a:xfrm>
              <a:off x="448524" y="6446044"/>
              <a:ext cx="1099793" cy="173355"/>
              <a:chOff x="-84138" y="5622925"/>
              <a:chExt cx="4330701" cy="682626"/>
            </a:xfrm>
            <a:solidFill>
              <a:srgbClr val="FFFFFF"/>
            </a:solidFill>
          </p:grpSpPr>
          <p:sp>
            <p:nvSpPr>
              <p:cNvPr id="19" name="Freeform 18"/>
              <p:cNvSpPr>
                <a:spLocks/>
              </p:cNvSpPr>
              <p:nvPr/>
            </p:nvSpPr>
            <p:spPr bwMode="ltGray">
              <a:xfrm>
                <a:off x="1589088" y="5649913"/>
                <a:ext cx="914400" cy="647700"/>
              </a:xfrm>
              <a:custGeom>
                <a:avLst/>
                <a:gdLst>
                  <a:gd name="T0" fmla="*/ 52 w 243"/>
                  <a:gd name="T1" fmla="*/ 159 h 170"/>
                  <a:gd name="T2" fmla="*/ 2 w 243"/>
                  <a:gd name="T3" fmla="*/ 19 h 170"/>
                  <a:gd name="T4" fmla="*/ 0 w 243"/>
                  <a:gd name="T5" fmla="*/ 12 h 170"/>
                  <a:gd name="T6" fmla="*/ 13 w 243"/>
                  <a:gd name="T7" fmla="*/ 0 h 170"/>
                  <a:gd name="T8" fmla="*/ 25 w 243"/>
                  <a:gd name="T9" fmla="*/ 11 h 170"/>
                  <a:gd name="T10" fmla="*/ 67 w 243"/>
                  <a:gd name="T11" fmla="*/ 131 h 170"/>
                  <a:gd name="T12" fmla="*/ 109 w 243"/>
                  <a:gd name="T13" fmla="*/ 10 h 170"/>
                  <a:gd name="T14" fmla="*/ 121 w 243"/>
                  <a:gd name="T15" fmla="*/ 0 h 170"/>
                  <a:gd name="T16" fmla="*/ 122 w 243"/>
                  <a:gd name="T17" fmla="*/ 0 h 170"/>
                  <a:gd name="T18" fmla="*/ 135 w 243"/>
                  <a:gd name="T19" fmla="*/ 10 h 170"/>
                  <a:gd name="T20" fmla="*/ 177 w 243"/>
                  <a:gd name="T21" fmla="*/ 131 h 170"/>
                  <a:gd name="T22" fmla="*/ 219 w 243"/>
                  <a:gd name="T23" fmla="*/ 10 h 170"/>
                  <a:gd name="T24" fmla="*/ 231 w 243"/>
                  <a:gd name="T25" fmla="*/ 0 h 170"/>
                  <a:gd name="T26" fmla="*/ 243 w 243"/>
                  <a:gd name="T27" fmla="*/ 12 h 170"/>
                  <a:gd name="T28" fmla="*/ 241 w 243"/>
                  <a:gd name="T29" fmla="*/ 19 h 170"/>
                  <a:gd name="T30" fmla="*/ 191 w 243"/>
                  <a:gd name="T31" fmla="*/ 159 h 170"/>
                  <a:gd name="T32" fmla="*/ 177 w 243"/>
                  <a:gd name="T33" fmla="*/ 170 h 170"/>
                  <a:gd name="T34" fmla="*/ 176 w 243"/>
                  <a:gd name="T35" fmla="*/ 170 h 170"/>
                  <a:gd name="T36" fmla="*/ 163 w 243"/>
                  <a:gd name="T37" fmla="*/ 159 h 170"/>
                  <a:gd name="T38" fmla="*/ 122 w 243"/>
                  <a:gd name="T39" fmla="*/ 40 h 170"/>
                  <a:gd name="T40" fmla="*/ 80 w 243"/>
                  <a:gd name="T41" fmla="*/ 159 h 170"/>
                  <a:gd name="T42" fmla="*/ 66 w 243"/>
                  <a:gd name="T43" fmla="*/ 170 h 170"/>
                  <a:gd name="T44" fmla="*/ 66 w 243"/>
                  <a:gd name="T45" fmla="*/ 170 h 170"/>
                  <a:gd name="T46" fmla="*/ 52 w 243"/>
                  <a:gd name="T47" fmla="*/ 159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43" h="170">
                    <a:moveTo>
                      <a:pt x="52" y="159"/>
                    </a:moveTo>
                    <a:cubicBezTo>
                      <a:pt x="2" y="19"/>
                      <a:pt x="2" y="19"/>
                      <a:pt x="2" y="19"/>
                    </a:cubicBezTo>
                    <a:cubicBezTo>
                      <a:pt x="1" y="17"/>
                      <a:pt x="0" y="14"/>
                      <a:pt x="0" y="12"/>
                    </a:cubicBezTo>
                    <a:cubicBezTo>
                      <a:pt x="0" y="6"/>
                      <a:pt x="5" y="0"/>
                      <a:pt x="13" y="0"/>
                    </a:cubicBezTo>
                    <a:cubicBezTo>
                      <a:pt x="19" y="0"/>
                      <a:pt x="23" y="4"/>
                      <a:pt x="25" y="11"/>
                    </a:cubicBezTo>
                    <a:cubicBezTo>
                      <a:pt x="67" y="131"/>
                      <a:pt x="67" y="131"/>
                      <a:pt x="67" y="131"/>
                    </a:cubicBezTo>
                    <a:cubicBezTo>
                      <a:pt x="109" y="10"/>
                      <a:pt x="109" y="10"/>
                      <a:pt x="109" y="10"/>
                    </a:cubicBezTo>
                    <a:cubicBezTo>
                      <a:pt x="111" y="4"/>
                      <a:pt x="114" y="0"/>
                      <a:pt x="121" y="0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29" y="0"/>
                      <a:pt x="133" y="4"/>
                      <a:pt x="135" y="10"/>
                    </a:cubicBezTo>
                    <a:cubicBezTo>
                      <a:pt x="177" y="131"/>
                      <a:pt x="177" y="131"/>
                      <a:pt x="177" y="131"/>
                    </a:cubicBezTo>
                    <a:cubicBezTo>
                      <a:pt x="219" y="10"/>
                      <a:pt x="219" y="10"/>
                      <a:pt x="219" y="10"/>
                    </a:cubicBezTo>
                    <a:cubicBezTo>
                      <a:pt x="221" y="5"/>
                      <a:pt x="224" y="0"/>
                      <a:pt x="231" y="0"/>
                    </a:cubicBezTo>
                    <a:cubicBezTo>
                      <a:pt x="238" y="0"/>
                      <a:pt x="243" y="6"/>
                      <a:pt x="243" y="12"/>
                    </a:cubicBezTo>
                    <a:cubicBezTo>
                      <a:pt x="243" y="14"/>
                      <a:pt x="242" y="17"/>
                      <a:pt x="241" y="19"/>
                    </a:cubicBezTo>
                    <a:cubicBezTo>
                      <a:pt x="191" y="159"/>
                      <a:pt x="191" y="159"/>
                      <a:pt x="191" y="159"/>
                    </a:cubicBezTo>
                    <a:cubicBezTo>
                      <a:pt x="188" y="166"/>
                      <a:pt x="183" y="170"/>
                      <a:pt x="177" y="170"/>
                    </a:cubicBezTo>
                    <a:cubicBezTo>
                      <a:pt x="176" y="170"/>
                      <a:pt x="176" y="170"/>
                      <a:pt x="176" y="170"/>
                    </a:cubicBezTo>
                    <a:cubicBezTo>
                      <a:pt x="170" y="170"/>
                      <a:pt x="165" y="166"/>
                      <a:pt x="163" y="159"/>
                    </a:cubicBezTo>
                    <a:cubicBezTo>
                      <a:pt x="122" y="40"/>
                      <a:pt x="122" y="40"/>
                      <a:pt x="122" y="40"/>
                    </a:cubicBezTo>
                    <a:cubicBezTo>
                      <a:pt x="80" y="159"/>
                      <a:pt x="80" y="159"/>
                      <a:pt x="80" y="159"/>
                    </a:cubicBezTo>
                    <a:cubicBezTo>
                      <a:pt x="78" y="166"/>
                      <a:pt x="73" y="170"/>
                      <a:pt x="66" y="170"/>
                    </a:cubicBezTo>
                    <a:cubicBezTo>
                      <a:pt x="66" y="170"/>
                      <a:pt x="66" y="170"/>
                      <a:pt x="66" y="170"/>
                    </a:cubicBezTo>
                    <a:cubicBezTo>
                      <a:pt x="60" y="170"/>
                      <a:pt x="55" y="166"/>
                      <a:pt x="52" y="15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381"/>
                <a:endParaRPr lang="en-US" sz="1792">
                  <a:solidFill>
                    <a:srgbClr val="717074"/>
                  </a:solidFill>
                </a:endParaRPr>
              </a:p>
            </p:txBody>
          </p:sp>
          <p:sp>
            <p:nvSpPr>
              <p:cNvPr id="20" name="Freeform 19"/>
              <p:cNvSpPr>
                <a:spLocks/>
              </p:cNvSpPr>
              <p:nvPr/>
            </p:nvSpPr>
            <p:spPr bwMode="ltGray">
              <a:xfrm>
                <a:off x="3163888" y="5649913"/>
                <a:ext cx="354013" cy="647700"/>
              </a:xfrm>
              <a:custGeom>
                <a:avLst/>
                <a:gdLst>
                  <a:gd name="T0" fmla="*/ 0 w 94"/>
                  <a:gd name="T1" fmla="*/ 13 h 170"/>
                  <a:gd name="T2" fmla="*/ 12 w 94"/>
                  <a:gd name="T3" fmla="*/ 0 h 170"/>
                  <a:gd name="T4" fmla="*/ 24 w 94"/>
                  <a:gd name="T5" fmla="*/ 13 h 170"/>
                  <a:gd name="T6" fmla="*/ 24 w 94"/>
                  <a:gd name="T7" fmla="*/ 41 h 170"/>
                  <a:gd name="T8" fmla="*/ 82 w 94"/>
                  <a:gd name="T9" fmla="*/ 0 h 170"/>
                  <a:gd name="T10" fmla="*/ 94 w 94"/>
                  <a:gd name="T11" fmla="*/ 13 h 170"/>
                  <a:gd name="T12" fmla="*/ 83 w 94"/>
                  <a:gd name="T13" fmla="*/ 25 h 170"/>
                  <a:gd name="T14" fmla="*/ 24 w 94"/>
                  <a:gd name="T15" fmla="*/ 101 h 170"/>
                  <a:gd name="T16" fmla="*/ 24 w 94"/>
                  <a:gd name="T17" fmla="*/ 157 h 170"/>
                  <a:gd name="T18" fmla="*/ 12 w 94"/>
                  <a:gd name="T19" fmla="*/ 170 h 170"/>
                  <a:gd name="T20" fmla="*/ 0 w 94"/>
                  <a:gd name="T21" fmla="*/ 157 h 170"/>
                  <a:gd name="T22" fmla="*/ 0 w 94"/>
                  <a:gd name="T23" fmla="*/ 1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4" h="170">
                    <a:moveTo>
                      <a:pt x="0" y="13"/>
                    </a:moveTo>
                    <a:cubicBezTo>
                      <a:pt x="0" y="6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3"/>
                    </a:cubicBezTo>
                    <a:cubicBezTo>
                      <a:pt x="24" y="41"/>
                      <a:pt x="24" y="41"/>
                      <a:pt x="24" y="41"/>
                    </a:cubicBezTo>
                    <a:cubicBezTo>
                      <a:pt x="37" y="13"/>
                      <a:pt x="64" y="0"/>
                      <a:pt x="82" y="0"/>
                    </a:cubicBezTo>
                    <a:cubicBezTo>
                      <a:pt x="89" y="0"/>
                      <a:pt x="94" y="6"/>
                      <a:pt x="94" y="13"/>
                    </a:cubicBezTo>
                    <a:cubicBezTo>
                      <a:pt x="94" y="20"/>
                      <a:pt x="89" y="24"/>
                      <a:pt x="83" y="25"/>
                    </a:cubicBezTo>
                    <a:cubicBezTo>
                      <a:pt x="51" y="29"/>
                      <a:pt x="24" y="53"/>
                      <a:pt x="24" y="101"/>
                    </a:cubicBezTo>
                    <a:cubicBezTo>
                      <a:pt x="24" y="157"/>
                      <a:pt x="24" y="157"/>
                      <a:pt x="24" y="157"/>
                    </a:cubicBezTo>
                    <a:cubicBezTo>
                      <a:pt x="24" y="164"/>
                      <a:pt x="19" y="170"/>
                      <a:pt x="12" y="170"/>
                    </a:cubicBezTo>
                    <a:cubicBezTo>
                      <a:pt x="5" y="170"/>
                      <a:pt x="0" y="164"/>
                      <a:pt x="0" y="157"/>
                    </a:cubicBezTo>
                    <a:lnTo>
                      <a:pt x="0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381"/>
                <a:endParaRPr lang="en-US" sz="1792">
                  <a:solidFill>
                    <a:srgbClr val="717074"/>
                  </a:solidFill>
                </a:endParaRPr>
              </a:p>
            </p:txBody>
          </p:sp>
          <p:sp>
            <p:nvSpPr>
              <p:cNvPr id="21" name="Freeform 20"/>
              <p:cNvSpPr>
                <a:spLocks noEditPoints="1"/>
              </p:cNvSpPr>
              <p:nvPr/>
            </p:nvSpPr>
            <p:spPr bwMode="ltGray">
              <a:xfrm>
                <a:off x="3509963" y="5649913"/>
                <a:ext cx="579438" cy="655638"/>
              </a:xfrm>
              <a:custGeom>
                <a:avLst/>
                <a:gdLst>
                  <a:gd name="T0" fmla="*/ 129 w 154"/>
                  <a:gd name="T1" fmla="*/ 76 h 172"/>
                  <a:gd name="T2" fmla="*/ 77 w 154"/>
                  <a:gd name="T3" fmla="*/ 21 h 172"/>
                  <a:gd name="T4" fmla="*/ 25 w 154"/>
                  <a:gd name="T5" fmla="*/ 76 h 172"/>
                  <a:gd name="T6" fmla="*/ 129 w 154"/>
                  <a:gd name="T7" fmla="*/ 76 h 172"/>
                  <a:gd name="T8" fmla="*/ 81 w 154"/>
                  <a:gd name="T9" fmla="*/ 172 h 172"/>
                  <a:gd name="T10" fmla="*/ 0 w 154"/>
                  <a:gd name="T11" fmla="*/ 86 h 172"/>
                  <a:gd name="T12" fmla="*/ 0 w 154"/>
                  <a:gd name="T13" fmla="*/ 85 h 172"/>
                  <a:gd name="T14" fmla="*/ 78 w 154"/>
                  <a:gd name="T15" fmla="*/ 0 h 172"/>
                  <a:gd name="T16" fmla="*/ 154 w 154"/>
                  <a:gd name="T17" fmla="*/ 83 h 172"/>
                  <a:gd name="T18" fmla="*/ 142 w 154"/>
                  <a:gd name="T19" fmla="*/ 95 h 172"/>
                  <a:gd name="T20" fmla="*/ 25 w 154"/>
                  <a:gd name="T21" fmla="*/ 95 h 172"/>
                  <a:gd name="T22" fmla="*/ 82 w 154"/>
                  <a:gd name="T23" fmla="*/ 150 h 172"/>
                  <a:gd name="T24" fmla="*/ 129 w 154"/>
                  <a:gd name="T25" fmla="*/ 131 h 172"/>
                  <a:gd name="T26" fmla="*/ 136 w 154"/>
                  <a:gd name="T27" fmla="*/ 128 h 172"/>
                  <a:gd name="T28" fmla="*/ 146 w 154"/>
                  <a:gd name="T29" fmla="*/ 139 h 172"/>
                  <a:gd name="T30" fmla="*/ 142 w 154"/>
                  <a:gd name="T31" fmla="*/ 147 h 172"/>
                  <a:gd name="T32" fmla="*/ 81 w 154"/>
                  <a:gd name="T33" fmla="*/ 172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4" h="172">
                    <a:moveTo>
                      <a:pt x="129" y="76"/>
                    </a:moveTo>
                    <a:cubicBezTo>
                      <a:pt x="127" y="47"/>
                      <a:pt x="110" y="21"/>
                      <a:pt x="77" y="21"/>
                    </a:cubicBezTo>
                    <a:cubicBezTo>
                      <a:pt x="49" y="21"/>
                      <a:pt x="28" y="44"/>
                      <a:pt x="25" y="76"/>
                    </a:cubicBezTo>
                    <a:lnTo>
                      <a:pt x="129" y="76"/>
                    </a:lnTo>
                    <a:close/>
                    <a:moveTo>
                      <a:pt x="81" y="172"/>
                    </a:moveTo>
                    <a:cubicBezTo>
                      <a:pt x="36" y="172"/>
                      <a:pt x="0" y="137"/>
                      <a:pt x="0" y="86"/>
                    </a:cubicBezTo>
                    <a:cubicBezTo>
                      <a:pt x="0" y="85"/>
                      <a:pt x="0" y="85"/>
                      <a:pt x="0" y="85"/>
                    </a:cubicBezTo>
                    <a:cubicBezTo>
                      <a:pt x="0" y="38"/>
                      <a:pt x="33" y="0"/>
                      <a:pt x="78" y="0"/>
                    </a:cubicBezTo>
                    <a:cubicBezTo>
                      <a:pt x="126" y="0"/>
                      <a:pt x="154" y="40"/>
                      <a:pt x="154" y="83"/>
                    </a:cubicBezTo>
                    <a:cubicBezTo>
                      <a:pt x="154" y="90"/>
                      <a:pt x="148" y="95"/>
                      <a:pt x="142" y="95"/>
                    </a:cubicBezTo>
                    <a:cubicBezTo>
                      <a:pt x="25" y="95"/>
                      <a:pt x="25" y="95"/>
                      <a:pt x="25" y="95"/>
                    </a:cubicBezTo>
                    <a:cubicBezTo>
                      <a:pt x="28" y="130"/>
                      <a:pt x="53" y="150"/>
                      <a:pt x="82" y="150"/>
                    </a:cubicBezTo>
                    <a:cubicBezTo>
                      <a:pt x="102" y="150"/>
                      <a:pt x="117" y="142"/>
                      <a:pt x="129" y="131"/>
                    </a:cubicBezTo>
                    <a:cubicBezTo>
                      <a:pt x="131" y="130"/>
                      <a:pt x="133" y="128"/>
                      <a:pt x="136" y="128"/>
                    </a:cubicBezTo>
                    <a:cubicBezTo>
                      <a:pt x="142" y="128"/>
                      <a:pt x="146" y="133"/>
                      <a:pt x="146" y="139"/>
                    </a:cubicBezTo>
                    <a:cubicBezTo>
                      <a:pt x="146" y="142"/>
                      <a:pt x="145" y="145"/>
                      <a:pt x="142" y="147"/>
                    </a:cubicBezTo>
                    <a:cubicBezTo>
                      <a:pt x="127" y="162"/>
                      <a:pt x="109" y="172"/>
                      <a:pt x="81" y="17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381"/>
                <a:endParaRPr lang="en-US" sz="1792">
                  <a:solidFill>
                    <a:srgbClr val="717074"/>
                  </a:solidFill>
                </a:endParaRPr>
              </a:p>
            </p:txBody>
          </p:sp>
          <p:sp>
            <p:nvSpPr>
              <p:cNvPr id="22" name="Freeform 21"/>
              <p:cNvSpPr>
                <a:spLocks noEditPoints="1"/>
              </p:cNvSpPr>
              <p:nvPr/>
            </p:nvSpPr>
            <p:spPr bwMode="ltGray">
              <a:xfrm>
                <a:off x="2503488" y="5649913"/>
                <a:ext cx="547688" cy="655638"/>
              </a:xfrm>
              <a:custGeom>
                <a:avLst/>
                <a:gdLst>
                  <a:gd name="T0" fmla="*/ 122 w 146"/>
                  <a:gd name="T1" fmla="*/ 107 h 172"/>
                  <a:gd name="T2" fmla="*/ 122 w 146"/>
                  <a:gd name="T3" fmla="*/ 91 h 172"/>
                  <a:gd name="T4" fmla="*/ 74 w 146"/>
                  <a:gd name="T5" fmla="*/ 84 h 172"/>
                  <a:gd name="T6" fmla="*/ 25 w 146"/>
                  <a:gd name="T7" fmla="*/ 118 h 172"/>
                  <a:gd name="T8" fmla="*/ 25 w 146"/>
                  <a:gd name="T9" fmla="*/ 119 h 172"/>
                  <a:gd name="T10" fmla="*/ 67 w 146"/>
                  <a:gd name="T11" fmla="*/ 152 h 172"/>
                  <a:gd name="T12" fmla="*/ 122 w 146"/>
                  <a:gd name="T13" fmla="*/ 107 h 172"/>
                  <a:gd name="T14" fmla="*/ 0 w 146"/>
                  <a:gd name="T15" fmla="*/ 120 h 172"/>
                  <a:gd name="T16" fmla="*/ 0 w 146"/>
                  <a:gd name="T17" fmla="*/ 119 h 172"/>
                  <a:gd name="T18" fmla="*/ 71 w 146"/>
                  <a:gd name="T19" fmla="*/ 66 h 172"/>
                  <a:gd name="T20" fmla="*/ 122 w 146"/>
                  <a:gd name="T21" fmla="*/ 73 h 172"/>
                  <a:gd name="T22" fmla="*/ 122 w 146"/>
                  <a:gd name="T23" fmla="*/ 67 h 172"/>
                  <a:gd name="T24" fmla="*/ 73 w 146"/>
                  <a:gd name="T25" fmla="*/ 22 h 172"/>
                  <a:gd name="T26" fmla="*/ 34 w 146"/>
                  <a:gd name="T27" fmla="*/ 30 h 172"/>
                  <a:gd name="T28" fmla="*/ 30 w 146"/>
                  <a:gd name="T29" fmla="*/ 31 h 172"/>
                  <a:gd name="T30" fmla="*/ 19 w 146"/>
                  <a:gd name="T31" fmla="*/ 20 h 172"/>
                  <a:gd name="T32" fmla="*/ 26 w 146"/>
                  <a:gd name="T33" fmla="*/ 10 h 172"/>
                  <a:gd name="T34" fmla="*/ 75 w 146"/>
                  <a:gd name="T35" fmla="*/ 0 h 172"/>
                  <a:gd name="T36" fmla="*/ 129 w 146"/>
                  <a:gd name="T37" fmla="*/ 19 h 172"/>
                  <a:gd name="T38" fmla="*/ 146 w 146"/>
                  <a:gd name="T39" fmla="*/ 67 h 172"/>
                  <a:gd name="T40" fmla="*/ 146 w 146"/>
                  <a:gd name="T41" fmla="*/ 158 h 172"/>
                  <a:gd name="T42" fmla="*/ 134 w 146"/>
                  <a:gd name="T43" fmla="*/ 170 h 172"/>
                  <a:gd name="T44" fmla="*/ 122 w 146"/>
                  <a:gd name="T45" fmla="*/ 159 h 172"/>
                  <a:gd name="T46" fmla="*/ 122 w 146"/>
                  <a:gd name="T47" fmla="*/ 143 h 172"/>
                  <a:gd name="T48" fmla="*/ 62 w 146"/>
                  <a:gd name="T49" fmla="*/ 172 h 172"/>
                  <a:gd name="T50" fmla="*/ 0 w 146"/>
                  <a:gd name="T51" fmla="*/ 120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46" h="172">
                    <a:moveTo>
                      <a:pt x="122" y="107"/>
                    </a:moveTo>
                    <a:cubicBezTo>
                      <a:pt x="122" y="91"/>
                      <a:pt x="122" y="91"/>
                      <a:pt x="122" y="91"/>
                    </a:cubicBezTo>
                    <a:cubicBezTo>
                      <a:pt x="110" y="88"/>
                      <a:pt x="94" y="84"/>
                      <a:pt x="74" y="84"/>
                    </a:cubicBezTo>
                    <a:cubicBezTo>
                      <a:pt x="43" y="84"/>
                      <a:pt x="25" y="98"/>
                      <a:pt x="25" y="118"/>
                    </a:cubicBezTo>
                    <a:cubicBezTo>
                      <a:pt x="25" y="119"/>
                      <a:pt x="25" y="119"/>
                      <a:pt x="25" y="119"/>
                    </a:cubicBezTo>
                    <a:cubicBezTo>
                      <a:pt x="25" y="140"/>
                      <a:pt x="45" y="152"/>
                      <a:pt x="67" y="152"/>
                    </a:cubicBezTo>
                    <a:cubicBezTo>
                      <a:pt x="97" y="152"/>
                      <a:pt x="122" y="133"/>
                      <a:pt x="122" y="107"/>
                    </a:cubicBezTo>
                    <a:moveTo>
                      <a:pt x="0" y="120"/>
                    </a:moveTo>
                    <a:cubicBezTo>
                      <a:pt x="0" y="119"/>
                      <a:pt x="0" y="119"/>
                      <a:pt x="0" y="119"/>
                    </a:cubicBezTo>
                    <a:cubicBezTo>
                      <a:pt x="0" y="85"/>
                      <a:pt x="29" y="66"/>
                      <a:pt x="71" y="66"/>
                    </a:cubicBezTo>
                    <a:cubicBezTo>
                      <a:pt x="92" y="66"/>
                      <a:pt x="107" y="69"/>
                      <a:pt x="122" y="73"/>
                    </a:cubicBezTo>
                    <a:cubicBezTo>
                      <a:pt x="122" y="67"/>
                      <a:pt x="122" y="67"/>
                      <a:pt x="122" y="67"/>
                    </a:cubicBezTo>
                    <a:cubicBezTo>
                      <a:pt x="122" y="37"/>
                      <a:pt x="104" y="22"/>
                      <a:pt x="73" y="22"/>
                    </a:cubicBezTo>
                    <a:cubicBezTo>
                      <a:pt x="56" y="22"/>
                      <a:pt x="46" y="24"/>
                      <a:pt x="34" y="30"/>
                    </a:cubicBezTo>
                    <a:cubicBezTo>
                      <a:pt x="33" y="30"/>
                      <a:pt x="31" y="31"/>
                      <a:pt x="30" y="31"/>
                    </a:cubicBezTo>
                    <a:cubicBezTo>
                      <a:pt x="24" y="31"/>
                      <a:pt x="19" y="26"/>
                      <a:pt x="19" y="20"/>
                    </a:cubicBezTo>
                    <a:cubicBezTo>
                      <a:pt x="19" y="15"/>
                      <a:pt x="21" y="12"/>
                      <a:pt x="26" y="10"/>
                    </a:cubicBezTo>
                    <a:cubicBezTo>
                      <a:pt x="42" y="3"/>
                      <a:pt x="54" y="0"/>
                      <a:pt x="75" y="0"/>
                    </a:cubicBezTo>
                    <a:cubicBezTo>
                      <a:pt x="99" y="0"/>
                      <a:pt x="117" y="6"/>
                      <a:pt x="129" y="19"/>
                    </a:cubicBezTo>
                    <a:cubicBezTo>
                      <a:pt x="140" y="30"/>
                      <a:pt x="146" y="46"/>
                      <a:pt x="146" y="67"/>
                    </a:cubicBezTo>
                    <a:cubicBezTo>
                      <a:pt x="146" y="158"/>
                      <a:pt x="146" y="158"/>
                      <a:pt x="146" y="158"/>
                    </a:cubicBezTo>
                    <a:cubicBezTo>
                      <a:pt x="146" y="165"/>
                      <a:pt x="141" y="170"/>
                      <a:pt x="134" y="170"/>
                    </a:cubicBezTo>
                    <a:cubicBezTo>
                      <a:pt x="127" y="170"/>
                      <a:pt x="122" y="165"/>
                      <a:pt x="122" y="159"/>
                    </a:cubicBezTo>
                    <a:cubicBezTo>
                      <a:pt x="122" y="143"/>
                      <a:pt x="122" y="143"/>
                      <a:pt x="122" y="143"/>
                    </a:cubicBezTo>
                    <a:cubicBezTo>
                      <a:pt x="111" y="158"/>
                      <a:pt x="91" y="172"/>
                      <a:pt x="62" y="172"/>
                    </a:cubicBezTo>
                    <a:cubicBezTo>
                      <a:pt x="32" y="172"/>
                      <a:pt x="0" y="154"/>
                      <a:pt x="0" y="12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381"/>
                <a:endParaRPr lang="en-US" sz="1792">
                  <a:solidFill>
                    <a:srgbClr val="717074"/>
                  </a:solidFill>
                </a:endParaRPr>
              </a:p>
            </p:txBody>
          </p:sp>
          <p:sp>
            <p:nvSpPr>
              <p:cNvPr id="23" name="Freeform 10"/>
              <p:cNvSpPr>
                <a:spLocks/>
              </p:cNvSpPr>
              <p:nvPr/>
            </p:nvSpPr>
            <p:spPr bwMode="ltGray">
              <a:xfrm>
                <a:off x="-84138" y="5622925"/>
                <a:ext cx="1635125" cy="682625"/>
              </a:xfrm>
              <a:custGeom>
                <a:avLst/>
                <a:gdLst>
                  <a:gd name="T0" fmla="*/ 49 w 435"/>
                  <a:gd name="T1" fmla="*/ 18 h 179"/>
                  <a:gd name="T2" fmla="*/ 17 w 435"/>
                  <a:gd name="T3" fmla="*/ 6 h 179"/>
                  <a:gd name="T4" fmla="*/ 6 w 435"/>
                  <a:gd name="T5" fmla="*/ 37 h 179"/>
                  <a:gd name="T6" fmla="*/ 58 w 435"/>
                  <a:gd name="T7" fmla="*/ 152 h 179"/>
                  <a:gd name="T8" fmla="*/ 92 w 435"/>
                  <a:gd name="T9" fmla="*/ 179 h 179"/>
                  <a:gd name="T10" fmla="*/ 125 w 435"/>
                  <a:gd name="T11" fmla="*/ 152 h 179"/>
                  <a:gd name="T12" fmla="*/ 171 w 435"/>
                  <a:gd name="T13" fmla="*/ 51 h 179"/>
                  <a:gd name="T14" fmla="*/ 178 w 435"/>
                  <a:gd name="T15" fmla="*/ 46 h 179"/>
                  <a:gd name="T16" fmla="*/ 185 w 435"/>
                  <a:gd name="T17" fmla="*/ 54 h 179"/>
                  <a:gd name="T18" fmla="*/ 185 w 435"/>
                  <a:gd name="T19" fmla="*/ 151 h 179"/>
                  <a:gd name="T20" fmla="*/ 209 w 435"/>
                  <a:gd name="T21" fmla="*/ 179 h 179"/>
                  <a:gd name="T22" fmla="*/ 234 w 435"/>
                  <a:gd name="T23" fmla="*/ 151 h 179"/>
                  <a:gd name="T24" fmla="*/ 234 w 435"/>
                  <a:gd name="T25" fmla="*/ 72 h 179"/>
                  <a:gd name="T26" fmla="*/ 260 w 435"/>
                  <a:gd name="T27" fmla="*/ 46 h 179"/>
                  <a:gd name="T28" fmla="*/ 285 w 435"/>
                  <a:gd name="T29" fmla="*/ 72 h 179"/>
                  <a:gd name="T30" fmla="*/ 285 w 435"/>
                  <a:gd name="T31" fmla="*/ 151 h 179"/>
                  <a:gd name="T32" fmla="*/ 310 w 435"/>
                  <a:gd name="T33" fmla="*/ 179 h 179"/>
                  <a:gd name="T34" fmla="*/ 334 w 435"/>
                  <a:gd name="T35" fmla="*/ 151 h 179"/>
                  <a:gd name="T36" fmla="*/ 334 w 435"/>
                  <a:gd name="T37" fmla="*/ 72 h 179"/>
                  <a:gd name="T38" fmla="*/ 360 w 435"/>
                  <a:gd name="T39" fmla="*/ 46 h 179"/>
                  <a:gd name="T40" fmla="*/ 385 w 435"/>
                  <a:gd name="T41" fmla="*/ 72 h 179"/>
                  <a:gd name="T42" fmla="*/ 385 w 435"/>
                  <a:gd name="T43" fmla="*/ 151 h 179"/>
                  <a:gd name="T44" fmla="*/ 410 w 435"/>
                  <a:gd name="T45" fmla="*/ 179 h 179"/>
                  <a:gd name="T46" fmla="*/ 435 w 435"/>
                  <a:gd name="T47" fmla="*/ 151 h 179"/>
                  <a:gd name="T48" fmla="*/ 435 w 435"/>
                  <a:gd name="T49" fmla="*/ 61 h 179"/>
                  <a:gd name="T50" fmla="*/ 375 w 435"/>
                  <a:gd name="T51" fmla="*/ 4 h 179"/>
                  <a:gd name="T52" fmla="*/ 323 w 435"/>
                  <a:gd name="T53" fmla="*/ 26 h 179"/>
                  <a:gd name="T54" fmla="*/ 272 w 435"/>
                  <a:gd name="T55" fmla="*/ 4 h 179"/>
                  <a:gd name="T56" fmla="*/ 223 w 435"/>
                  <a:gd name="T57" fmla="*/ 26 h 179"/>
                  <a:gd name="T58" fmla="*/ 178 w 435"/>
                  <a:gd name="T59" fmla="*/ 4 h 179"/>
                  <a:gd name="T60" fmla="*/ 125 w 435"/>
                  <a:gd name="T61" fmla="*/ 40 h 179"/>
                  <a:gd name="T62" fmla="*/ 92 w 435"/>
                  <a:gd name="T63" fmla="*/ 119 h 179"/>
                  <a:gd name="T64" fmla="*/ 49 w 435"/>
                  <a:gd name="T65" fmla="*/ 18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35" h="179">
                    <a:moveTo>
                      <a:pt x="49" y="18"/>
                    </a:moveTo>
                    <a:cubicBezTo>
                      <a:pt x="43" y="6"/>
                      <a:pt x="30" y="0"/>
                      <a:pt x="17" y="6"/>
                    </a:cubicBezTo>
                    <a:cubicBezTo>
                      <a:pt x="5" y="12"/>
                      <a:pt x="0" y="25"/>
                      <a:pt x="6" y="37"/>
                    </a:cubicBezTo>
                    <a:cubicBezTo>
                      <a:pt x="58" y="152"/>
                      <a:pt x="58" y="152"/>
                      <a:pt x="58" y="152"/>
                    </a:cubicBezTo>
                    <a:cubicBezTo>
                      <a:pt x="67" y="169"/>
                      <a:pt x="75" y="179"/>
                      <a:pt x="92" y="179"/>
                    </a:cubicBezTo>
                    <a:cubicBezTo>
                      <a:pt x="109" y="179"/>
                      <a:pt x="117" y="169"/>
                      <a:pt x="125" y="152"/>
                    </a:cubicBezTo>
                    <a:cubicBezTo>
                      <a:pt x="125" y="152"/>
                      <a:pt x="171" y="52"/>
                      <a:pt x="171" y="51"/>
                    </a:cubicBezTo>
                    <a:cubicBezTo>
                      <a:pt x="172" y="50"/>
                      <a:pt x="173" y="46"/>
                      <a:pt x="178" y="46"/>
                    </a:cubicBezTo>
                    <a:cubicBezTo>
                      <a:pt x="182" y="47"/>
                      <a:pt x="185" y="50"/>
                      <a:pt x="185" y="54"/>
                    </a:cubicBezTo>
                    <a:cubicBezTo>
                      <a:pt x="185" y="151"/>
                      <a:pt x="185" y="151"/>
                      <a:pt x="185" y="151"/>
                    </a:cubicBezTo>
                    <a:cubicBezTo>
                      <a:pt x="185" y="166"/>
                      <a:pt x="193" y="179"/>
                      <a:pt x="209" y="179"/>
                    </a:cubicBezTo>
                    <a:cubicBezTo>
                      <a:pt x="225" y="179"/>
                      <a:pt x="234" y="166"/>
                      <a:pt x="234" y="151"/>
                    </a:cubicBezTo>
                    <a:cubicBezTo>
                      <a:pt x="234" y="72"/>
                      <a:pt x="234" y="72"/>
                      <a:pt x="234" y="72"/>
                    </a:cubicBezTo>
                    <a:cubicBezTo>
                      <a:pt x="234" y="56"/>
                      <a:pt x="245" y="46"/>
                      <a:pt x="260" y="46"/>
                    </a:cubicBezTo>
                    <a:cubicBezTo>
                      <a:pt x="275" y="46"/>
                      <a:pt x="285" y="57"/>
                      <a:pt x="285" y="72"/>
                    </a:cubicBezTo>
                    <a:cubicBezTo>
                      <a:pt x="285" y="151"/>
                      <a:pt x="285" y="151"/>
                      <a:pt x="285" y="151"/>
                    </a:cubicBezTo>
                    <a:cubicBezTo>
                      <a:pt x="285" y="166"/>
                      <a:pt x="294" y="179"/>
                      <a:pt x="310" y="179"/>
                    </a:cubicBezTo>
                    <a:cubicBezTo>
                      <a:pt x="326" y="179"/>
                      <a:pt x="334" y="166"/>
                      <a:pt x="334" y="151"/>
                    </a:cubicBezTo>
                    <a:cubicBezTo>
                      <a:pt x="334" y="72"/>
                      <a:pt x="334" y="72"/>
                      <a:pt x="334" y="72"/>
                    </a:cubicBezTo>
                    <a:cubicBezTo>
                      <a:pt x="334" y="56"/>
                      <a:pt x="345" y="46"/>
                      <a:pt x="360" y="46"/>
                    </a:cubicBezTo>
                    <a:cubicBezTo>
                      <a:pt x="375" y="46"/>
                      <a:pt x="385" y="57"/>
                      <a:pt x="385" y="72"/>
                    </a:cubicBezTo>
                    <a:cubicBezTo>
                      <a:pt x="385" y="151"/>
                      <a:pt x="385" y="151"/>
                      <a:pt x="385" y="151"/>
                    </a:cubicBezTo>
                    <a:cubicBezTo>
                      <a:pt x="385" y="166"/>
                      <a:pt x="394" y="179"/>
                      <a:pt x="410" y="179"/>
                    </a:cubicBezTo>
                    <a:cubicBezTo>
                      <a:pt x="426" y="179"/>
                      <a:pt x="435" y="166"/>
                      <a:pt x="435" y="151"/>
                    </a:cubicBezTo>
                    <a:cubicBezTo>
                      <a:pt x="435" y="61"/>
                      <a:pt x="435" y="61"/>
                      <a:pt x="435" y="61"/>
                    </a:cubicBezTo>
                    <a:cubicBezTo>
                      <a:pt x="435" y="27"/>
                      <a:pt x="408" y="4"/>
                      <a:pt x="375" y="4"/>
                    </a:cubicBezTo>
                    <a:cubicBezTo>
                      <a:pt x="343" y="4"/>
                      <a:pt x="323" y="26"/>
                      <a:pt x="323" y="26"/>
                    </a:cubicBezTo>
                    <a:cubicBezTo>
                      <a:pt x="312" y="12"/>
                      <a:pt x="297" y="4"/>
                      <a:pt x="272" y="4"/>
                    </a:cubicBezTo>
                    <a:cubicBezTo>
                      <a:pt x="246" y="4"/>
                      <a:pt x="223" y="26"/>
                      <a:pt x="223" y="26"/>
                    </a:cubicBezTo>
                    <a:cubicBezTo>
                      <a:pt x="212" y="12"/>
                      <a:pt x="194" y="4"/>
                      <a:pt x="178" y="4"/>
                    </a:cubicBezTo>
                    <a:cubicBezTo>
                      <a:pt x="155" y="4"/>
                      <a:pt x="136" y="14"/>
                      <a:pt x="125" y="40"/>
                    </a:cubicBezTo>
                    <a:cubicBezTo>
                      <a:pt x="92" y="119"/>
                      <a:pt x="92" y="119"/>
                      <a:pt x="92" y="119"/>
                    </a:cubicBezTo>
                    <a:lnTo>
                      <a:pt x="49" y="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381"/>
                <a:endParaRPr lang="en-US" sz="1792">
                  <a:solidFill>
                    <a:srgbClr val="717074"/>
                  </a:solidFill>
                </a:endParaRPr>
              </a:p>
            </p:txBody>
          </p:sp>
          <p:sp>
            <p:nvSpPr>
              <p:cNvPr id="24" name="Freeform 11"/>
              <p:cNvSpPr>
                <a:spLocks noEditPoints="1"/>
              </p:cNvSpPr>
              <p:nvPr/>
            </p:nvSpPr>
            <p:spPr bwMode="ltGray">
              <a:xfrm>
                <a:off x="4097338" y="5649913"/>
                <a:ext cx="149225" cy="157163"/>
              </a:xfrm>
              <a:custGeom>
                <a:avLst/>
                <a:gdLst>
                  <a:gd name="T0" fmla="*/ 37 w 40"/>
                  <a:gd name="T1" fmla="*/ 20 h 41"/>
                  <a:gd name="T2" fmla="*/ 37 w 40"/>
                  <a:gd name="T3" fmla="*/ 20 h 41"/>
                  <a:gd name="T4" fmla="*/ 20 w 40"/>
                  <a:gd name="T5" fmla="*/ 4 h 41"/>
                  <a:gd name="T6" fmla="*/ 3 w 40"/>
                  <a:gd name="T7" fmla="*/ 20 h 41"/>
                  <a:gd name="T8" fmla="*/ 3 w 40"/>
                  <a:gd name="T9" fmla="*/ 21 h 41"/>
                  <a:gd name="T10" fmla="*/ 20 w 40"/>
                  <a:gd name="T11" fmla="*/ 37 h 41"/>
                  <a:gd name="T12" fmla="*/ 37 w 40"/>
                  <a:gd name="T13" fmla="*/ 20 h 41"/>
                  <a:gd name="T14" fmla="*/ 0 w 40"/>
                  <a:gd name="T15" fmla="*/ 21 h 41"/>
                  <a:gd name="T16" fmla="*/ 0 w 40"/>
                  <a:gd name="T17" fmla="*/ 20 h 41"/>
                  <a:gd name="T18" fmla="*/ 20 w 40"/>
                  <a:gd name="T19" fmla="*/ 0 h 41"/>
                  <a:gd name="T20" fmla="*/ 40 w 40"/>
                  <a:gd name="T21" fmla="*/ 20 h 41"/>
                  <a:gd name="T22" fmla="*/ 40 w 40"/>
                  <a:gd name="T23" fmla="*/ 20 h 41"/>
                  <a:gd name="T24" fmla="*/ 20 w 40"/>
                  <a:gd name="T25" fmla="*/ 41 h 41"/>
                  <a:gd name="T26" fmla="*/ 0 w 40"/>
                  <a:gd name="T27" fmla="*/ 2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0" h="41">
                    <a:moveTo>
                      <a:pt x="37" y="20"/>
                    </a:moveTo>
                    <a:cubicBezTo>
                      <a:pt x="37" y="20"/>
                      <a:pt x="37" y="20"/>
                      <a:pt x="37" y="20"/>
                    </a:cubicBezTo>
                    <a:cubicBezTo>
                      <a:pt x="37" y="11"/>
                      <a:pt x="29" y="4"/>
                      <a:pt x="20" y="4"/>
                    </a:cubicBezTo>
                    <a:cubicBezTo>
                      <a:pt x="11" y="4"/>
                      <a:pt x="3" y="11"/>
                      <a:pt x="3" y="20"/>
                    </a:cubicBezTo>
                    <a:cubicBezTo>
                      <a:pt x="3" y="21"/>
                      <a:pt x="3" y="21"/>
                      <a:pt x="3" y="21"/>
                    </a:cubicBezTo>
                    <a:cubicBezTo>
                      <a:pt x="3" y="30"/>
                      <a:pt x="11" y="37"/>
                      <a:pt x="20" y="37"/>
                    </a:cubicBezTo>
                    <a:cubicBezTo>
                      <a:pt x="29" y="37"/>
                      <a:pt x="37" y="30"/>
                      <a:pt x="37" y="20"/>
                    </a:cubicBezTo>
                    <a:moveTo>
                      <a:pt x="0" y="21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2" y="0"/>
                      <a:pt x="40" y="9"/>
                      <a:pt x="40" y="20"/>
                    </a:cubicBezTo>
                    <a:cubicBezTo>
                      <a:pt x="40" y="20"/>
                      <a:pt x="40" y="20"/>
                      <a:pt x="40" y="20"/>
                    </a:cubicBezTo>
                    <a:cubicBezTo>
                      <a:pt x="40" y="32"/>
                      <a:pt x="31" y="41"/>
                      <a:pt x="20" y="41"/>
                    </a:cubicBezTo>
                    <a:cubicBezTo>
                      <a:pt x="8" y="41"/>
                      <a:pt x="0" y="32"/>
                      <a:pt x="0" y="2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381"/>
                <a:endParaRPr lang="en-US" sz="1792">
                  <a:solidFill>
                    <a:srgbClr val="717074"/>
                  </a:solidFill>
                </a:endParaRPr>
              </a:p>
            </p:txBody>
          </p:sp>
          <p:sp>
            <p:nvSpPr>
              <p:cNvPr id="25" name="Freeform 12"/>
              <p:cNvSpPr>
                <a:spLocks noEditPoints="1"/>
              </p:cNvSpPr>
              <p:nvPr/>
            </p:nvSpPr>
            <p:spPr bwMode="ltGray">
              <a:xfrm>
                <a:off x="4141788" y="5688013"/>
                <a:ext cx="63500" cy="76200"/>
              </a:xfrm>
              <a:custGeom>
                <a:avLst/>
                <a:gdLst>
                  <a:gd name="T0" fmla="*/ 9 w 17"/>
                  <a:gd name="T1" fmla="*/ 10 h 20"/>
                  <a:gd name="T2" fmla="*/ 12 w 17"/>
                  <a:gd name="T3" fmla="*/ 7 h 20"/>
                  <a:gd name="T4" fmla="*/ 12 w 17"/>
                  <a:gd name="T5" fmla="*/ 7 h 20"/>
                  <a:gd name="T6" fmla="*/ 9 w 17"/>
                  <a:gd name="T7" fmla="*/ 4 h 20"/>
                  <a:gd name="T8" fmla="*/ 5 w 17"/>
                  <a:gd name="T9" fmla="*/ 4 h 20"/>
                  <a:gd name="T10" fmla="*/ 5 w 17"/>
                  <a:gd name="T11" fmla="*/ 10 h 20"/>
                  <a:gd name="T12" fmla="*/ 9 w 17"/>
                  <a:gd name="T13" fmla="*/ 10 h 20"/>
                  <a:gd name="T14" fmla="*/ 0 w 17"/>
                  <a:gd name="T15" fmla="*/ 2 h 20"/>
                  <a:gd name="T16" fmla="*/ 2 w 17"/>
                  <a:gd name="T17" fmla="*/ 0 h 20"/>
                  <a:gd name="T18" fmla="*/ 9 w 17"/>
                  <a:gd name="T19" fmla="*/ 0 h 20"/>
                  <a:gd name="T20" fmla="*/ 15 w 17"/>
                  <a:gd name="T21" fmla="*/ 2 h 20"/>
                  <a:gd name="T22" fmla="*/ 17 w 17"/>
                  <a:gd name="T23" fmla="*/ 7 h 20"/>
                  <a:gd name="T24" fmla="*/ 17 w 17"/>
                  <a:gd name="T25" fmla="*/ 7 h 20"/>
                  <a:gd name="T26" fmla="*/ 13 w 17"/>
                  <a:gd name="T27" fmla="*/ 13 h 20"/>
                  <a:gd name="T28" fmla="*/ 16 w 17"/>
                  <a:gd name="T29" fmla="*/ 17 h 20"/>
                  <a:gd name="T30" fmla="*/ 16 w 17"/>
                  <a:gd name="T31" fmla="*/ 18 h 20"/>
                  <a:gd name="T32" fmla="*/ 14 w 17"/>
                  <a:gd name="T33" fmla="*/ 20 h 20"/>
                  <a:gd name="T34" fmla="*/ 12 w 17"/>
                  <a:gd name="T35" fmla="*/ 19 h 20"/>
                  <a:gd name="T36" fmla="*/ 8 w 17"/>
                  <a:gd name="T37" fmla="*/ 14 h 20"/>
                  <a:gd name="T38" fmla="*/ 5 w 17"/>
                  <a:gd name="T39" fmla="*/ 14 h 20"/>
                  <a:gd name="T40" fmla="*/ 5 w 17"/>
                  <a:gd name="T41" fmla="*/ 18 h 20"/>
                  <a:gd name="T42" fmla="*/ 2 w 17"/>
                  <a:gd name="T43" fmla="*/ 20 h 20"/>
                  <a:gd name="T44" fmla="*/ 0 w 17"/>
                  <a:gd name="T45" fmla="*/ 18 h 20"/>
                  <a:gd name="T46" fmla="*/ 0 w 17"/>
                  <a:gd name="T47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7" h="20">
                    <a:moveTo>
                      <a:pt x="9" y="10"/>
                    </a:moveTo>
                    <a:cubicBezTo>
                      <a:pt x="11" y="10"/>
                      <a:pt x="12" y="9"/>
                      <a:pt x="12" y="7"/>
                    </a:cubicBezTo>
                    <a:cubicBezTo>
                      <a:pt x="12" y="7"/>
                      <a:pt x="12" y="7"/>
                      <a:pt x="12" y="7"/>
                    </a:cubicBezTo>
                    <a:cubicBezTo>
                      <a:pt x="12" y="5"/>
                      <a:pt x="11" y="4"/>
                      <a:pt x="9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10"/>
                      <a:pt x="5" y="10"/>
                      <a:pt x="5" y="10"/>
                    </a:cubicBezTo>
                    <a:lnTo>
                      <a:pt x="9" y="10"/>
                    </a:lnTo>
                    <a:close/>
                    <a:moveTo>
                      <a:pt x="0" y="2"/>
                    </a:moveTo>
                    <a:cubicBezTo>
                      <a:pt x="0" y="1"/>
                      <a:pt x="1" y="0"/>
                      <a:pt x="2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2" y="0"/>
                      <a:pt x="14" y="1"/>
                      <a:pt x="15" y="2"/>
                    </a:cubicBezTo>
                    <a:cubicBezTo>
                      <a:pt x="16" y="3"/>
                      <a:pt x="17" y="5"/>
                      <a:pt x="17" y="7"/>
                    </a:cubicBezTo>
                    <a:cubicBezTo>
                      <a:pt x="17" y="7"/>
                      <a:pt x="17" y="7"/>
                      <a:pt x="17" y="7"/>
                    </a:cubicBezTo>
                    <a:cubicBezTo>
                      <a:pt x="17" y="10"/>
                      <a:pt x="15" y="12"/>
                      <a:pt x="13" y="13"/>
                    </a:cubicBezTo>
                    <a:cubicBezTo>
                      <a:pt x="16" y="17"/>
                      <a:pt x="16" y="17"/>
                      <a:pt x="16" y="17"/>
                    </a:cubicBezTo>
                    <a:cubicBezTo>
                      <a:pt x="16" y="17"/>
                      <a:pt x="16" y="18"/>
                      <a:pt x="16" y="18"/>
                    </a:cubicBezTo>
                    <a:cubicBezTo>
                      <a:pt x="16" y="19"/>
                      <a:pt x="15" y="20"/>
                      <a:pt x="14" y="20"/>
                    </a:cubicBezTo>
                    <a:cubicBezTo>
                      <a:pt x="13" y="20"/>
                      <a:pt x="13" y="20"/>
                      <a:pt x="12" y="19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5" y="14"/>
                      <a:pt x="5" y="14"/>
                      <a:pt x="5" y="14"/>
                    </a:cubicBezTo>
                    <a:cubicBezTo>
                      <a:pt x="5" y="18"/>
                      <a:pt x="5" y="18"/>
                      <a:pt x="5" y="18"/>
                    </a:cubicBezTo>
                    <a:cubicBezTo>
                      <a:pt x="5" y="19"/>
                      <a:pt x="4" y="20"/>
                      <a:pt x="2" y="20"/>
                    </a:cubicBezTo>
                    <a:cubicBezTo>
                      <a:pt x="1" y="20"/>
                      <a:pt x="0" y="19"/>
                      <a:pt x="0" y="18"/>
                    </a:cubicBez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381"/>
                <a:endParaRPr lang="en-US" sz="1792">
                  <a:solidFill>
                    <a:srgbClr val="717074"/>
                  </a:solidFill>
                </a:endParaRPr>
              </a:p>
            </p:txBody>
          </p:sp>
        </p:grpSp>
      </p:grpSp>
      <p:sp>
        <p:nvSpPr>
          <p:cNvPr id="12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914401" y="2593231"/>
            <a:ext cx="4813303" cy="5334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592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592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None/>
              <a:defRPr sz="1592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None/>
              <a:defRPr sz="1592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None/>
              <a:defRPr sz="1592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592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None/>
              <a:defRPr sz="1592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592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592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Click to add Name, Title, Compan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843281" y="457200"/>
            <a:ext cx="4876800" cy="2011680"/>
          </a:xfrm>
        </p:spPr>
        <p:txBody>
          <a:bodyPr/>
          <a:lstStyle>
            <a:lvl1pPr marL="58480" indent="-55319">
              <a:lnSpc>
                <a:spcPct val="100000"/>
              </a:lnSpc>
              <a:spcBef>
                <a:spcPts val="0"/>
              </a:spcBef>
              <a:buNone/>
              <a:defRPr sz="2190">
                <a:solidFill>
                  <a:schemeClr val="accent3">
                    <a:lumMod val="50000"/>
                  </a:schemeClr>
                </a:solidFill>
              </a:defRPr>
            </a:lvl1pPr>
            <a:lvl2pPr marL="3161" indent="0">
              <a:lnSpc>
                <a:spcPct val="100000"/>
              </a:lnSpc>
              <a:spcBef>
                <a:spcPts val="0"/>
              </a:spcBef>
              <a:buNone/>
              <a:defRPr sz="2190">
                <a:solidFill>
                  <a:schemeClr val="accent1">
                    <a:lumMod val="50000"/>
                  </a:schemeClr>
                </a:solidFill>
              </a:defRPr>
            </a:lvl2pPr>
            <a:lvl3pPr marL="3161" indent="0">
              <a:lnSpc>
                <a:spcPct val="100000"/>
              </a:lnSpc>
              <a:spcBef>
                <a:spcPts val="0"/>
              </a:spcBef>
              <a:buNone/>
              <a:defRPr sz="2190">
                <a:solidFill>
                  <a:schemeClr val="accent1">
                    <a:lumMod val="50000"/>
                  </a:schemeClr>
                </a:solidFill>
              </a:defRPr>
            </a:lvl3pPr>
            <a:lvl4pPr marL="3161" indent="0">
              <a:lnSpc>
                <a:spcPct val="100000"/>
              </a:lnSpc>
              <a:spcBef>
                <a:spcPts val="0"/>
              </a:spcBef>
              <a:buNone/>
              <a:defRPr sz="2190">
                <a:solidFill>
                  <a:schemeClr val="accent1">
                    <a:lumMod val="50000"/>
                  </a:schemeClr>
                </a:solidFill>
              </a:defRPr>
            </a:lvl4pPr>
            <a:lvl5pPr marL="3161" indent="0">
              <a:lnSpc>
                <a:spcPct val="100000"/>
              </a:lnSpc>
              <a:spcBef>
                <a:spcPts val="0"/>
              </a:spcBef>
              <a:buNone/>
              <a:defRPr sz="2190">
                <a:solidFill>
                  <a:schemeClr val="accent1">
                    <a:lumMod val="50000"/>
                  </a:schemeClr>
                </a:solidFill>
              </a:defRPr>
            </a:lvl5pPr>
            <a:lvl6pPr marL="3161" indent="0">
              <a:lnSpc>
                <a:spcPct val="100000"/>
              </a:lnSpc>
              <a:spcBef>
                <a:spcPts val="0"/>
              </a:spcBef>
              <a:buNone/>
              <a:defRPr sz="2190">
                <a:solidFill>
                  <a:schemeClr val="accent1">
                    <a:lumMod val="50000"/>
                  </a:schemeClr>
                </a:solidFill>
              </a:defRPr>
            </a:lvl6pPr>
            <a:lvl7pPr marL="3161" indent="0">
              <a:lnSpc>
                <a:spcPct val="100000"/>
              </a:lnSpc>
              <a:spcBef>
                <a:spcPts val="0"/>
              </a:spcBef>
              <a:buNone/>
              <a:defRPr sz="2190">
                <a:solidFill>
                  <a:schemeClr val="accent1">
                    <a:lumMod val="50000"/>
                  </a:schemeClr>
                </a:solidFill>
              </a:defRPr>
            </a:lvl7pPr>
            <a:lvl8pPr marL="3161" indent="0">
              <a:lnSpc>
                <a:spcPct val="100000"/>
              </a:lnSpc>
              <a:spcBef>
                <a:spcPts val="0"/>
              </a:spcBef>
              <a:buNone/>
              <a:defRPr sz="2190">
                <a:solidFill>
                  <a:schemeClr val="accent1">
                    <a:lumMod val="50000"/>
                  </a:schemeClr>
                </a:solidFill>
              </a:defRPr>
            </a:lvl8pPr>
            <a:lvl9pPr marL="3161" indent="0">
              <a:lnSpc>
                <a:spcPct val="100000"/>
              </a:lnSpc>
              <a:spcBef>
                <a:spcPts val="0"/>
              </a:spcBef>
              <a:buNone/>
              <a:defRPr sz="219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Metric 1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 bwMode="ltGray">
          <a:xfrm>
            <a:off x="598033" y="0"/>
            <a:ext cx="11593969" cy="6858000"/>
            <a:chOff x="448524" y="0"/>
            <a:chExt cx="8695476" cy="6858000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4578096" y="0"/>
              <a:ext cx="4565904" cy="6858000"/>
            </a:xfrm>
            <a:prstGeom prst="rect">
              <a:avLst/>
            </a:prstGeom>
          </p:spPr>
        </p:pic>
        <p:grpSp>
          <p:nvGrpSpPr>
            <p:cNvPr id="16" name="Group 15"/>
            <p:cNvGrpSpPr/>
            <p:nvPr/>
          </p:nvGrpSpPr>
          <p:grpSpPr bwMode="ltGray">
            <a:xfrm>
              <a:off x="448524" y="6446044"/>
              <a:ext cx="1099793" cy="173355"/>
              <a:chOff x="-84138" y="5622925"/>
              <a:chExt cx="4330701" cy="682626"/>
            </a:xfrm>
          </p:grpSpPr>
          <p:sp>
            <p:nvSpPr>
              <p:cNvPr id="17" name="Freeform 6"/>
              <p:cNvSpPr>
                <a:spLocks/>
              </p:cNvSpPr>
              <p:nvPr/>
            </p:nvSpPr>
            <p:spPr bwMode="ltGray">
              <a:xfrm>
                <a:off x="1589088" y="5649913"/>
                <a:ext cx="914400" cy="647700"/>
              </a:xfrm>
              <a:custGeom>
                <a:avLst/>
                <a:gdLst>
                  <a:gd name="T0" fmla="*/ 52 w 243"/>
                  <a:gd name="T1" fmla="*/ 159 h 170"/>
                  <a:gd name="T2" fmla="*/ 2 w 243"/>
                  <a:gd name="T3" fmla="*/ 19 h 170"/>
                  <a:gd name="T4" fmla="*/ 0 w 243"/>
                  <a:gd name="T5" fmla="*/ 12 h 170"/>
                  <a:gd name="T6" fmla="*/ 13 w 243"/>
                  <a:gd name="T7" fmla="*/ 0 h 170"/>
                  <a:gd name="T8" fmla="*/ 25 w 243"/>
                  <a:gd name="T9" fmla="*/ 11 h 170"/>
                  <a:gd name="T10" fmla="*/ 67 w 243"/>
                  <a:gd name="T11" fmla="*/ 131 h 170"/>
                  <a:gd name="T12" fmla="*/ 109 w 243"/>
                  <a:gd name="T13" fmla="*/ 10 h 170"/>
                  <a:gd name="T14" fmla="*/ 121 w 243"/>
                  <a:gd name="T15" fmla="*/ 0 h 170"/>
                  <a:gd name="T16" fmla="*/ 122 w 243"/>
                  <a:gd name="T17" fmla="*/ 0 h 170"/>
                  <a:gd name="T18" fmla="*/ 135 w 243"/>
                  <a:gd name="T19" fmla="*/ 10 h 170"/>
                  <a:gd name="T20" fmla="*/ 177 w 243"/>
                  <a:gd name="T21" fmla="*/ 131 h 170"/>
                  <a:gd name="T22" fmla="*/ 219 w 243"/>
                  <a:gd name="T23" fmla="*/ 10 h 170"/>
                  <a:gd name="T24" fmla="*/ 231 w 243"/>
                  <a:gd name="T25" fmla="*/ 0 h 170"/>
                  <a:gd name="T26" fmla="*/ 243 w 243"/>
                  <a:gd name="T27" fmla="*/ 12 h 170"/>
                  <a:gd name="T28" fmla="*/ 241 w 243"/>
                  <a:gd name="T29" fmla="*/ 19 h 170"/>
                  <a:gd name="T30" fmla="*/ 191 w 243"/>
                  <a:gd name="T31" fmla="*/ 159 h 170"/>
                  <a:gd name="T32" fmla="*/ 177 w 243"/>
                  <a:gd name="T33" fmla="*/ 170 h 170"/>
                  <a:gd name="T34" fmla="*/ 176 w 243"/>
                  <a:gd name="T35" fmla="*/ 170 h 170"/>
                  <a:gd name="T36" fmla="*/ 163 w 243"/>
                  <a:gd name="T37" fmla="*/ 159 h 170"/>
                  <a:gd name="T38" fmla="*/ 122 w 243"/>
                  <a:gd name="T39" fmla="*/ 40 h 170"/>
                  <a:gd name="T40" fmla="*/ 80 w 243"/>
                  <a:gd name="T41" fmla="*/ 159 h 170"/>
                  <a:gd name="T42" fmla="*/ 66 w 243"/>
                  <a:gd name="T43" fmla="*/ 170 h 170"/>
                  <a:gd name="T44" fmla="*/ 66 w 243"/>
                  <a:gd name="T45" fmla="*/ 170 h 170"/>
                  <a:gd name="T46" fmla="*/ 52 w 243"/>
                  <a:gd name="T47" fmla="*/ 159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43" h="170">
                    <a:moveTo>
                      <a:pt x="52" y="159"/>
                    </a:moveTo>
                    <a:cubicBezTo>
                      <a:pt x="2" y="19"/>
                      <a:pt x="2" y="19"/>
                      <a:pt x="2" y="19"/>
                    </a:cubicBezTo>
                    <a:cubicBezTo>
                      <a:pt x="1" y="17"/>
                      <a:pt x="0" y="14"/>
                      <a:pt x="0" y="12"/>
                    </a:cubicBezTo>
                    <a:cubicBezTo>
                      <a:pt x="0" y="6"/>
                      <a:pt x="5" y="0"/>
                      <a:pt x="13" y="0"/>
                    </a:cubicBezTo>
                    <a:cubicBezTo>
                      <a:pt x="19" y="0"/>
                      <a:pt x="23" y="4"/>
                      <a:pt x="25" y="11"/>
                    </a:cubicBezTo>
                    <a:cubicBezTo>
                      <a:pt x="67" y="131"/>
                      <a:pt x="67" y="131"/>
                      <a:pt x="67" y="131"/>
                    </a:cubicBezTo>
                    <a:cubicBezTo>
                      <a:pt x="109" y="10"/>
                      <a:pt x="109" y="10"/>
                      <a:pt x="109" y="10"/>
                    </a:cubicBezTo>
                    <a:cubicBezTo>
                      <a:pt x="111" y="4"/>
                      <a:pt x="114" y="0"/>
                      <a:pt x="121" y="0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29" y="0"/>
                      <a:pt x="133" y="4"/>
                      <a:pt x="135" y="10"/>
                    </a:cubicBezTo>
                    <a:cubicBezTo>
                      <a:pt x="177" y="131"/>
                      <a:pt x="177" y="131"/>
                      <a:pt x="177" y="131"/>
                    </a:cubicBezTo>
                    <a:cubicBezTo>
                      <a:pt x="219" y="10"/>
                      <a:pt x="219" y="10"/>
                      <a:pt x="219" y="10"/>
                    </a:cubicBezTo>
                    <a:cubicBezTo>
                      <a:pt x="221" y="5"/>
                      <a:pt x="224" y="0"/>
                      <a:pt x="231" y="0"/>
                    </a:cubicBezTo>
                    <a:cubicBezTo>
                      <a:pt x="238" y="0"/>
                      <a:pt x="243" y="6"/>
                      <a:pt x="243" y="12"/>
                    </a:cubicBezTo>
                    <a:cubicBezTo>
                      <a:pt x="243" y="14"/>
                      <a:pt x="242" y="17"/>
                      <a:pt x="241" y="19"/>
                    </a:cubicBezTo>
                    <a:cubicBezTo>
                      <a:pt x="191" y="159"/>
                      <a:pt x="191" y="159"/>
                      <a:pt x="191" y="159"/>
                    </a:cubicBezTo>
                    <a:cubicBezTo>
                      <a:pt x="188" y="166"/>
                      <a:pt x="183" y="170"/>
                      <a:pt x="177" y="170"/>
                    </a:cubicBezTo>
                    <a:cubicBezTo>
                      <a:pt x="176" y="170"/>
                      <a:pt x="176" y="170"/>
                      <a:pt x="176" y="170"/>
                    </a:cubicBezTo>
                    <a:cubicBezTo>
                      <a:pt x="170" y="170"/>
                      <a:pt x="165" y="166"/>
                      <a:pt x="163" y="159"/>
                    </a:cubicBezTo>
                    <a:cubicBezTo>
                      <a:pt x="122" y="40"/>
                      <a:pt x="122" y="40"/>
                      <a:pt x="122" y="40"/>
                    </a:cubicBezTo>
                    <a:cubicBezTo>
                      <a:pt x="80" y="159"/>
                      <a:pt x="80" y="159"/>
                      <a:pt x="80" y="159"/>
                    </a:cubicBezTo>
                    <a:cubicBezTo>
                      <a:pt x="78" y="166"/>
                      <a:pt x="73" y="170"/>
                      <a:pt x="66" y="170"/>
                    </a:cubicBezTo>
                    <a:cubicBezTo>
                      <a:pt x="66" y="170"/>
                      <a:pt x="66" y="170"/>
                      <a:pt x="66" y="170"/>
                    </a:cubicBezTo>
                    <a:cubicBezTo>
                      <a:pt x="60" y="170"/>
                      <a:pt x="55" y="166"/>
                      <a:pt x="52" y="159"/>
                    </a:cubicBezTo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381"/>
                <a:endParaRPr lang="en-US" sz="1792">
                  <a:solidFill>
                    <a:srgbClr val="717074"/>
                  </a:solidFill>
                </a:endParaRPr>
              </a:p>
            </p:txBody>
          </p:sp>
          <p:sp>
            <p:nvSpPr>
              <p:cNvPr id="18" name="Freeform 7"/>
              <p:cNvSpPr>
                <a:spLocks/>
              </p:cNvSpPr>
              <p:nvPr/>
            </p:nvSpPr>
            <p:spPr bwMode="ltGray">
              <a:xfrm>
                <a:off x="3163888" y="5649913"/>
                <a:ext cx="354013" cy="647700"/>
              </a:xfrm>
              <a:custGeom>
                <a:avLst/>
                <a:gdLst>
                  <a:gd name="T0" fmla="*/ 0 w 94"/>
                  <a:gd name="T1" fmla="*/ 13 h 170"/>
                  <a:gd name="T2" fmla="*/ 12 w 94"/>
                  <a:gd name="T3" fmla="*/ 0 h 170"/>
                  <a:gd name="T4" fmla="*/ 24 w 94"/>
                  <a:gd name="T5" fmla="*/ 13 h 170"/>
                  <a:gd name="T6" fmla="*/ 24 w 94"/>
                  <a:gd name="T7" fmla="*/ 41 h 170"/>
                  <a:gd name="T8" fmla="*/ 82 w 94"/>
                  <a:gd name="T9" fmla="*/ 0 h 170"/>
                  <a:gd name="T10" fmla="*/ 94 w 94"/>
                  <a:gd name="T11" fmla="*/ 13 h 170"/>
                  <a:gd name="T12" fmla="*/ 83 w 94"/>
                  <a:gd name="T13" fmla="*/ 25 h 170"/>
                  <a:gd name="T14" fmla="*/ 24 w 94"/>
                  <a:gd name="T15" fmla="*/ 101 h 170"/>
                  <a:gd name="T16" fmla="*/ 24 w 94"/>
                  <a:gd name="T17" fmla="*/ 157 h 170"/>
                  <a:gd name="T18" fmla="*/ 12 w 94"/>
                  <a:gd name="T19" fmla="*/ 170 h 170"/>
                  <a:gd name="T20" fmla="*/ 0 w 94"/>
                  <a:gd name="T21" fmla="*/ 157 h 170"/>
                  <a:gd name="T22" fmla="*/ 0 w 94"/>
                  <a:gd name="T23" fmla="*/ 1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4" h="170">
                    <a:moveTo>
                      <a:pt x="0" y="13"/>
                    </a:moveTo>
                    <a:cubicBezTo>
                      <a:pt x="0" y="6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3"/>
                    </a:cubicBezTo>
                    <a:cubicBezTo>
                      <a:pt x="24" y="41"/>
                      <a:pt x="24" y="41"/>
                      <a:pt x="24" y="41"/>
                    </a:cubicBezTo>
                    <a:cubicBezTo>
                      <a:pt x="37" y="13"/>
                      <a:pt x="64" y="0"/>
                      <a:pt x="82" y="0"/>
                    </a:cubicBezTo>
                    <a:cubicBezTo>
                      <a:pt x="89" y="0"/>
                      <a:pt x="94" y="6"/>
                      <a:pt x="94" y="13"/>
                    </a:cubicBezTo>
                    <a:cubicBezTo>
                      <a:pt x="94" y="20"/>
                      <a:pt x="89" y="24"/>
                      <a:pt x="83" y="25"/>
                    </a:cubicBezTo>
                    <a:cubicBezTo>
                      <a:pt x="51" y="29"/>
                      <a:pt x="24" y="53"/>
                      <a:pt x="24" y="101"/>
                    </a:cubicBezTo>
                    <a:cubicBezTo>
                      <a:pt x="24" y="157"/>
                      <a:pt x="24" y="157"/>
                      <a:pt x="24" y="157"/>
                    </a:cubicBezTo>
                    <a:cubicBezTo>
                      <a:pt x="24" y="164"/>
                      <a:pt x="19" y="170"/>
                      <a:pt x="12" y="170"/>
                    </a:cubicBezTo>
                    <a:cubicBezTo>
                      <a:pt x="5" y="170"/>
                      <a:pt x="0" y="164"/>
                      <a:pt x="0" y="157"/>
                    </a:cubicBezTo>
                    <a:lnTo>
                      <a:pt x="0" y="13"/>
                    </a:lnTo>
                    <a:close/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381"/>
                <a:endParaRPr lang="en-US" sz="1792">
                  <a:solidFill>
                    <a:srgbClr val="717074"/>
                  </a:solidFill>
                </a:endParaRPr>
              </a:p>
            </p:txBody>
          </p:sp>
          <p:sp>
            <p:nvSpPr>
              <p:cNvPr id="19" name="Freeform 8"/>
              <p:cNvSpPr>
                <a:spLocks noEditPoints="1"/>
              </p:cNvSpPr>
              <p:nvPr/>
            </p:nvSpPr>
            <p:spPr bwMode="ltGray">
              <a:xfrm>
                <a:off x="3509963" y="5649913"/>
                <a:ext cx="579438" cy="655638"/>
              </a:xfrm>
              <a:custGeom>
                <a:avLst/>
                <a:gdLst>
                  <a:gd name="T0" fmla="*/ 129 w 154"/>
                  <a:gd name="T1" fmla="*/ 76 h 172"/>
                  <a:gd name="T2" fmla="*/ 77 w 154"/>
                  <a:gd name="T3" fmla="*/ 21 h 172"/>
                  <a:gd name="T4" fmla="*/ 25 w 154"/>
                  <a:gd name="T5" fmla="*/ 76 h 172"/>
                  <a:gd name="T6" fmla="*/ 129 w 154"/>
                  <a:gd name="T7" fmla="*/ 76 h 172"/>
                  <a:gd name="T8" fmla="*/ 81 w 154"/>
                  <a:gd name="T9" fmla="*/ 172 h 172"/>
                  <a:gd name="T10" fmla="*/ 0 w 154"/>
                  <a:gd name="T11" fmla="*/ 86 h 172"/>
                  <a:gd name="T12" fmla="*/ 0 w 154"/>
                  <a:gd name="T13" fmla="*/ 85 h 172"/>
                  <a:gd name="T14" fmla="*/ 78 w 154"/>
                  <a:gd name="T15" fmla="*/ 0 h 172"/>
                  <a:gd name="T16" fmla="*/ 154 w 154"/>
                  <a:gd name="T17" fmla="*/ 83 h 172"/>
                  <a:gd name="T18" fmla="*/ 142 w 154"/>
                  <a:gd name="T19" fmla="*/ 95 h 172"/>
                  <a:gd name="T20" fmla="*/ 25 w 154"/>
                  <a:gd name="T21" fmla="*/ 95 h 172"/>
                  <a:gd name="T22" fmla="*/ 82 w 154"/>
                  <a:gd name="T23" fmla="*/ 150 h 172"/>
                  <a:gd name="T24" fmla="*/ 129 w 154"/>
                  <a:gd name="T25" fmla="*/ 131 h 172"/>
                  <a:gd name="T26" fmla="*/ 136 w 154"/>
                  <a:gd name="T27" fmla="*/ 128 h 172"/>
                  <a:gd name="T28" fmla="*/ 146 w 154"/>
                  <a:gd name="T29" fmla="*/ 139 h 172"/>
                  <a:gd name="T30" fmla="*/ 142 w 154"/>
                  <a:gd name="T31" fmla="*/ 147 h 172"/>
                  <a:gd name="T32" fmla="*/ 81 w 154"/>
                  <a:gd name="T33" fmla="*/ 172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4" h="172">
                    <a:moveTo>
                      <a:pt x="129" y="76"/>
                    </a:moveTo>
                    <a:cubicBezTo>
                      <a:pt x="127" y="47"/>
                      <a:pt x="110" y="21"/>
                      <a:pt x="77" y="21"/>
                    </a:cubicBezTo>
                    <a:cubicBezTo>
                      <a:pt x="49" y="21"/>
                      <a:pt x="28" y="44"/>
                      <a:pt x="25" y="76"/>
                    </a:cubicBezTo>
                    <a:lnTo>
                      <a:pt x="129" y="76"/>
                    </a:lnTo>
                    <a:close/>
                    <a:moveTo>
                      <a:pt x="81" y="172"/>
                    </a:moveTo>
                    <a:cubicBezTo>
                      <a:pt x="36" y="172"/>
                      <a:pt x="0" y="137"/>
                      <a:pt x="0" y="86"/>
                    </a:cubicBezTo>
                    <a:cubicBezTo>
                      <a:pt x="0" y="85"/>
                      <a:pt x="0" y="85"/>
                      <a:pt x="0" y="85"/>
                    </a:cubicBezTo>
                    <a:cubicBezTo>
                      <a:pt x="0" y="38"/>
                      <a:pt x="33" y="0"/>
                      <a:pt x="78" y="0"/>
                    </a:cubicBezTo>
                    <a:cubicBezTo>
                      <a:pt x="126" y="0"/>
                      <a:pt x="154" y="40"/>
                      <a:pt x="154" y="83"/>
                    </a:cubicBezTo>
                    <a:cubicBezTo>
                      <a:pt x="154" y="90"/>
                      <a:pt x="148" y="95"/>
                      <a:pt x="142" y="95"/>
                    </a:cubicBezTo>
                    <a:cubicBezTo>
                      <a:pt x="25" y="95"/>
                      <a:pt x="25" y="95"/>
                      <a:pt x="25" y="95"/>
                    </a:cubicBezTo>
                    <a:cubicBezTo>
                      <a:pt x="28" y="130"/>
                      <a:pt x="53" y="150"/>
                      <a:pt x="82" y="150"/>
                    </a:cubicBezTo>
                    <a:cubicBezTo>
                      <a:pt x="102" y="150"/>
                      <a:pt x="117" y="142"/>
                      <a:pt x="129" y="131"/>
                    </a:cubicBezTo>
                    <a:cubicBezTo>
                      <a:pt x="131" y="130"/>
                      <a:pt x="133" y="128"/>
                      <a:pt x="136" y="128"/>
                    </a:cubicBezTo>
                    <a:cubicBezTo>
                      <a:pt x="142" y="128"/>
                      <a:pt x="146" y="133"/>
                      <a:pt x="146" y="139"/>
                    </a:cubicBezTo>
                    <a:cubicBezTo>
                      <a:pt x="146" y="142"/>
                      <a:pt x="145" y="145"/>
                      <a:pt x="142" y="147"/>
                    </a:cubicBezTo>
                    <a:cubicBezTo>
                      <a:pt x="127" y="162"/>
                      <a:pt x="109" y="172"/>
                      <a:pt x="81" y="172"/>
                    </a:cubicBezTo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381"/>
                <a:endParaRPr lang="en-US" sz="1792">
                  <a:solidFill>
                    <a:srgbClr val="717074"/>
                  </a:solidFill>
                </a:endParaRPr>
              </a:p>
            </p:txBody>
          </p:sp>
          <p:sp>
            <p:nvSpPr>
              <p:cNvPr id="20" name="Freeform 9"/>
              <p:cNvSpPr>
                <a:spLocks noEditPoints="1"/>
              </p:cNvSpPr>
              <p:nvPr/>
            </p:nvSpPr>
            <p:spPr bwMode="ltGray">
              <a:xfrm>
                <a:off x="2503488" y="5649913"/>
                <a:ext cx="547688" cy="655638"/>
              </a:xfrm>
              <a:custGeom>
                <a:avLst/>
                <a:gdLst>
                  <a:gd name="T0" fmla="*/ 122 w 146"/>
                  <a:gd name="T1" fmla="*/ 107 h 172"/>
                  <a:gd name="T2" fmla="*/ 122 w 146"/>
                  <a:gd name="T3" fmla="*/ 91 h 172"/>
                  <a:gd name="T4" fmla="*/ 74 w 146"/>
                  <a:gd name="T5" fmla="*/ 84 h 172"/>
                  <a:gd name="T6" fmla="*/ 25 w 146"/>
                  <a:gd name="T7" fmla="*/ 118 h 172"/>
                  <a:gd name="T8" fmla="*/ 25 w 146"/>
                  <a:gd name="T9" fmla="*/ 119 h 172"/>
                  <a:gd name="T10" fmla="*/ 67 w 146"/>
                  <a:gd name="T11" fmla="*/ 152 h 172"/>
                  <a:gd name="T12" fmla="*/ 122 w 146"/>
                  <a:gd name="T13" fmla="*/ 107 h 172"/>
                  <a:gd name="T14" fmla="*/ 0 w 146"/>
                  <a:gd name="T15" fmla="*/ 120 h 172"/>
                  <a:gd name="T16" fmla="*/ 0 w 146"/>
                  <a:gd name="T17" fmla="*/ 119 h 172"/>
                  <a:gd name="T18" fmla="*/ 71 w 146"/>
                  <a:gd name="T19" fmla="*/ 66 h 172"/>
                  <a:gd name="T20" fmla="*/ 122 w 146"/>
                  <a:gd name="T21" fmla="*/ 73 h 172"/>
                  <a:gd name="T22" fmla="*/ 122 w 146"/>
                  <a:gd name="T23" fmla="*/ 67 h 172"/>
                  <a:gd name="T24" fmla="*/ 73 w 146"/>
                  <a:gd name="T25" fmla="*/ 22 h 172"/>
                  <a:gd name="T26" fmla="*/ 34 w 146"/>
                  <a:gd name="T27" fmla="*/ 30 h 172"/>
                  <a:gd name="T28" fmla="*/ 30 w 146"/>
                  <a:gd name="T29" fmla="*/ 31 h 172"/>
                  <a:gd name="T30" fmla="*/ 19 w 146"/>
                  <a:gd name="T31" fmla="*/ 20 h 172"/>
                  <a:gd name="T32" fmla="*/ 26 w 146"/>
                  <a:gd name="T33" fmla="*/ 10 h 172"/>
                  <a:gd name="T34" fmla="*/ 75 w 146"/>
                  <a:gd name="T35" fmla="*/ 0 h 172"/>
                  <a:gd name="T36" fmla="*/ 129 w 146"/>
                  <a:gd name="T37" fmla="*/ 19 h 172"/>
                  <a:gd name="T38" fmla="*/ 146 w 146"/>
                  <a:gd name="T39" fmla="*/ 67 h 172"/>
                  <a:gd name="T40" fmla="*/ 146 w 146"/>
                  <a:gd name="T41" fmla="*/ 158 h 172"/>
                  <a:gd name="T42" fmla="*/ 134 w 146"/>
                  <a:gd name="T43" fmla="*/ 170 h 172"/>
                  <a:gd name="T44" fmla="*/ 122 w 146"/>
                  <a:gd name="T45" fmla="*/ 159 h 172"/>
                  <a:gd name="T46" fmla="*/ 122 w 146"/>
                  <a:gd name="T47" fmla="*/ 143 h 172"/>
                  <a:gd name="T48" fmla="*/ 62 w 146"/>
                  <a:gd name="T49" fmla="*/ 172 h 172"/>
                  <a:gd name="T50" fmla="*/ 0 w 146"/>
                  <a:gd name="T51" fmla="*/ 120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46" h="172">
                    <a:moveTo>
                      <a:pt x="122" y="107"/>
                    </a:moveTo>
                    <a:cubicBezTo>
                      <a:pt x="122" y="91"/>
                      <a:pt x="122" y="91"/>
                      <a:pt x="122" y="91"/>
                    </a:cubicBezTo>
                    <a:cubicBezTo>
                      <a:pt x="110" y="88"/>
                      <a:pt x="94" y="84"/>
                      <a:pt x="74" y="84"/>
                    </a:cubicBezTo>
                    <a:cubicBezTo>
                      <a:pt x="43" y="84"/>
                      <a:pt x="25" y="98"/>
                      <a:pt x="25" y="118"/>
                    </a:cubicBezTo>
                    <a:cubicBezTo>
                      <a:pt x="25" y="119"/>
                      <a:pt x="25" y="119"/>
                      <a:pt x="25" y="119"/>
                    </a:cubicBezTo>
                    <a:cubicBezTo>
                      <a:pt x="25" y="140"/>
                      <a:pt x="45" y="152"/>
                      <a:pt x="67" y="152"/>
                    </a:cubicBezTo>
                    <a:cubicBezTo>
                      <a:pt x="97" y="152"/>
                      <a:pt x="122" y="133"/>
                      <a:pt x="122" y="107"/>
                    </a:cubicBezTo>
                    <a:moveTo>
                      <a:pt x="0" y="120"/>
                    </a:moveTo>
                    <a:cubicBezTo>
                      <a:pt x="0" y="119"/>
                      <a:pt x="0" y="119"/>
                      <a:pt x="0" y="119"/>
                    </a:cubicBezTo>
                    <a:cubicBezTo>
                      <a:pt x="0" y="85"/>
                      <a:pt x="29" y="66"/>
                      <a:pt x="71" y="66"/>
                    </a:cubicBezTo>
                    <a:cubicBezTo>
                      <a:pt x="92" y="66"/>
                      <a:pt x="107" y="69"/>
                      <a:pt x="122" y="73"/>
                    </a:cubicBezTo>
                    <a:cubicBezTo>
                      <a:pt x="122" y="67"/>
                      <a:pt x="122" y="67"/>
                      <a:pt x="122" y="67"/>
                    </a:cubicBezTo>
                    <a:cubicBezTo>
                      <a:pt x="122" y="37"/>
                      <a:pt x="104" y="22"/>
                      <a:pt x="73" y="22"/>
                    </a:cubicBezTo>
                    <a:cubicBezTo>
                      <a:pt x="56" y="22"/>
                      <a:pt x="46" y="24"/>
                      <a:pt x="34" y="30"/>
                    </a:cubicBezTo>
                    <a:cubicBezTo>
                      <a:pt x="33" y="30"/>
                      <a:pt x="31" y="31"/>
                      <a:pt x="30" y="31"/>
                    </a:cubicBezTo>
                    <a:cubicBezTo>
                      <a:pt x="24" y="31"/>
                      <a:pt x="19" y="26"/>
                      <a:pt x="19" y="20"/>
                    </a:cubicBezTo>
                    <a:cubicBezTo>
                      <a:pt x="19" y="15"/>
                      <a:pt x="21" y="12"/>
                      <a:pt x="26" y="10"/>
                    </a:cubicBezTo>
                    <a:cubicBezTo>
                      <a:pt x="42" y="3"/>
                      <a:pt x="54" y="0"/>
                      <a:pt x="75" y="0"/>
                    </a:cubicBezTo>
                    <a:cubicBezTo>
                      <a:pt x="99" y="0"/>
                      <a:pt x="117" y="6"/>
                      <a:pt x="129" y="19"/>
                    </a:cubicBezTo>
                    <a:cubicBezTo>
                      <a:pt x="140" y="30"/>
                      <a:pt x="146" y="46"/>
                      <a:pt x="146" y="67"/>
                    </a:cubicBezTo>
                    <a:cubicBezTo>
                      <a:pt x="146" y="158"/>
                      <a:pt x="146" y="158"/>
                      <a:pt x="146" y="158"/>
                    </a:cubicBezTo>
                    <a:cubicBezTo>
                      <a:pt x="146" y="165"/>
                      <a:pt x="141" y="170"/>
                      <a:pt x="134" y="170"/>
                    </a:cubicBezTo>
                    <a:cubicBezTo>
                      <a:pt x="127" y="170"/>
                      <a:pt x="122" y="165"/>
                      <a:pt x="122" y="159"/>
                    </a:cubicBezTo>
                    <a:cubicBezTo>
                      <a:pt x="122" y="143"/>
                      <a:pt x="122" y="143"/>
                      <a:pt x="122" y="143"/>
                    </a:cubicBezTo>
                    <a:cubicBezTo>
                      <a:pt x="111" y="158"/>
                      <a:pt x="91" y="172"/>
                      <a:pt x="62" y="172"/>
                    </a:cubicBezTo>
                    <a:cubicBezTo>
                      <a:pt x="32" y="172"/>
                      <a:pt x="0" y="154"/>
                      <a:pt x="0" y="120"/>
                    </a:cubicBezTo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381"/>
                <a:endParaRPr lang="en-US" sz="1792">
                  <a:solidFill>
                    <a:srgbClr val="717074"/>
                  </a:solidFill>
                </a:endParaRPr>
              </a:p>
            </p:txBody>
          </p:sp>
          <p:sp>
            <p:nvSpPr>
              <p:cNvPr id="21" name="Freeform 10"/>
              <p:cNvSpPr>
                <a:spLocks/>
              </p:cNvSpPr>
              <p:nvPr/>
            </p:nvSpPr>
            <p:spPr bwMode="ltGray">
              <a:xfrm>
                <a:off x="-84138" y="5622925"/>
                <a:ext cx="1635125" cy="682625"/>
              </a:xfrm>
              <a:custGeom>
                <a:avLst/>
                <a:gdLst>
                  <a:gd name="T0" fmla="*/ 49 w 435"/>
                  <a:gd name="T1" fmla="*/ 18 h 179"/>
                  <a:gd name="T2" fmla="*/ 17 w 435"/>
                  <a:gd name="T3" fmla="*/ 6 h 179"/>
                  <a:gd name="T4" fmla="*/ 6 w 435"/>
                  <a:gd name="T5" fmla="*/ 37 h 179"/>
                  <a:gd name="T6" fmla="*/ 58 w 435"/>
                  <a:gd name="T7" fmla="*/ 152 h 179"/>
                  <a:gd name="T8" fmla="*/ 92 w 435"/>
                  <a:gd name="T9" fmla="*/ 179 h 179"/>
                  <a:gd name="T10" fmla="*/ 125 w 435"/>
                  <a:gd name="T11" fmla="*/ 152 h 179"/>
                  <a:gd name="T12" fmla="*/ 171 w 435"/>
                  <a:gd name="T13" fmla="*/ 51 h 179"/>
                  <a:gd name="T14" fmla="*/ 178 w 435"/>
                  <a:gd name="T15" fmla="*/ 46 h 179"/>
                  <a:gd name="T16" fmla="*/ 185 w 435"/>
                  <a:gd name="T17" fmla="*/ 54 h 179"/>
                  <a:gd name="T18" fmla="*/ 185 w 435"/>
                  <a:gd name="T19" fmla="*/ 151 h 179"/>
                  <a:gd name="T20" fmla="*/ 209 w 435"/>
                  <a:gd name="T21" fmla="*/ 179 h 179"/>
                  <a:gd name="T22" fmla="*/ 234 w 435"/>
                  <a:gd name="T23" fmla="*/ 151 h 179"/>
                  <a:gd name="T24" fmla="*/ 234 w 435"/>
                  <a:gd name="T25" fmla="*/ 72 h 179"/>
                  <a:gd name="T26" fmla="*/ 260 w 435"/>
                  <a:gd name="T27" fmla="*/ 46 h 179"/>
                  <a:gd name="T28" fmla="*/ 285 w 435"/>
                  <a:gd name="T29" fmla="*/ 72 h 179"/>
                  <a:gd name="T30" fmla="*/ 285 w 435"/>
                  <a:gd name="T31" fmla="*/ 151 h 179"/>
                  <a:gd name="T32" fmla="*/ 310 w 435"/>
                  <a:gd name="T33" fmla="*/ 179 h 179"/>
                  <a:gd name="T34" fmla="*/ 334 w 435"/>
                  <a:gd name="T35" fmla="*/ 151 h 179"/>
                  <a:gd name="T36" fmla="*/ 334 w 435"/>
                  <a:gd name="T37" fmla="*/ 72 h 179"/>
                  <a:gd name="T38" fmla="*/ 360 w 435"/>
                  <a:gd name="T39" fmla="*/ 46 h 179"/>
                  <a:gd name="T40" fmla="*/ 385 w 435"/>
                  <a:gd name="T41" fmla="*/ 72 h 179"/>
                  <a:gd name="T42" fmla="*/ 385 w 435"/>
                  <a:gd name="T43" fmla="*/ 151 h 179"/>
                  <a:gd name="T44" fmla="*/ 410 w 435"/>
                  <a:gd name="T45" fmla="*/ 179 h 179"/>
                  <a:gd name="T46" fmla="*/ 435 w 435"/>
                  <a:gd name="T47" fmla="*/ 151 h 179"/>
                  <a:gd name="T48" fmla="*/ 435 w 435"/>
                  <a:gd name="T49" fmla="*/ 61 h 179"/>
                  <a:gd name="T50" fmla="*/ 375 w 435"/>
                  <a:gd name="T51" fmla="*/ 4 h 179"/>
                  <a:gd name="T52" fmla="*/ 323 w 435"/>
                  <a:gd name="T53" fmla="*/ 26 h 179"/>
                  <a:gd name="T54" fmla="*/ 272 w 435"/>
                  <a:gd name="T55" fmla="*/ 4 h 179"/>
                  <a:gd name="T56" fmla="*/ 223 w 435"/>
                  <a:gd name="T57" fmla="*/ 26 h 179"/>
                  <a:gd name="T58" fmla="*/ 178 w 435"/>
                  <a:gd name="T59" fmla="*/ 4 h 179"/>
                  <a:gd name="T60" fmla="*/ 125 w 435"/>
                  <a:gd name="T61" fmla="*/ 40 h 179"/>
                  <a:gd name="T62" fmla="*/ 92 w 435"/>
                  <a:gd name="T63" fmla="*/ 119 h 179"/>
                  <a:gd name="T64" fmla="*/ 49 w 435"/>
                  <a:gd name="T65" fmla="*/ 18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35" h="179">
                    <a:moveTo>
                      <a:pt x="49" y="18"/>
                    </a:moveTo>
                    <a:cubicBezTo>
                      <a:pt x="43" y="6"/>
                      <a:pt x="30" y="0"/>
                      <a:pt x="17" y="6"/>
                    </a:cubicBezTo>
                    <a:cubicBezTo>
                      <a:pt x="5" y="12"/>
                      <a:pt x="0" y="25"/>
                      <a:pt x="6" y="37"/>
                    </a:cubicBezTo>
                    <a:cubicBezTo>
                      <a:pt x="58" y="152"/>
                      <a:pt x="58" y="152"/>
                      <a:pt x="58" y="152"/>
                    </a:cubicBezTo>
                    <a:cubicBezTo>
                      <a:pt x="67" y="169"/>
                      <a:pt x="75" y="179"/>
                      <a:pt x="92" y="179"/>
                    </a:cubicBezTo>
                    <a:cubicBezTo>
                      <a:pt x="109" y="179"/>
                      <a:pt x="117" y="169"/>
                      <a:pt x="125" y="152"/>
                    </a:cubicBezTo>
                    <a:cubicBezTo>
                      <a:pt x="125" y="152"/>
                      <a:pt x="171" y="52"/>
                      <a:pt x="171" y="51"/>
                    </a:cubicBezTo>
                    <a:cubicBezTo>
                      <a:pt x="172" y="50"/>
                      <a:pt x="173" y="46"/>
                      <a:pt x="178" y="46"/>
                    </a:cubicBezTo>
                    <a:cubicBezTo>
                      <a:pt x="182" y="47"/>
                      <a:pt x="185" y="50"/>
                      <a:pt x="185" y="54"/>
                    </a:cubicBezTo>
                    <a:cubicBezTo>
                      <a:pt x="185" y="151"/>
                      <a:pt x="185" y="151"/>
                      <a:pt x="185" y="151"/>
                    </a:cubicBezTo>
                    <a:cubicBezTo>
                      <a:pt x="185" y="166"/>
                      <a:pt x="193" y="179"/>
                      <a:pt x="209" y="179"/>
                    </a:cubicBezTo>
                    <a:cubicBezTo>
                      <a:pt x="225" y="179"/>
                      <a:pt x="234" y="166"/>
                      <a:pt x="234" y="151"/>
                    </a:cubicBezTo>
                    <a:cubicBezTo>
                      <a:pt x="234" y="72"/>
                      <a:pt x="234" y="72"/>
                      <a:pt x="234" y="72"/>
                    </a:cubicBezTo>
                    <a:cubicBezTo>
                      <a:pt x="234" y="56"/>
                      <a:pt x="245" y="46"/>
                      <a:pt x="260" y="46"/>
                    </a:cubicBezTo>
                    <a:cubicBezTo>
                      <a:pt x="275" y="46"/>
                      <a:pt x="285" y="57"/>
                      <a:pt x="285" y="72"/>
                    </a:cubicBezTo>
                    <a:cubicBezTo>
                      <a:pt x="285" y="151"/>
                      <a:pt x="285" y="151"/>
                      <a:pt x="285" y="151"/>
                    </a:cubicBezTo>
                    <a:cubicBezTo>
                      <a:pt x="285" y="166"/>
                      <a:pt x="294" y="179"/>
                      <a:pt x="310" y="179"/>
                    </a:cubicBezTo>
                    <a:cubicBezTo>
                      <a:pt x="326" y="179"/>
                      <a:pt x="334" y="166"/>
                      <a:pt x="334" y="151"/>
                    </a:cubicBezTo>
                    <a:cubicBezTo>
                      <a:pt x="334" y="72"/>
                      <a:pt x="334" y="72"/>
                      <a:pt x="334" y="72"/>
                    </a:cubicBezTo>
                    <a:cubicBezTo>
                      <a:pt x="334" y="56"/>
                      <a:pt x="345" y="46"/>
                      <a:pt x="360" y="46"/>
                    </a:cubicBezTo>
                    <a:cubicBezTo>
                      <a:pt x="375" y="46"/>
                      <a:pt x="385" y="57"/>
                      <a:pt x="385" y="72"/>
                    </a:cubicBezTo>
                    <a:cubicBezTo>
                      <a:pt x="385" y="151"/>
                      <a:pt x="385" y="151"/>
                      <a:pt x="385" y="151"/>
                    </a:cubicBezTo>
                    <a:cubicBezTo>
                      <a:pt x="385" y="166"/>
                      <a:pt x="394" y="179"/>
                      <a:pt x="410" y="179"/>
                    </a:cubicBezTo>
                    <a:cubicBezTo>
                      <a:pt x="426" y="179"/>
                      <a:pt x="435" y="166"/>
                      <a:pt x="435" y="151"/>
                    </a:cubicBezTo>
                    <a:cubicBezTo>
                      <a:pt x="435" y="61"/>
                      <a:pt x="435" y="61"/>
                      <a:pt x="435" y="61"/>
                    </a:cubicBezTo>
                    <a:cubicBezTo>
                      <a:pt x="435" y="27"/>
                      <a:pt x="408" y="4"/>
                      <a:pt x="375" y="4"/>
                    </a:cubicBezTo>
                    <a:cubicBezTo>
                      <a:pt x="343" y="4"/>
                      <a:pt x="323" y="26"/>
                      <a:pt x="323" y="26"/>
                    </a:cubicBezTo>
                    <a:cubicBezTo>
                      <a:pt x="312" y="12"/>
                      <a:pt x="297" y="4"/>
                      <a:pt x="272" y="4"/>
                    </a:cubicBezTo>
                    <a:cubicBezTo>
                      <a:pt x="246" y="4"/>
                      <a:pt x="223" y="26"/>
                      <a:pt x="223" y="26"/>
                    </a:cubicBezTo>
                    <a:cubicBezTo>
                      <a:pt x="212" y="12"/>
                      <a:pt x="194" y="4"/>
                      <a:pt x="178" y="4"/>
                    </a:cubicBezTo>
                    <a:cubicBezTo>
                      <a:pt x="155" y="4"/>
                      <a:pt x="136" y="14"/>
                      <a:pt x="125" y="40"/>
                    </a:cubicBezTo>
                    <a:cubicBezTo>
                      <a:pt x="92" y="119"/>
                      <a:pt x="92" y="119"/>
                      <a:pt x="92" y="119"/>
                    </a:cubicBezTo>
                    <a:lnTo>
                      <a:pt x="49" y="18"/>
                    </a:lnTo>
                    <a:close/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381"/>
                <a:endParaRPr lang="en-US" sz="1792">
                  <a:solidFill>
                    <a:srgbClr val="717074"/>
                  </a:solidFill>
                </a:endParaRPr>
              </a:p>
            </p:txBody>
          </p:sp>
          <p:sp>
            <p:nvSpPr>
              <p:cNvPr id="22" name="Freeform 11"/>
              <p:cNvSpPr>
                <a:spLocks noEditPoints="1"/>
              </p:cNvSpPr>
              <p:nvPr/>
            </p:nvSpPr>
            <p:spPr bwMode="ltGray">
              <a:xfrm>
                <a:off x="4097338" y="5649913"/>
                <a:ext cx="149225" cy="157163"/>
              </a:xfrm>
              <a:custGeom>
                <a:avLst/>
                <a:gdLst>
                  <a:gd name="T0" fmla="*/ 37 w 40"/>
                  <a:gd name="T1" fmla="*/ 20 h 41"/>
                  <a:gd name="T2" fmla="*/ 37 w 40"/>
                  <a:gd name="T3" fmla="*/ 20 h 41"/>
                  <a:gd name="T4" fmla="*/ 20 w 40"/>
                  <a:gd name="T5" fmla="*/ 4 h 41"/>
                  <a:gd name="T6" fmla="*/ 3 w 40"/>
                  <a:gd name="T7" fmla="*/ 20 h 41"/>
                  <a:gd name="T8" fmla="*/ 3 w 40"/>
                  <a:gd name="T9" fmla="*/ 21 h 41"/>
                  <a:gd name="T10" fmla="*/ 20 w 40"/>
                  <a:gd name="T11" fmla="*/ 37 h 41"/>
                  <a:gd name="T12" fmla="*/ 37 w 40"/>
                  <a:gd name="T13" fmla="*/ 20 h 41"/>
                  <a:gd name="T14" fmla="*/ 0 w 40"/>
                  <a:gd name="T15" fmla="*/ 21 h 41"/>
                  <a:gd name="T16" fmla="*/ 0 w 40"/>
                  <a:gd name="T17" fmla="*/ 20 h 41"/>
                  <a:gd name="T18" fmla="*/ 20 w 40"/>
                  <a:gd name="T19" fmla="*/ 0 h 41"/>
                  <a:gd name="T20" fmla="*/ 40 w 40"/>
                  <a:gd name="T21" fmla="*/ 20 h 41"/>
                  <a:gd name="T22" fmla="*/ 40 w 40"/>
                  <a:gd name="T23" fmla="*/ 20 h 41"/>
                  <a:gd name="T24" fmla="*/ 20 w 40"/>
                  <a:gd name="T25" fmla="*/ 41 h 41"/>
                  <a:gd name="T26" fmla="*/ 0 w 40"/>
                  <a:gd name="T27" fmla="*/ 2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0" h="41">
                    <a:moveTo>
                      <a:pt x="37" y="20"/>
                    </a:moveTo>
                    <a:cubicBezTo>
                      <a:pt x="37" y="20"/>
                      <a:pt x="37" y="20"/>
                      <a:pt x="37" y="20"/>
                    </a:cubicBezTo>
                    <a:cubicBezTo>
                      <a:pt x="37" y="11"/>
                      <a:pt x="29" y="4"/>
                      <a:pt x="20" y="4"/>
                    </a:cubicBezTo>
                    <a:cubicBezTo>
                      <a:pt x="11" y="4"/>
                      <a:pt x="3" y="11"/>
                      <a:pt x="3" y="20"/>
                    </a:cubicBezTo>
                    <a:cubicBezTo>
                      <a:pt x="3" y="21"/>
                      <a:pt x="3" y="21"/>
                      <a:pt x="3" y="21"/>
                    </a:cubicBezTo>
                    <a:cubicBezTo>
                      <a:pt x="3" y="30"/>
                      <a:pt x="11" y="37"/>
                      <a:pt x="20" y="37"/>
                    </a:cubicBezTo>
                    <a:cubicBezTo>
                      <a:pt x="29" y="37"/>
                      <a:pt x="37" y="30"/>
                      <a:pt x="37" y="20"/>
                    </a:cubicBezTo>
                    <a:moveTo>
                      <a:pt x="0" y="21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2" y="0"/>
                      <a:pt x="40" y="9"/>
                      <a:pt x="40" y="20"/>
                    </a:cubicBezTo>
                    <a:cubicBezTo>
                      <a:pt x="40" y="20"/>
                      <a:pt x="40" y="20"/>
                      <a:pt x="40" y="20"/>
                    </a:cubicBezTo>
                    <a:cubicBezTo>
                      <a:pt x="40" y="32"/>
                      <a:pt x="31" y="41"/>
                      <a:pt x="20" y="41"/>
                    </a:cubicBezTo>
                    <a:cubicBezTo>
                      <a:pt x="8" y="41"/>
                      <a:pt x="0" y="32"/>
                      <a:pt x="0" y="21"/>
                    </a:cubicBezTo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381"/>
                <a:endParaRPr lang="en-US" sz="1792">
                  <a:solidFill>
                    <a:srgbClr val="717074"/>
                  </a:solidFill>
                </a:endParaRPr>
              </a:p>
            </p:txBody>
          </p:sp>
          <p:sp>
            <p:nvSpPr>
              <p:cNvPr id="23" name="Freeform 12"/>
              <p:cNvSpPr>
                <a:spLocks noEditPoints="1"/>
              </p:cNvSpPr>
              <p:nvPr/>
            </p:nvSpPr>
            <p:spPr bwMode="ltGray">
              <a:xfrm>
                <a:off x="4141788" y="5688013"/>
                <a:ext cx="63500" cy="76200"/>
              </a:xfrm>
              <a:custGeom>
                <a:avLst/>
                <a:gdLst>
                  <a:gd name="T0" fmla="*/ 9 w 17"/>
                  <a:gd name="T1" fmla="*/ 10 h 20"/>
                  <a:gd name="T2" fmla="*/ 12 w 17"/>
                  <a:gd name="T3" fmla="*/ 7 h 20"/>
                  <a:gd name="T4" fmla="*/ 12 w 17"/>
                  <a:gd name="T5" fmla="*/ 7 h 20"/>
                  <a:gd name="T6" fmla="*/ 9 w 17"/>
                  <a:gd name="T7" fmla="*/ 4 h 20"/>
                  <a:gd name="T8" fmla="*/ 5 w 17"/>
                  <a:gd name="T9" fmla="*/ 4 h 20"/>
                  <a:gd name="T10" fmla="*/ 5 w 17"/>
                  <a:gd name="T11" fmla="*/ 10 h 20"/>
                  <a:gd name="T12" fmla="*/ 9 w 17"/>
                  <a:gd name="T13" fmla="*/ 10 h 20"/>
                  <a:gd name="T14" fmla="*/ 0 w 17"/>
                  <a:gd name="T15" fmla="*/ 2 h 20"/>
                  <a:gd name="T16" fmla="*/ 2 w 17"/>
                  <a:gd name="T17" fmla="*/ 0 h 20"/>
                  <a:gd name="T18" fmla="*/ 9 w 17"/>
                  <a:gd name="T19" fmla="*/ 0 h 20"/>
                  <a:gd name="T20" fmla="*/ 15 w 17"/>
                  <a:gd name="T21" fmla="*/ 2 h 20"/>
                  <a:gd name="T22" fmla="*/ 17 w 17"/>
                  <a:gd name="T23" fmla="*/ 7 h 20"/>
                  <a:gd name="T24" fmla="*/ 17 w 17"/>
                  <a:gd name="T25" fmla="*/ 7 h 20"/>
                  <a:gd name="T26" fmla="*/ 13 w 17"/>
                  <a:gd name="T27" fmla="*/ 13 h 20"/>
                  <a:gd name="T28" fmla="*/ 16 w 17"/>
                  <a:gd name="T29" fmla="*/ 17 h 20"/>
                  <a:gd name="T30" fmla="*/ 16 w 17"/>
                  <a:gd name="T31" fmla="*/ 18 h 20"/>
                  <a:gd name="T32" fmla="*/ 14 w 17"/>
                  <a:gd name="T33" fmla="*/ 20 h 20"/>
                  <a:gd name="T34" fmla="*/ 12 w 17"/>
                  <a:gd name="T35" fmla="*/ 19 h 20"/>
                  <a:gd name="T36" fmla="*/ 8 w 17"/>
                  <a:gd name="T37" fmla="*/ 14 h 20"/>
                  <a:gd name="T38" fmla="*/ 5 w 17"/>
                  <a:gd name="T39" fmla="*/ 14 h 20"/>
                  <a:gd name="T40" fmla="*/ 5 w 17"/>
                  <a:gd name="T41" fmla="*/ 18 h 20"/>
                  <a:gd name="T42" fmla="*/ 2 w 17"/>
                  <a:gd name="T43" fmla="*/ 20 h 20"/>
                  <a:gd name="T44" fmla="*/ 0 w 17"/>
                  <a:gd name="T45" fmla="*/ 18 h 20"/>
                  <a:gd name="T46" fmla="*/ 0 w 17"/>
                  <a:gd name="T47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7" h="20">
                    <a:moveTo>
                      <a:pt x="9" y="10"/>
                    </a:moveTo>
                    <a:cubicBezTo>
                      <a:pt x="11" y="10"/>
                      <a:pt x="12" y="9"/>
                      <a:pt x="12" y="7"/>
                    </a:cubicBezTo>
                    <a:cubicBezTo>
                      <a:pt x="12" y="7"/>
                      <a:pt x="12" y="7"/>
                      <a:pt x="12" y="7"/>
                    </a:cubicBezTo>
                    <a:cubicBezTo>
                      <a:pt x="12" y="5"/>
                      <a:pt x="11" y="4"/>
                      <a:pt x="9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10"/>
                      <a:pt x="5" y="10"/>
                      <a:pt x="5" y="10"/>
                    </a:cubicBezTo>
                    <a:lnTo>
                      <a:pt x="9" y="10"/>
                    </a:lnTo>
                    <a:close/>
                    <a:moveTo>
                      <a:pt x="0" y="2"/>
                    </a:moveTo>
                    <a:cubicBezTo>
                      <a:pt x="0" y="1"/>
                      <a:pt x="1" y="0"/>
                      <a:pt x="2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2" y="0"/>
                      <a:pt x="14" y="1"/>
                      <a:pt x="15" y="2"/>
                    </a:cubicBezTo>
                    <a:cubicBezTo>
                      <a:pt x="16" y="3"/>
                      <a:pt x="17" y="5"/>
                      <a:pt x="17" y="7"/>
                    </a:cubicBezTo>
                    <a:cubicBezTo>
                      <a:pt x="17" y="7"/>
                      <a:pt x="17" y="7"/>
                      <a:pt x="17" y="7"/>
                    </a:cubicBezTo>
                    <a:cubicBezTo>
                      <a:pt x="17" y="10"/>
                      <a:pt x="15" y="12"/>
                      <a:pt x="13" y="13"/>
                    </a:cubicBezTo>
                    <a:cubicBezTo>
                      <a:pt x="16" y="17"/>
                      <a:pt x="16" y="17"/>
                      <a:pt x="16" y="17"/>
                    </a:cubicBezTo>
                    <a:cubicBezTo>
                      <a:pt x="16" y="17"/>
                      <a:pt x="16" y="18"/>
                      <a:pt x="16" y="18"/>
                    </a:cubicBezTo>
                    <a:cubicBezTo>
                      <a:pt x="16" y="19"/>
                      <a:pt x="15" y="20"/>
                      <a:pt x="14" y="20"/>
                    </a:cubicBezTo>
                    <a:cubicBezTo>
                      <a:pt x="13" y="20"/>
                      <a:pt x="13" y="20"/>
                      <a:pt x="12" y="19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5" y="14"/>
                      <a:pt x="5" y="14"/>
                      <a:pt x="5" y="14"/>
                    </a:cubicBezTo>
                    <a:cubicBezTo>
                      <a:pt x="5" y="18"/>
                      <a:pt x="5" y="18"/>
                      <a:pt x="5" y="18"/>
                    </a:cubicBezTo>
                    <a:cubicBezTo>
                      <a:pt x="5" y="19"/>
                      <a:pt x="4" y="20"/>
                      <a:pt x="2" y="20"/>
                    </a:cubicBezTo>
                    <a:cubicBezTo>
                      <a:pt x="1" y="20"/>
                      <a:pt x="0" y="19"/>
                      <a:pt x="0" y="18"/>
                    </a:cubicBez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381"/>
                <a:endParaRPr lang="en-US" sz="1792">
                  <a:solidFill>
                    <a:srgbClr val="717074"/>
                  </a:solidFill>
                </a:endParaRPr>
              </a:p>
            </p:txBody>
          </p:sp>
        </p:grpSp>
      </p:grp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322758" y="685800"/>
            <a:ext cx="4389120" cy="1676400"/>
          </a:xfrm>
        </p:spPr>
        <p:txBody>
          <a:bodyPr anchor="b"/>
          <a:lstStyle>
            <a:lvl1pPr marL="3161" indent="0">
              <a:spcBef>
                <a:spcPts val="0"/>
              </a:spcBef>
              <a:buNone/>
              <a:defRPr sz="10952">
                <a:solidFill>
                  <a:schemeClr val="accent3"/>
                </a:solidFill>
              </a:defRPr>
            </a:lvl1pPr>
            <a:lvl2pPr marL="3161" indent="0">
              <a:spcBef>
                <a:spcPts val="0"/>
              </a:spcBef>
              <a:buNone/>
              <a:defRPr sz="10952">
                <a:solidFill>
                  <a:schemeClr val="accent3"/>
                </a:solidFill>
              </a:defRPr>
            </a:lvl2pPr>
            <a:lvl3pPr marL="3161" indent="0">
              <a:spcBef>
                <a:spcPts val="0"/>
              </a:spcBef>
              <a:buNone/>
              <a:defRPr sz="10952">
                <a:solidFill>
                  <a:schemeClr val="accent3"/>
                </a:solidFill>
              </a:defRPr>
            </a:lvl3pPr>
            <a:lvl4pPr marL="3161" indent="0">
              <a:spcBef>
                <a:spcPts val="0"/>
              </a:spcBef>
              <a:buNone/>
              <a:defRPr sz="10952">
                <a:solidFill>
                  <a:schemeClr val="accent3"/>
                </a:solidFill>
              </a:defRPr>
            </a:lvl4pPr>
            <a:lvl5pPr marL="3161" indent="0">
              <a:spcBef>
                <a:spcPts val="0"/>
              </a:spcBef>
              <a:buNone/>
              <a:defRPr sz="10952">
                <a:solidFill>
                  <a:schemeClr val="accent3"/>
                </a:solidFill>
              </a:defRPr>
            </a:lvl5pPr>
            <a:lvl6pPr marL="3161" indent="0">
              <a:spcBef>
                <a:spcPts val="0"/>
              </a:spcBef>
              <a:buNone/>
              <a:defRPr sz="10952">
                <a:solidFill>
                  <a:schemeClr val="accent3"/>
                </a:solidFill>
              </a:defRPr>
            </a:lvl6pPr>
            <a:lvl7pPr marL="3161" indent="0">
              <a:spcBef>
                <a:spcPts val="0"/>
              </a:spcBef>
              <a:buNone/>
              <a:defRPr sz="10952">
                <a:solidFill>
                  <a:schemeClr val="accent3"/>
                </a:solidFill>
              </a:defRPr>
            </a:lvl7pPr>
            <a:lvl8pPr marL="3161" indent="0">
              <a:spcBef>
                <a:spcPts val="0"/>
              </a:spcBef>
              <a:buNone/>
              <a:defRPr sz="10952">
                <a:solidFill>
                  <a:schemeClr val="accent3"/>
                </a:solidFill>
              </a:defRPr>
            </a:lvl8pPr>
            <a:lvl9pPr marL="3161" indent="0">
              <a:spcBef>
                <a:spcPts val="0"/>
              </a:spcBef>
              <a:buNone/>
              <a:defRPr sz="10952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322758" y="2362200"/>
            <a:ext cx="4389120" cy="1066800"/>
          </a:xfrm>
        </p:spPr>
        <p:txBody>
          <a:bodyPr/>
          <a:lstStyle>
            <a:lvl1pPr marL="3161" indent="0">
              <a:spcBef>
                <a:spcPts val="0"/>
              </a:spcBef>
              <a:buNone/>
              <a:defRPr sz="2390" cap="none" baseline="0">
                <a:solidFill>
                  <a:schemeClr val="accent3"/>
                </a:solidFill>
              </a:defRPr>
            </a:lvl1pPr>
            <a:lvl2pPr marL="3161" indent="0">
              <a:spcBef>
                <a:spcPts val="0"/>
              </a:spcBef>
              <a:buNone/>
              <a:defRPr sz="1992" cap="all" baseline="0">
                <a:solidFill>
                  <a:schemeClr val="accent3"/>
                </a:solidFill>
              </a:defRPr>
            </a:lvl2pPr>
            <a:lvl3pPr marL="3161" indent="0">
              <a:spcBef>
                <a:spcPts val="0"/>
              </a:spcBef>
              <a:buNone/>
              <a:defRPr sz="1992" cap="all" baseline="0">
                <a:solidFill>
                  <a:schemeClr val="accent3"/>
                </a:solidFill>
              </a:defRPr>
            </a:lvl3pPr>
            <a:lvl4pPr marL="3161" indent="0">
              <a:spcBef>
                <a:spcPts val="0"/>
              </a:spcBef>
              <a:buNone/>
              <a:defRPr sz="1992" cap="all" baseline="0">
                <a:solidFill>
                  <a:schemeClr val="accent3"/>
                </a:solidFill>
              </a:defRPr>
            </a:lvl4pPr>
            <a:lvl5pPr marL="3161" indent="0">
              <a:spcBef>
                <a:spcPts val="0"/>
              </a:spcBef>
              <a:buNone/>
              <a:defRPr sz="1992" cap="all" baseline="0">
                <a:solidFill>
                  <a:schemeClr val="accent3"/>
                </a:solidFill>
              </a:defRPr>
            </a:lvl5pPr>
            <a:lvl6pPr marL="3161" indent="0">
              <a:spcBef>
                <a:spcPts val="0"/>
              </a:spcBef>
              <a:buNone/>
              <a:defRPr sz="1992" cap="all" baseline="0">
                <a:solidFill>
                  <a:schemeClr val="accent3"/>
                </a:solidFill>
              </a:defRPr>
            </a:lvl6pPr>
            <a:lvl7pPr marL="3161" indent="0">
              <a:spcBef>
                <a:spcPts val="0"/>
              </a:spcBef>
              <a:buNone/>
              <a:defRPr sz="1992" cap="all" baseline="0">
                <a:solidFill>
                  <a:schemeClr val="accent3"/>
                </a:solidFill>
              </a:defRPr>
            </a:lvl7pPr>
            <a:lvl8pPr marL="3161" indent="0">
              <a:spcBef>
                <a:spcPts val="0"/>
              </a:spcBef>
              <a:buNone/>
              <a:defRPr sz="1992" cap="all" baseline="0">
                <a:solidFill>
                  <a:schemeClr val="accent3"/>
                </a:solidFill>
              </a:defRPr>
            </a:lvl8pPr>
            <a:lvl9pPr marL="3161" indent="0">
              <a:spcBef>
                <a:spcPts val="0"/>
              </a:spcBef>
              <a:buNone/>
              <a:defRPr sz="1992" cap="all" baseline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Metric 2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/>
          <p:nvPr/>
        </p:nvGrpSpPr>
        <p:grpSpPr>
          <a:xfrm>
            <a:off x="598033" y="0"/>
            <a:ext cx="11593969" cy="6858000"/>
            <a:chOff x="448524" y="0"/>
            <a:chExt cx="8695476" cy="6858000"/>
          </a:xfrm>
        </p:grpSpPr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68963" y="0"/>
              <a:ext cx="4875037" cy="6858000"/>
            </a:xfrm>
            <a:prstGeom prst="rect">
              <a:avLst/>
            </a:prstGeom>
          </p:spPr>
        </p:pic>
        <p:grpSp>
          <p:nvGrpSpPr>
            <p:cNvPr id="17" name="Group 16"/>
            <p:cNvGrpSpPr/>
            <p:nvPr/>
          </p:nvGrpSpPr>
          <p:grpSpPr>
            <a:xfrm>
              <a:off x="448524" y="6446044"/>
              <a:ext cx="1099793" cy="173355"/>
              <a:chOff x="-84138" y="5622925"/>
              <a:chExt cx="4330701" cy="682626"/>
            </a:xfrm>
            <a:solidFill>
              <a:srgbClr val="FFFFFF"/>
            </a:solidFill>
          </p:grpSpPr>
          <p:sp>
            <p:nvSpPr>
              <p:cNvPr id="18" name="Freeform 17"/>
              <p:cNvSpPr>
                <a:spLocks/>
              </p:cNvSpPr>
              <p:nvPr/>
            </p:nvSpPr>
            <p:spPr bwMode="auto">
              <a:xfrm>
                <a:off x="1589088" y="5649913"/>
                <a:ext cx="914400" cy="647700"/>
              </a:xfrm>
              <a:custGeom>
                <a:avLst/>
                <a:gdLst>
                  <a:gd name="T0" fmla="*/ 52 w 243"/>
                  <a:gd name="T1" fmla="*/ 159 h 170"/>
                  <a:gd name="T2" fmla="*/ 2 w 243"/>
                  <a:gd name="T3" fmla="*/ 19 h 170"/>
                  <a:gd name="T4" fmla="*/ 0 w 243"/>
                  <a:gd name="T5" fmla="*/ 12 h 170"/>
                  <a:gd name="T6" fmla="*/ 13 w 243"/>
                  <a:gd name="T7" fmla="*/ 0 h 170"/>
                  <a:gd name="T8" fmla="*/ 25 w 243"/>
                  <a:gd name="T9" fmla="*/ 11 h 170"/>
                  <a:gd name="T10" fmla="*/ 67 w 243"/>
                  <a:gd name="T11" fmla="*/ 131 h 170"/>
                  <a:gd name="T12" fmla="*/ 109 w 243"/>
                  <a:gd name="T13" fmla="*/ 10 h 170"/>
                  <a:gd name="T14" fmla="*/ 121 w 243"/>
                  <a:gd name="T15" fmla="*/ 0 h 170"/>
                  <a:gd name="T16" fmla="*/ 122 w 243"/>
                  <a:gd name="T17" fmla="*/ 0 h 170"/>
                  <a:gd name="T18" fmla="*/ 135 w 243"/>
                  <a:gd name="T19" fmla="*/ 10 h 170"/>
                  <a:gd name="T20" fmla="*/ 177 w 243"/>
                  <a:gd name="T21" fmla="*/ 131 h 170"/>
                  <a:gd name="T22" fmla="*/ 219 w 243"/>
                  <a:gd name="T23" fmla="*/ 10 h 170"/>
                  <a:gd name="T24" fmla="*/ 231 w 243"/>
                  <a:gd name="T25" fmla="*/ 0 h 170"/>
                  <a:gd name="T26" fmla="*/ 243 w 243"/>
                  <a:gd name="T27" fmla="*/ 12 h 170"/>
                  <a:gd name="T28" fmla="*/ 241 w 243"/>
                  <a:gd name="T29" fmla="*/ 19 h 170"/>
                  <a:gd name="T30" fmla="*/ 191 w 243"/>
                  <a:gd name="T31" fmla="*/ 159 h 170"/>
                  <a:gd name="T32" fmla="*/ 177 w 243"/>
                  <a:gd name="T33" fmla="*/ 170 h 170"/>
                  <a:gd name="T34" fmla="*/ 176 w 243"/>
                  <a:gd name="T35" fmla="*/ 170 h 170"/>
                  <a:gd name="T36" fmla="*/ 163 w 243"/>
                  <a:gd name="T37" fmla="*/ 159 h 170"/>
                  <a:gd name="T38" fmla="*/ 122 w 243"/>
                  <a:gd name="T39" fmla="*/ 40 h 170"/>
                  <a:gd name="T40" fmla="*/ 80 w 243"/>
                  <a:gd name="T41" fmla="*/ 159 h 170"/>
                  <a:gd name="T42" fmla="*/ 66 w 243"/>
                  <a:gd name="T43" fmla="*/ 170 h 170"/>
                  <a:gd name="T44" fmla="*/ 66 w 243"/>
                  <a:gd name="T45" fmla="*/ 170 h 170"/>
                  <a:gd name="T46" fmla="*/ 52 w 243"/>
                  <a:gd name="T47" fmla="*/ 159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43" h="170">
                    <a:moveTo>
                      <a:pt x="52" y="159"/>
                    </a:moveTo>
                    <a:cubicBezTo>
                      <a:pt x="2" y="19"/>
                      <a:pt x="2" y="19"/>
                      <a:pt x="2" y="19"/>
                    </a:cubicBezTo>
                    <a:cubicBezTo>
                      <a:pt x="1" y="17"/>
                      <a:pt x="0" y="14"/>
                      <a:pt x="0" y="12"/>
                    </a:cubicBezTo>
                    <a:cubicBezTo>
                      <a:pt x="0" y="6"/>
                      <a:pt x="5" y="0"/>
                      <a:pt x="13" y="0"/>
                    </a:cubicBezTo>
                    <a:cubicBezTo>
                      <a:pt x="19" y="0"/>
                      <a:pt x="23" y="4"/>
                      <a:pt x="25" y="11"/>
                    </a:cubicBezTo>
                    <a:cubicBezTo>
                      <a:pt x="67" y="131"/>
                      <a:pt x="67" y="131"/>
                      <a:pt x="67" y="131"/>
                    </a:cubicBezTo>
                    <a:cubicBezTo>
                      <a:pt x="109" y="10"/>
                      <a:pt x="109" y="10"/>
                      <a:pt x="109" y="10"/>
                    </a:cubicBezTo>
                    <a:cubicBezTo>
                      <a:pt x="111" y="4"/>
                      <a:pt x="114" y="0"/>
                      <a:pt x="121" y="0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29" y="0"/>
                      <a:pt x="133" y="4"/>
                      <a:pt x="135" y="10"/>
                    </a:cubicBezTo>
                    <a:cubicBezTo>
                      <a:pt x="177" y="131"/>
                      <a:pt x="177" y="131"/>
                      <a:pt x="177" y="131"/>
                    </a:cubicBezTo>
                    <a:cubicBezTo>
                      <a:pt x="219" y="10"/>
                      <a:pt x="219" y="10"/>
                      <a:pt x="219" y="10"/>
                    </a:cubicBezTo>
                    <a:cubicBezTo>
                      <a:pt x="221" y="5"/>
                      <a:pt x="224" y="0"/>
                      <a:pt x="231" y="0"/>
                    </a:cubicBezTo>
                    <a:cubicBezTo>
                      <a:pt x="238" y="0"/>
                      <a:pt x="243" y="6"/>
                      <a:pt x="243" y="12"/>
                    </a:cubicBezTo>
                    <a:cubicBezTo>
                      <a:pt x="243" y="14"/>
                      <a:pt x="242" y="17"/>
                      <a:pt x="241" y="19"/>
                    </a:cubicBezTo>
                    <a:cubicBezTo>
                      <a:pt x="191" y="159"/>
                      <a:pt x="191" y="159"/>
                      <a:pt x="191" y="159"/>
                    </a:cubicBezTo>
                    <a:cubicBezTo>
                      <a:pt x="188" y="166"/>
                      <a:pt x="183" y="170"/>
                      <a:pt x="177" y="170"/>
                    </a:cubicBezTo>
                    <a:cubicBezTo>
                      <a:pt x="176" y="170"/>
                      <a:pt x="176" y="170"/>
                      <a:pt x="176" y="170"/>
                    </a:cubicBezTo>
                    <a:cubicBezTo>
                      <a:pt x="170" y="170"/>
                      <a:pt x="165" y="166"/>
                      <a:pt x="163" y="159"/>
                    </a:cubicBezTo>
                    <a:cubicBezTo>
                      <a:pt x="122" y="40"/>
                      <a:pt x="122" y="40"/>
                      <a:pt x="122" y="40"/>
                    </a:cubicBezTo>
                    <a:cubicBezTo>
                      <a:pt x="80" y="159"/>
                      <a:pt x="80" y="159"/>
                      <a:pt x="80" y="159"/>
                    </a:cubicBezTo>
                    <a:cubicBezTo>
                      <a:pt x="78" y="166"/>
                      <a:pt x="73" y="170"/>
                      <a:pt x="66" y="170"/>
                    </a:cubicBezTo>
                    <a:cubicBezTo>
                      <a:pt x="66" y="170"/>
                      <a:pt x="66" y="170"/>
                      <a:pt x="66" y="170"/>
                    </a:cubicBezTo>
                    <a:cubicBezTo>
                      <a:pt x="60" y="170"/>
                      <a:pt x="55" y="166"/>
                      <a:pt x="52" y="15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381"/>
                <a:endParaRPr lang="en-US" sz="1792">
                  <a:solidFill>
                    <a:srgbClr val="717074"/>
                  </a:solidFill>
                </a:endParaRPr>
              </a:p>
            </p:txBody>
          </p:sp>
          <p:sp>
            <p:nvSpPr>
              <p:cNvPr id="19" name="Freeform 18"/>
              <p:cNvSpPr>
                <a:spLocks/>
              </p:cNvSpPr>
              <p:nvPr/>
            </p:nvSpPr>
            <p:spPr bwMode="auto">
              <a:xfrm>
                <a:off x="3163888" y="5649913"/>
                <a:ext cx="354013" cy="647700"/>
              </a:xfrm>
              <a:custGeom>
                <a:avLst/>
                <a:gdLst>
                  <a:gd name="T0" fmla="*/ 0 w 94"/>
                  <a:gd name="T1" fmla="*/ 13 h 170"/>
                  <a:gd name="T2" fmla="*/ 12 w 94"/>
                  <a:gd name="T3" fmla="*/ 0 h 170"/>
                  <a:gd name="T4" fmla="*/ 24 w 94"/>
                  <a:gd name="T5" fmla="*/ 13 h 170"/>
                  <a:gd name="T6" fmla="*/ 24 w 94"/>
                  <a:gd name="T7" fmla="*/ 41 h 170"/>
                  <a:gd name="T8" fmla="*/ 82 w 94"/>
                  <a:gd name="T9" fmla="*/ 0 h 170"/>
                  <a:gd name="T10" fmla="*/ 94 w 94"/>
                  <a:gd name="T11" fmla="*/ 13 h 170"/>
                  <a:gd name="T12" fmla="*/ 83 w 94"/>
                  <a:gd name="T13" fmla="*/ 25 h 170"/>
                  <a:gd name="T14" fmla="*/ 24 w 94"/>
                  <a:gd name="T15" fmla="*/ 101 h 170"/>
                  <a:gd name="T16" fmla="*/ 24 w 94"/>
                  <a:gd name="T17" fmla="*/ 157 h 170"/>
                  <a:gd name="T18" fmla="*/ 12 w 94"/>
                  <a:gd name="T19" fmla="*/ 170 h 170"/>
                  <a:gd name="T20" fmla="*/ 0 w 94"/>
                  <a:gd name="T21" fmla="*/ 157 h 170"/>
                  <a:gd name="T22" fmla="*/ 0 w 94"/>
                  <a:gd name="T23" fmla="*/ 1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4" h="170">
                    <a:moveTo>
                      <a:pt x="0" y="13"/>
                    </a:moveTo>
                    <a:cubicBezTo>
                      <a:pt x="0" y="6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3"/>
                    </a:cubicBezTo>
                    <a:cubicBezTo>
                      <a:pt x="24" y="41"/>
                      <a:pt x="24" y="41"/>
                      <a:pt x="24" y="41"/>
                    </a:cubicBezTo>
                    <a:cubicBezTo>
                      <a:pt x="37" y="13"/>
                      <a:pt x="64" y="0"/>
                      <a:pt x="82" y="0"/>
                    </a:cubicBezTo>
                    <a:cubicBezTo>
                      <a:pt x="89" y="0"/>
                      <a:pt x="94" y="6"/>
                      <a:pt x="94" y="13"/>
                    </a:cubicBezTo>
                    <a:cubicBezTo>
                      <a:pt x="94" y="20"/>
                      <a:pt x="89" y="24"/>
                      <a:pt x="83" y="25"/>
                    </a:cubicBezTo>
                    <a:cubicBezTo>
                      <a:pt x="51" y="29"/>
                      <a:pt x="24" y="53"/>
                      <a:pt x="24" y="101"/>
                    </a:cubicBezTo>
                    <a:cubicBezTo>
                      <a:pt x="24" y="157"/>
                      <a:pt x="24" y="157"/>
                      <a:pt x="24" y="157"/>
                    </a:cubicBezTo>
                    <a:cubicBezTo>
                      <a:pt x="24" y="164"/>
                      <a:pt x="19" y="170"/>
                      <a:pt x="12" y="170"/>
                    </a:cubicBezTo>
                    <a:cubicBezTo>
                      <a:pt x="5" y="170"/>
                      <a:pt x="0" y="164"/>
                      <a:pt x="0" y="157"/>
                    </a:cubicBezTo>
                    <a:lnTo>
                      <a:pt x="0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381"/>
                <a:endParaRPr lang="en-US" sz="1792">
                  <a:solidFill>
                    <a:srgbClr val="717074"/>
                  </a:solidFill>
                </a:endParaRPr>
              </a:p>
            </p:txBody>
          </p:sp>
          <p:sp>
            <p:nvSpPr>
              <p:cNvPr id="20" name="Freeform 19"/>
              <p:cNvSpPr>
                <a:spLocks noEditPoints="1"/>
              </p:cNvSpPr>
              <p:nvPr/>
            </p:nvSpPr>
            <p:spPr bwMode="auto">
              <a:xfrm>
                <a:off x="3509963" y="5649913"/>
                <a:ext cx="579438" cy="655638"/>
              </a:xfrm>
              <a:custGeom>
                <a:avLst/>
                <a:gdLst>
                  <a:gd name="T0" fmla="*/ 129 w 154"/>
                  <a:gd name="T1" fmla="*/ 76 h 172"/>
                  <a:gd name="T2" fmla="*/ 77 w 154"/>
                  <a:gd name="T3" fmla="*/ 21 h 172"/>
                  <a:gd name="T4" fmla="*/ 25 w 154"/>
                  <a:gd name="T5" fmla="*/ 76 h 172"/>
                  <a:gd name="T6" fmla="*/ 129 w 154"/>
                  <a:gd name="T7" fmla="*/ 76 h 172"/>
                  <a:gd name="T8" fmla="*/ 81 w 154"/>
                  <a:gd name="T9" fmla="*/ 172 h 172"/>
                  <a:gd name="T10" fmla="*/ 0 w 154"/>
                  <a:gd name="T11" fmla="*/ 86 h 172"/>
                  <a:gd name="T12" fmla="*/ 0 w 154"/>
                  <a:gd name="T13" fmla="*/ 85 h 172"/>
                  <a:gd name="T14" fmla="*/ 78 w 154"/>
                  <a:gd name="T15" fmla="*/ 0 h 172"/>
                  <a:gd name="T16" fmla="*/ 154 w 154"/>
                  <a:gd name="T17" fmla="*/ 83 h 172"/>
                  <a:gd name="T18" fmla="*/ 142 w 154"/>
                  <a:gd name="T19" fmla="*/ 95 h 172"/>
                  <a:gd name="T20" fmla="*/ 25 w 154"/>
                  <a:gd name="T21" fmla="*/ 95 h 172"/>
                  <a:gd name="T22" fmla="*/ 82 w 154"/>
                  <a:gd name="T23" fmla="*/ 150 h 172"/>
                  <a:gd name="T24" fmla="*/ 129 w 154"/>
                  <a:gd name="T25" fmla="*/ 131 h 172"/>
                  <a:gd name="T26" fmla="*/ 136 w 154"/>
                  <a:gd name="T27" fmla="*/ 128 h 172"/>
                  <a:gd name="T28" fmla="*/ 146 w 154"/>
                  <a:gd name="T29" fmla="*/ 139 h 172"/>
                  <a:gd name="T30" fmla="*/ 142 w 154"/>
                  <a:gd name="T31" fmla="*/ 147 h 172"/>
                  <a:gd name="T32" fmla="*/ 81 w 154"/>
                  <a:gd name="T33" fmla="*/ 172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4" h="172">
                    <a:moveTo>
                      <a:pt x="129" y="76"/>
                    </a:moveTo>
                    <a:cubicBezTo>
                      <a:pt x="127" y="47"/>
                      <a:pt x="110" y="21"/>
                      <a:pt x="77" y="21"/>
                    </a:cubicBezTo>
                    <a:cubicBezTo>
                      <a:pt x="49" y="21"/>
                      <a:pt x="28" y="44"/>
                      <a:pt x="25" y="76"/>
                    </a:cubicBezTo>
                    <a:lnTo>
                      <a:pt x="129" y="76"/>
                    </a:lnTo>
                    <a:close/>
                    <a:moveTo>
                      <a:pt x="81" y="172"/>
                    </a:moveTo>
                    <a:cubicBezTo>
                      <a:pt x="36" y="172"/>
                      <a:pt x="0" y="137"/>
                      <a:pt x="0" y="86"/>
                    </a:cubicBezTo>
                    <a:cubicBezTo>
                      <a:pt x="0" y="85"/>
                      <a:pt x="0" y="85"/>
                      <a:pt x="0" y="85"/>
                    </a:cubicBezTo>
                    <a:cubicBezTo>
                      <a:pt x="0" y="38"/>
                      <a:pt x="33" y="0"/>
                      <a:pt x="78" y="0"/>
                    </a:cubicBezTo>
                    <a:cubicBezTo>
                      <a:pt x="126" y="0"/>
                      <a:pt x="154" y="40"/>
                      <a:pt x="154" y="83"/>
                    </a:cubicBezTo>
                    <a:cubicBezTo>
                      <a:pt x="154" y="90"/>
                      <a:pt x="148" y="95"/>
                      <a:pt x="142" y="95"/>
                    </a:cubicBezTo>
                    <a:cubicBezTo>
                      <a:pt x="25" y="95"/>
                      <a:pt x="25" y="95"/>
                      <a:pt x="25" y="95"/>
                    </a:cubicBezTo>
                    <a:cubicBezTo>
                      <a:pt x="28" y="130"/>
                      <a:pt x="53" y="150"/>
                      <a:pt x="82" y="150"/>
                    </a:cubicBezTo>
                    <a:cubicBezTo>
                      <a:pt x="102" y="150"/>
                      <a:pt x="117" y="142"/>
                      <a:pt x="129" y="131"/>
                    </a:cubicBezTo>
                    <a:cubicBezTo>
                      <a:pt x="131" y="130"/>
                      <a:pt x="133" y="128"/>
                      <a:pt x="136" y="128"/>
                    </a:cubicBezTo>
                    <a:cubicBezTo>
                      <a:pt x="142" y="128"/>
                      <a:pt x="146" y="133"/>
                      <a:pt x="146" y="139"/>
                    </a:cubicBezTo>
                    <a:cubicBezTo>
                      <a:pt x="146" y="142"/>
                      <a:pt x="145" y="145"/>
                      <a:pt x="142" y="147"/>
                    </a:cubicBezTo>
                    <a:cubicBezTo>
                      <a:pt x="127" y="162"/>
                      <a:pt x="109" y="172"/>
                      <a:pt x="81" y="17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381"/>
                <a:endParaRPr lang="en-US" sz="1792">
                  <a:solidFill>
                    <a:srgbClr val="717074"/>
                  </a:solidFill>
                </a:endParaRPr>
              </a:p>
            </p:txBody>
          </p:sp>
          <p:sp>
            <p:nvSpPr>
              <p:cNvPr id="21" name="Freeform 20"/>
              <p:cNvSpPr>
                <a:spLocks noEditPoints="1"/>
              </p:cNvSpPr>
              <p:nvPr/>
            </p:nvSpPr>
            <p:spPr bwMode="auto">
              <a:xfrm>
                <a:off x="2503488" y="5649913"/>
                <a:ext cx="547688" cy="655638"/>
              </a:xfrm>
              <a:custGeom>
                <a:avLst/>
                <a:gdLst>
                  <a:gd name="T0" fmla="*/ 122 w 146"/>
                  <a:gd name="T1" fmla="*/ 107 h 172"/>
                  <a:gd name="T2" fmla="*/ 122 w 146"/>
                  <a:gd name="T3" fmla="*/ 91 h 172"/>
                  <a:gd name="T4" fmla="*/ 74 w 146"/>
                  <a:gd name="T5" fmla="*/ 84 h 172"/>
                  <a:gd name="T6" fmla="*/ 25 w 146"/>
                  <a:gd name="T7" fmla="*/ 118 h 172"/>
                  <a:gd name="T8" fmla="*/ 25 w 146"/>
                  <a:gd name="T9" fmla="*/ 119 h 172"/>
                  <a:gd name="T10" fmla="*/ 67 w 146"/>
                  <a:gd name="T11" fmla="*/ 152 h 172"/>
                  <a:gd name="T12" fmla="*/ 122 w 146"/>
                  <a:gd name="T13" fmla="*/ 107 h 172"/>
                  <a:gd name="T14" fmla="*/ 0 w 146"/>
                  <a:gd name="T15" fmla="*/ 120 h 172"/>
                  <a:gd name="T16" fmla="*/ 0 w 146"/>
                  <a:gd name="T17" fmla="*/ 119 h 172"/>
                  <a:gd name="T18" fmla="*/ 71 w 146"/>
                  <a:gd name="T19" fmla="*/ 66 h 172"/>
                  <a:gd name="T20" fmla="*/ 122 w 146"/>
                  <a:gd name="T21" fmla="*/ 73 h 172"/>
                  <a:gd name="T22" fmla="*/ 122 w 146"/>
                  <a:gd name="T23" fmla="*/ 67 h 172"/>
                  <a:gd name="T24" fmla="*/ 73 w 146"/>
                  <a:gd name="T25" fmla="*/ 22 h 172"/>
                  <a:gd name="T26" fmla="*/ 34 w 146"/>
                  <a:gd name="T27" fmla="*/ 30 h 172"/>
                  <a:gd name="T28" fmla="*/ 30 w 146"/>
                  <a:gd name="T29" fmla="*/ 31 h 172"/>
                  <a:gd name="T30" fmla="*/ 19 w 146"/>
                  <a:gd name="T31" fmla="*/ 20 h 172"/>
                  <a:gd name="T32" fmla="*/ 26 w 146"/>
                  <a:gd name="T33" fmla="*/ 10 h 172"/>
                  <a:gd name="T34" fmla="*/ 75 w 146"/>
                  <a:gd name="T35" fmla="*/ 0 h 172"/>
                  <a:gd name="T36" fmla="*/ 129 w 146"/>
                  <a:gd name="T37" fmla="*/ 19 h 172"/>
                  <a:gd name="T38" fmla="*/ 146 w 146"/>
                  <a:gd name="T39" fmla="*/ 67 h 172"/>
                  <a:gd name="T40" fmla="*/ 146 w 146"/>
                  <a:gd name="T41" fmla="*/ 158 h 172"/>
                  <a:gd name="T42" fmla="*/ 134 w 146"/>
                  <a:gd name="T43" fmla="*/ 170 h 172"/>
                  <a:gd name="T44" fmla="*/ 122 w 146"/>
                  <a:gd name="T45" fmla="*/ 159 h 172"/>
                  <a:gd name="T46" fmla="*/ 122 w 146"/>
                  <a:gd name="T47" fmla="*/ 143 h 172"/>
                  <a:gd name="T48" fmla="*/ 62 w 146"/>
                  <a:gd name="T49" fmla="*/ 172 h 172"/>
                  <a:gd name="T50" fmla="*/ 0 w 146"/>
                  <a:gd name="T51" fmla="*/ 120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46" h="172">
                    <a:moveTo>
                      <a:pt x="122" y="107"/>
                    </a:moveTo>
                    <a:cubicBezTo>
                      <a:pt x="122" y="91"/>
                      <a:pt x="122" y="91"/>
                      <a:pt x="122" y="91"/>
                    </a:cubicBezTo>
                    <a:cubicBezTo>
                      <a:pt x="110" y="88"/>
                      <a:pt x="94" y="84"/>
                      <a:pt x="74" y="84"/>
                    </a:cubicBezTo>
                    <a:cubicBezTo>
                      <a:pt x="43" y="84"/>
                      <a:pt x="25" y="98"/>
                      <a:pt x="25" y="118"/>
                    </a:cubicBezTo>
                    <a:cubicBezTo>
                      <a:pt x="25" y="119"/>
                      <a:pt x="25" y="119"/>
                      <a:pt x="25" y="119"/>
                    </a:cubicBezTo>
                    <a:cubicBezTo>
                      <a:pt x="25" y="140"/>
                      <a:pt x="45" y="152"/>
                      <a:pt x="67" y="152"/>
                    </a:cubicBezTo>
                    <a:cubicBezTo>
                      <a:pt x="97" y="152"/>
                      <a:pt x="122" y="133"/>
                      <a:pt x="122" y="107"/>
                    </a:cubicBezTo>
                    <a:moveTo>
                      <a:pt x="0" y="120"/>
                    </a:moveTo>
                    <a:cubicBezTo>
                      <a:pt x="0" y="119"/>
                      <a:pt x="0" y="119"/>
                      <a:pt x="0" y="119"/>
                    </a:cubicBezTo>
                    <a:cubicBezTo>
                      <a:pt x="0" y="85"/>
                      <a:pt x="29" y="66"/>
                      <a:pt x="71" y="66"/>
                    </a:cubicBezTo>
                    <a:cubicBezTo>
                      <a:pt x="92" y="66"/>
                      <a:pt x="107" y="69"/>
                      <a:pt x="122" y="73"/>
                    </a:cubicBezTo>
                    <a:cubicBezTo>
                      <a:pt x="122" y="67"/>
                      <a:pt x="122" y="67"/>
                      <a:pt x="122" y="67"/>
                    </a:cubicBezTo>
                    <a:cubicBezTo>
                      <a:pt x="122" y="37"/>
                      <a:pt x="104" y="22"/>
                      <a:pt x="73" y="22"/>
                    </a:cubicBezTo>
                    <a:cubicBezTo>
                      <a:pt x="56" y="22"/>
                      <a:pt x="46" y="24"/>
                      <a:pt x="34" y="30"/>
                    </a:cubicBezTo>
                    <a:cubicBezTo>
                      <a:pt x="33" y="30"/>
                      <a:pt x="31" y="31"/>
                      <a:pt x="30" y="31"/>
                    </a:cubicBezTo>
                    <a:cubicBezTo>
                      <a:pt x="24" y="31"/>
                      <a:pt x="19" y="26"/>
                      <a:pt x="19" y="20"/>
                    </a:cubicBezTo>
                    <a:cubicBezTo>
                      <a:pt x="19" y="15"/>
                      <a:pt x="21" y="12"/>
                      <a:pt x="26" y="10"/>
                    </a:cubicBezTo>
                    <a:cubicBezTo>
                      <a:pt x="42" y="3"/>
                      <a:pt x="54" y="0"/>
                      <a:pt x="75" y="0"/>
                    </a:cubicBezTo>
                    <a:cubicBezTo>
                      <a:pt x="99" y="0"/>
                      <a:pt x="117" y="6"/>
                      <a:pt x="129" y="19"/>
                    </a:cubicBezTo>
                    <a:cubicBezTo>
                      <a:pt x="140" y="30"/>
                      <a:pt x="146" y="46"/>
                      <a:pt x="146" y="67"/>
                    </a:cubicBezTo>
                    <a:cubicBezTo>
                      <a:pt x="146" y="158"/>
                      <a:pt x="146" y="158"/>
                      <a:pt x="146" y="158"/>
                    </a:cubicBezTo>
                    <a:cubicBezTo>
                      <a:pt x="146" y="165"/>
                      <a:pt x="141" y="170"/>
                      <a:pt x="134" y="170"/>
                    </a:cubicBezTo>
                    <a:cubicBezTo>
                      <a:pt x="127" y="170"/>
                      <a:pt x="122" y="165"/>
                      <a:pt x="122" y="159"/>
                    </a:cubicBezTo>
                    <a:cubicBezTo>
                      <a:pt x="122" y="143"/>
                      <a:pt x="122" y="143"/>
                      <a:pt x="122" y="143"/>
                    </a:cubicBezTo>
                    <a:cubicBezTo>
                      <a:pt x="111" y="158"/>
                      <a:pt x="91" y="172"/>
                      <a:pt x="62" y="172"/>
                    </a:cubicBezTo>
                    <a:cubicBezTo>
                      <a:pt x="32" y="172"/>
                      <a:pt x="0" y="154"/>
                      <a:pt x="0" y="12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381"/>
                <a:endParaRPr lang="en-US" sz="1792">
                  <a:solidFill>
                    <a:srgbClr val="717074"/>
                  </a:solidFill>
                </a:endParaRPr>
              </a:p>
            </p:txBody>
          </p:sp>
          <p:sp>
            <p:nvSpPr>
              <p:cNvPr id="22" name="Freeform 10"/>
              <p:cNvSpPr>
                <a:spLocks/>
              </p:cNvSpPr>
              <p:nvPr/>
            </p:nvSpPr>
            <p:spPr bwMode="auto">
              <a:xfrm>
                <a:off x="-84138" y="5622925"/>
                <a:ext cx="1635125" cy="682625"/>
              </a:xfrm>
              <a:custGeom>
                <a:avLst/>
                <a:gdLst>
                  <a:gd name="T0" fmla="*/ 49 w 435"/>
                  <a:gd name="T1" fmla="*/ 18 h 179"/>
                  <a:gd name="T2" fmla="*/ 17 w 435"/>
                  <a:gd name="T3" fmla="*/ 6 h 179"/>
                  <a:gd name="T4" fmla="*/ 6 w 435"/>
                  <a:gd name="T5" fmla="*/ 37 h 179"/>
                  <a:gd name="T6" fmla="*/ 58 w 435"/>
                  <a:gd name="T7" fmla="*/ 152 h 179"/>
                  <a:gd name="T8" fmla="*/ 92 w 435"/>
                  <a:gd name="T9" fmla="*/ 179 h 179"/>
                  <a:gd name="T10" fmla="*/ 125 w 435"/>
                  <a:gd name="T11" fmla="*/ 152 h 179"/>
                  <a:gd name="T12" fmla="*/ 171 w 435"/>
                  <a:gd name="T13" fmla="*/ 51 h 179"/>
                  <a:gd name="T14" fmla="*/ 178 w 435"/>
                  <a:gd name="T15" fmla="*/ 46 h 179"/>
                  <a:gd name="T16" fmla="*/ 185 w 435"/>
                  <a:gd name="T17" fmla="*/ 54 h 179"/>
                  <a:gd name="T18" fmla="*/ 185 w 435"/>
                  <a:gd name="T19" fmla="*/ 151 h 179"/>
                  <a:gd name="T20" fmla="*/ 209 w 435"/>
                  <a:gd name="T21" fmla="*/ 179 h 179"/>
                  <a:gd name="T22" fmla="*/ 234 w 435"/>
                  <a:gd name="T23" fmla="*/ 151 h 179"/>
                  <a:gd name="T24" fmla="*/ 234 w 435"/>
                  <a:gd name="T25" fmla="*/ 72 h 179"/>
                  <a:gd name="T26" fmla="*/ 260 w 435"/>
                  <a:gd name="T27" fmla="*/ 46 h 179"/>
                  <a:gd name="T28" fmla="*/ 285 w 435"/>
                  <a:gd name="T29" fmla="*/ 72 h 179"/>
                  <a:gd name="T30" fmla="*/ 285 w 435"/>
                  <a:gd name="T31" fmla="*/ 151 h 179"/>
                  <a:gd name="T32" fmla="*/ 310 w 435"/>
                  <a:gd name="T33" fmla="*/ 179 h 179"/>
                  <a:gd name="T34" fmla="*/ 334 w 435"/>
                  <a:gd name="T35" fmla="*/ 151 h 179"/>
                  <a:gd name="T36" fmla="*/ 334 w 435"/>
                  <a:gd name="T37" fmla="*/ 72 h 179"/>
                  <a:gd name="T38" fmla="*/ 360 w 435"/>
                  <a:gd name="T39" fmla="*/ 46 h 179"/>
                  <a:gd name="T40" fmla="*/ 385 w 435"/>
                  <a:gd name="T41" fmla="*/ 72 h 179"/>
                  <a:gd name="T42" fmla="*/ 385 w 435"/>
                  <a:gd name="T43" fmla="*/ 151 h 179"/>
                  <a:gd name="T44" fmla="*/ 410 w 435"/>
                  <a:gd name="T45" fmla="*/ 179 h 179"/>
                  <a:gd name="T46" fmla="*/ 435 w 435"/>
                  <a:gd name="T47" fmla="*/ 151 h 179"/>
                  <a:gd name="T48" fmla="*/ 435 w 435"/>
                  <a:gd name="T49" fmla="*/ 61 h 179"/>
                  <a:gd name="T50" fmla="*/ 375 w 435"/>
                  <a:gd name="T51" fmla="*/ 4 h 179"/>
                  <a:gd name="T52" fmla="*/ 323 w 435"/>
                  <a:gd name="T53" fmla="*/ 26 h 179"/>
                  <a:gd name="T54" fmla="*/ 272 w 435"/>
                  <a:gd name="T55" fmla="*/ 4 h 179"/>
                  <a:gd name="T56" fmla="*/ 223 w 435"/>
                  <a:gd name="T57" fmla="*/ 26 h 179"/>
                  <a:gd name="T58" fmla="*/ 178 w 435"/>
                  <a:gd name="T59" fmla="*/ 4 h 179"/>
                  <a:gd name="T60" fmla="*/ 125 w 435"/>
                  <a:gd name="T61" fmla="*/ 40 h 179"/>
                  <a:gd name="T62" fmla="*/ 92 w 435"/>
                  <a:gd name="T63" fmla="*/ 119 h 179"/>
                  <a:gd name="T64" fmla="*/ 49 w 435"/>
                  <a:gd name="T65" fmla="*/ 18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35" h="179">
                    <a:moveTo>
                      <a:pt x="49" y="18"/>
                    </a:moveTo>
                    <a:cubicBezTo>
                      <a:pt x="43" y="6"/>
                      <a:pt x="30" y="0"/>
                      <a:pt x="17" y="6"/>
                    </a:cubicBezTo>
                    <a:cubicBezTo>
                      <a:pt x="5" y="12"/>
                      <a:pt x="0" y="25"/>
                      <a:pt x="6" y="37"/>
                    </a:cubicBezTo>
                    <a:cubicBezTo>
                      <a:pt x="58" y="152"/>
                      <a:pt x="58" y="152"/>
                      <a:pt x="58" y="152"/>
                    </a:cubicBezTo>
                    <a:cubicBezTo>
                      <a:pt x="67" y="169"/>
                      <a:pt x="75" y="179"/>
                      <a:pt x="92" y="179"/>
                    </a:cubicBezTo>
                    <a:cubicBezTo>
                      <a:pt x="109" y="179"/>
                      <a:pt x="117" y="169"/>
                      <a:pt x="125" y="152"/>
                    </a:cubicBezTo>
                    <a:cubicBezTo>
                      <a:pt x="125" y="152"/>
                      <a:pt x="171" y="52"/>
                      <a:pt x="171" y="51"/>
                    </a:cubicBezTo>
                    <a:cubicBezTo>
                      <a:pt x="172" y="50"/>
                      <a:pt x="173" y="46"/>
                      <a:pt x="178" y="46"/>
                    </a:cubicBezTo>
                    <a:cubicBezTo>
                      <a:pt x="182" y="47"/>
                      <a:pt x="185" y="50"/>
                      <a:pt x="185" y="54"/>
                    </a:cubicBezTo>
                    <a:cubicBezTo>
                      <a:pt x="185" y="151"/>
                      <a:pt x="185" y="151"/>
                      <a:pt x="185" y="151"/>
                    </a:cubicBezTo>
                    <a:cubicBezTo>
                      <a:pt x="185" y="166"/>
                      <a:pt x="193" y="179"/>
                      <a:pt x="209" y="179"/>
                    </a:cubicBezTo>
                    <a:cubicBezTo>
                      <a:pt x="225" y="179"/>
                      <a:pt x="234" y="166"/>
                      <a:pt x="234" y="151"/>
                    </a:cubicBezTo>
                    <a:cubicBezTo>
                      <a:pt x="234" y="72"/>
                      <a:pt x="234" y="72"/>
                      <a:pt x="234" y="72"/>
                    </a:cubicBezTo>
                    <a:cubicBezTo>
                      <a:pt x="234" y="56"/>
                      <a:pt x="245" y="46"/>
                      <a:pt x="260" y="46"/>
                    </a:cubicBezTo>
                    <a:cubicBezTo>
                      <a:pt x="275" y="46"/>
                      <a:pt x="285" y="57"/>
                      <a:pt x="285" y="72"/>
                    </a:cubicBezTo>
                    <a:cubicBezTo>
                      <a:pt x="285" y="151"/>
                      <a:pt x="285" y="151"/>
                      <a:pt x="285" y="151"/>
                    </a:cubicBezTo>
                    <a:cubicBezTo>
                      <a:pt x="285" y="166"/>
                      <a:pt x="294" y="179"/>
                      <a:pt x="310" y="179"/>
                    </a:cubicBezTo>
                    <a:cubicBezTo>
                      <a:pt x="326" y="179"/>
                      <a:pt x="334" y="166"/>
                      <a:pt x="334" y="151"/>
                    </a:cubicBezTo>
                    <a:cubicBezTo>
                      <a:pt x="334" y="72"/>
                      <a:pt x="334" y="72"/>
                      <a:pt x="334" y="72"/>
                    </a:cubicBezTo>
                    <a:cubicBezTo>
                      <a:pt x="334" y="56"/>
                      <a:pt x="345" y="46"/>
                      <a:pt x="360" y="46"/>
                    </a:cubicBezTo>
                    <a:cubicBezTo>
                      <a:pt x="375" y="46"/>
                      <a:pt x="385" y="57"/>
                      <a:pt x="385" y="72"/>
                    </a:cubicBezTo>
                    <a:cubicBezTo>
                      <a:pt x="385" y="151"/>
                      <a:pt x="385" y="151"/>
                      <a:pt x="385" y="151"/>
                    </a:cubicBezTo>
                    <a:cubicBezTo>
                      <a:pt x="385" y="166"/>
                      <a:pt x="394" y="179"/>
                      <a:pt x="410" y="179"/>
                    </a:cubicBezTo>
                    <a:cubicBezTo>
                      <a:pt x="426" y="179"/>
                      <a:pt x="435" y="166"/>
                      <a:pt x="435" y="151"/>
                    </a:cubicBezTo>
                    <a:cubicBezTo>
                      <a:pt x="435" y="61"/>
                      <a:pt x="435" y="61"/>
                      <a:pt x="435" y="61"/>
                    </a:cubicBezTo>
                    <a:cubicBezTo>
                      <a:pt x="435" y="27"/>
                      <a:pt x="408" y="4"/>
                      <a:pt x="375" y="4"/>
                    </a:cubicBezTo>
                    <a:cubicBezTo>
                      <a:pt x="343" y="4"/>
                      <a:pt x="323" y="26"/>
                      <a:pt x="323" y="26"/>
                    </a:cubicBezTo>
                    <a:cubicBezTo>
                      <a:pt x="312" y="12"/>
                      <a:pt x="297" y="4"/>
                      <a:pt x="272" y="4"/>
                    </a:cubicBezTo>
                    <a:cubicBezTo>
                      <a:pt x="246" y="4"/>
                      <a:pt x="223" y="26"/>
                      <a:pt x="223" y="26"/>
                    </a:cubicBezTo>
                    <a:cubicBezTo>
                      <a:pt x="212" y="12"/>
                      <a:pt x="194" y="4"/>
                      <a:pt x="178" y="4"/>
                    </a:cubicBezTo>
                    <a:cubicBezTo>
                      <a:pt x="155" y="4"/>
                      <a:pt x="136" y="14"/>
                      <a:pt x="125" y="40"/>
                    </a:cubicBezTo>
                    <a:cubicBezTo>
                      <a:pt x="92" y="119"/>
                      <a:pt x="92" y="119"/>
                      <a:pt x="92" y="119"/>
                    </a:cubicBezTo>
                    <a:lnTo>
                      <a:pt x="49" y="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381"/>
                <a:endParaRPr lang="en-US" sz="1792">
                  <a:solidFill>
                    <a:srgbClr val="717074"/>
                  </a:solidFill>
                </a:endParaRPr>
              </a:p>
            </p:txBody>
          </p:sp>
          <p:sp>
            <p:nvSpPr>
              <p:cNvPr id="23" name="Freeform 11"/>
              <p:cNvSpPr>
                <a:spLocks noEditPoints="1"/>
              </p:cNvSpPr>
              <p:nvPr/>
            </p:nvSpPr>
            <p:spPr bwMode="auto">
              <a:xfrm>
                <a:off x="4097338" y="5649913"/>
                <a:ext cx="149225" cy="157163"/>
              </a:xfrm>
              <a:custGeom>
                <a:avLst/>
                <a:gdLst>
                  <a:gd name="T0" fmla="*/ 37 w 40"/>
                  <a:gd name="T1" fmla="*/ 20 h 41"/>
                  <a:gd name="T2" fmla="*/ 37 w 40"/>
                  <a:gd name="T3" fmla="*/ 20 h 41"/>
                  <a:gd name="T4" fmla="*/ 20 w 40"/>
                  <a:gd name="T5" fmla="*/ 4 h 41"/>
                  <a:gd name="T6" fmla="*/ 3 w 40"/>
                  <a:gd name="T7" fmla="*/ 20 h 41"/>
                  <a:gd name="T8" fmla="*/ 3 w 40"/>
                  <a:gd name="T9" fmla="*/ 21 h 41"/>
                  <a:gd name="T10" fmla="*/ 20 w 40"/>
                  <a:gd name="T11" fmla="*/ 37 h 41"/>
                  <a:gd name="T12" fmla="*/ 37 w 40"/>
                  <a:gd name="T13" fmla="*/ 20 h 41"/>
                  <a:gd name="T14" fmla="*/ 0 w 40"/>
                  <a:gd name="T15" fmla="*/ 21 h 41"/>
                  <a:gd name="T16" fmla="*/ 0 w 40"/>
                  <a:gd name="T17" fmla="*/ 20 h 41"/>
                  <a:gd name="T18" fmla="*/ 20 w 40"/>
                  <a:gd name="T19" fmla="*/ 0 h 41"/>
                  <a:gd name="T20" fmla="*/ 40 w 40"/>
                  <a:gd name="T21" fmla="*/ 20 h 41"/>
                  <a:gd name="T22" fmla="*/ 40 w 40"/>
                  <a:gd name="T23" fmla="*/ 20 h 41"/>
                  <a:gd name="T24" fmla="*/ 20 w 40"/>
                  <a:gd name="T25" fmla="*/ 41 h 41"/>
                  <a:gd name="T26" fmla="*/ 0 w 40"/>
                  <a:gd name="T27" fmla="*/ 2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0" h="41">
                    <a:moveTo>
                      <a:pt x="37" y="20"/>
                    </a:moveTo>
                    <a:cubicBezTo>
                      <a:pt x="37" y="20"/>
                      <a:pt x="37" y="20"/>
                      <a:pt x="37" y="20"/>
                    </a:cubicBezTo>
                    <a:cubicBezTo>
                      <a:pt x="37" y="11"/>
                      <a:pt x="29" y="4"/>
                      <a:pt x="20" y="4"/>
                    </a:cubicBezTo>
                    <a:cubicBezTo>
                      <a:pt x="11" y="4"/>
                      <a:pt x="3" y="11"/>
                      <a:pt x="3" y="20"/>
                    </a:cubicBezTo>
                    <a:cubicBezTo>
                      <a:pt x="3" y="21"/>
                      <a:pt x="3" y="21"/>
                      <a:pt x="3" y="21"/>
                    </a:cubicBezTo>
                    <a:cubicBezTo>
                      <a:pt x="3" y="30"/>
                      <a:pt x="11" y="37"/>
                      <a:pt x="20" y="37"/>
                    </a:cubicBezTo>
                    <a:cubicBezTo>
                      <a:pt x="29" y="37"/>
                      <a:pt x="37" y="30"/>
                      <a:pt x="37" y="20"/>
                    </a:cubicBezTo>
                    <a:moveTo>
                      <a:pt x="0" y="21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2" y="0"/>
                      <a:pt x="40" y="9"/>
                      <a:pt x="40" y="20"/>
                    </a:cubicBezTo>
                    <a:cubicBezTo>
                      <a:pt x="40" y="20"/>
                      <a:pt x="40" y="20"/>
                      <a:pt x="40" y="20"/>
                    </a:cubicBezTo>
                    <a:cubicBezTo>
                      <a:pt x="40" y="32"/>
                      <a:pt x="31" y="41"/>
                      <a:pt x="20" y="41"/>
                    </a:cubicBezTo>
                    <a:cubicBezTo>
                      <a:pt x="8" y="41"/>
                      <a:pt x="0" y="32"/>
                      <a:pt x="0" y="2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381"/>
                <a:endParaRPr lang="en-US" sz="1792">
                  <a:solidFill>
                    <a:srgbClr val="717074"/>
                  </a:solidFill>
                </a:endParaRPr>
              </a:p>
            </p:txBody>
          </p:sp>
          <p:sp>
            <p:nvSpPr>
              <p:cNvPr id="24" name="Freeform 12"/>
              <p:cNvSpPr>
                <a:spLocks noEditPoints="1"/>
              </p:cNvSpPr>
              <p:nvPr/>
            </p:nvSpPr>
            <p:spPr bwMode="auto">
              <a:xfrm>
                <a:off x="4141788" y="5688013"/>
                <a:ext cx="63500" cy="76200"/>
              </a:xfrm>
              <a:custGeom>
                <a:avLst/>
                <a:gdLst>
                  <a:gd name="T0" fmla="*/ 9 w 17"/>
                  <a:gd name="T1" fmla="*/ 10 h 20"/>
                  <a:gd name="T2" fmla="*/ 12 w 17"/>
                  <a:gd name="T3" fmla="*/ 7 h 20"/>
                  <a:gd name="T4" fmla="*/ 12 w 17"/>
                  <a:gd name="T5" fmla="*/ 7 h 20"/>
                  <a:gd name="T6" fmla="*/ 9 w 17"/>
                  <a:gd name="T7" fmla="*/ 4 h 20"/>
                  <a:gd name="T8" fmla="*/ 5 w 17"/>
                  <a:gd name="T9" fmla="*/ 4 h 20"/>
                  <a:gd name="T10" fmla="*/ 5 w 17"/>
                  <a:gd name="T11" fmla="*/ 10 h 20"/>
                  <a:gd name="T12" fmla="*/ 9 w 17"/>
                  <a:gd name="T13" fmla="*/ 10 h 20"/>
                  <a:gd name="T14" fmla="*/ 0 w 17"/>
                  <a:gd name="T15" fmla="*/ 2 h 20"/>
                  <a:gd name="T16" fmla="*/ 2 w 17"/>
                  <a:gd name="T17" fmla="*/ 0 h 20"/>
                  <a:gd name="T18" fmla="*/ 9 w 17"/>
                  <a:gd name="T19" fmla="*/ 0 h 20"/>
                  <a:gd name="T20" fmla="*/ 15 w 17"/>
                  <a:gd name="T21" fmla="*/ 2 h 20"/>
                  <a:gd name="T22" fmla="*/ 17 w 17"/>
                  <a:gd name="T23" fmla="*/ 7 h 20"/>
                  <a:gd name="T24" fmla="*/ 17 w 17"/>
                  <a:gd name="T25" fmla="*/ 7 h 20"/>
                  <a:gd name="T26" fmla="*/ 13 w 17"/>
                  <a:gd name="T27" fmla="*/ 13 h 20"/>
                  <a:gd name="T28" fmla="*/ 16 w 17"/>
                  <a:gd name="T29" fmla="*/ 17 h 20"/>
                  <a:gd name="T30" fmla="*/ 16 w 17"/>
                  <a:gd name="T31" fmla="*/ 18 h 20"/>
                  <a:gd name="T32" fmla="*/ 14 w 17"/>
                  <a:gd name="T33" fmla="*/ 20 h 20"/>
                  <a:gd name="T34" fmla="*/ 12 w 17"/>
                  <a:gd name="T35" fmla="*/ 19 h 20"/>
                  <a:gd name="T36" fmla="*/ 8 w 17"/>
                  <a:gd name="T37" fmla="*/ 14 h 20"/>
                  <a:gd name="T38" fmla="*/ 5 w 17"/>
                  <a:gd name="T39" fmla="*/ 14 h 20"/>
                  <a:gd name="T40" fmla="*/ 5 w 17"/>
                  <a:gd name="T41" fmla="*/ 18 h 20"/>
                  <a:gd name="T42" fmla="*/ 2 w 17"/>
                  <a:gd name="T43" fmla="*/ 20 h 20"/>
                  <a:gd name="T44" fmla="*/ 0 w 17"/>
                  <a:gd name="T45" fmla="*/ 18 h 20"/>
                  <a:gd name="T46" fmla="*/ 0 w 17"/>
                  <a:gd name="T47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7" h="20">
                    <a:moveTo>
                      <a:pt x="9" y="10"/>
                    </a:moveTo>
                    <a:cubicBezTo>
                      <a:pt x="11" y="10"/>
                      <a:pt x="12" y="9"/>
                      <a:pt x="12" y="7"/>
                    </a:cubicBezTo>
                    <a:cubicBezTo>
                      <a:pt x="12" y="7"/>
                      <a:pt x="12" y="7"/>
                      <a:pt x="12" y="7"/>
                    </a:cubicBezTo>
                    <a:cubicBezTo>
                      <a:pt x="12" y="5"/>
                      <a:pt x="11" y="4"/>
                      <a:pt x="9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10"/>
                      <a:pt x="5" y="10"/>
                      <a:pt x="5" y="10"/>
                    </a:cubicBezTo>
                    <a:lnTo>
                      <a:pt x="9" y="10"/>
                    </a:lnTo>
                    <a:close/>
                    <a:moveTo>
                      <a:pt x="0" y="2"/>
                    </a:moveTo>
                    <a:cubicBezTo>
                      <a:pt x="0" y="1"/>
                      <a:pt x="1" y="0"/>
                      <a:pt x="2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2" y="0"/>
                      <a:pt x="14" y="1"/>
                      <a:pt x="15" y="2"/>
                    </a:cubicBezTo>
                    <a:cubicBezTo>
                      <a:pt x="16" y="3"/>
                      <a:pt x="17" y="5"/>
                      <a:pt x="17" y="7"/>
                    </a:cubicBezTo>
                    <a:cubicBezTo>
                      <a:pt x="17" y="7"/>
                      <a:pt x="17" y="7"/>
                      <a:pt x="17" y="7"/>
                    </a:cubicBezTo>
                    <a:cubicBezTo>
                      <a:pt x="17" y="10"/>
                      <a:pt x="15" y="12"/>
                      <a:pt x="13" y="13"/>
                    </a:cubicBezTo>
                    <a:cubicBezTo>
                      <a:pt x="16" y="17"/>
                      <a:pt x="16" y="17"/>
                      <a:pt x="16" y="17"/>
                    </a:cubicBezTo>
                    <a:cubicBezTo>
                      <a:pt x="16" y="17"/>
                      <a:pt x="16" y="18"/>
                      <a:pt x="16" y="18"/>
                    </a:cubicBezTo>
                    <a:cubicBezTo>
                      <a:pt x="16" y="19"/>
                      <a:pt x="15" y="20"/>
                      <a:pt x="14" y="20"/>
                    </a:cubicBezTo>
                    <a:cubicBezTo>
                      <a:pt x="13" y="20"/>
                      <a:pt x="13" y="20"/>
                      <a:pt x="12" y="19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5" y="14"/>
                      <a:pt x="5" y="14"/>
                      <a:pt x="5" y="14"/>
                    </a:cubicBezTo>
                    <a:cubicBezTo>
                      <a:pt x="5" y="18"/>
                      <a:pt x="5" y="18"/>
                      <a:pt x="5" y="18"/>
                    </a:cubicBezTo>
                    <a:cubicBezTo>
                      <a:pt x="5" y="19"/>
                      <a:pt x="4" y="20"/>
                      <a:pt x="2" y="20"/>
                    </a:cubicBezTo>
                    <a:cubicBezTo>
                      <a:pt x="1" y="20"/>
                      <a:pt x="0" y="19"/>
                      <a:pt x="0" y="18"/>
                    </a:cubicBez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381"/>
                <a:endParaRPr lang="en-US" sz="1792">
                  <a:solidFill>
                    <a:srgbClr val="717074"/>
                  </a:solidFill>
                </a:endParaRPr>
              </a:p>
            </p:txBody>
          </p:sp>
        </p:grpSp>
      </p:grp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05601" y="2209800"/>
            <a:ext cx="4389120" cy="1676400"/>
          </a:xfrm>
        </p:spPr>
        <p:txBody>
          <a:bodyPr anchor="b"/>
          <a:lstStyle>
            <a:lvl1pPr marL="3161" indent="0">
              <a:spcBef>
                <a:spcPts val="0"/>
              </a:spcBef>
              <a:buNone/>
              <a:defRPr sz="10952">
                <a:solidFill>
                  <a:schemeClr val="bg1"/>
                </a:solidFill>
              </a:defRPr>
            </a:lvl1pPr>
            <a:lvl2pPr marL="3161" indent="0">
              <a:spcBef>
                <a:spcPts val="0"/>
              </a:spcBef>
              <a:buNone/>
              <a:defRPr sz="10952">
                <a:solidFill>
                  <a:schemeClr val="bg1"/>
                </a:solidFill>
              </a:defRPr>
            </a:lvl2pPr>
            <a:lvl3pPr marL="3161" indent="0">
              <a:spcBef>
                <a:spcPts val="0"/>
              </a:spcBef>
              <a:buNone/>
              <a:defRPr sz="10952">
                <a:solidFill>
                  <a:schemeClr val="bg1"/>
                </a:solidFill>
              </a:defRPr>
            </a:lvl3pPr>
            <a:lvl4pPr marL="3161" indent="0">
              <a:spcBef>
                <a:spcPts val="0"/>
              </a:spcBef>
              <a:buNone/>
              <a:defRPr sz="10952">
                <a:solidFill>
                  <a:schemeClr val="bg1"/>
                </a:solidFill>
              </a:defRPr>
            </a:lvl4pPr>
            <a:lvl5pPr marL="3161" indent="0">
              <a:spcBef>
                <a:spcPts val="0"/>
              </a:spcBef>
              <a:buNone/>
              <a:defRPr sz="10952">
                <a:solidFill>
                  <a:schemeClr val="bg1"/>
                </a:solidFill>
              </a:defRPr>
            </a:lvl5pPr>
            <a:lvl6pPr marL="3161" indent="0">
              <a:spcBef>
                <a:spcPts val="0"/>
              </a:spcBef>
              <a:buNone/>
              <a:defRPr sz="10952">
                <a:solidFill>
                  <a:schemeClr val="bg1"/>
                </a:solidFill>
              </a:defRPr>
            </a:lvl6pPr>
            <a:lvl7pPr marL="3161" indent="0">
              <a:spcBef>
                <a:spcPts val="0"/>
              </a:spcBef>
              <a:buNone/>
              <a:defRPr sz="10952">
                <a:solidFill>
                  <a:schemeClr val="bg1"/>
                </a:solidFill>
              </a:defRPr>
            </a:lvl7pPr>
            <a:lvl8pPr marL="3161" indent="0">
              <a:spcBef>
                <a:spcPts val="0"/>
              </a:spcBef>
              <a:buNone/>
              <a:defRPr sz="10952">
                <a:solidFill>
                  <a:schemeClr val="bg1"/>
                </a:solidFill>
              </a:defRPr>
            </a:lvl8pPr>
            <a:lvl9pPr marL="3161" indent="0">
              <a:spcBef>
                <a:spcPts val="0"/>
              </a:spcBef>
              <a:buNone/>
              <a:defRPr sz="10952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705601" y="3886200"/>
            <a:ext cx="4389120" cy="1066800"/>
          </a:xfrm>
        </p:spPr>
        <p:txBody>
          <a:bodyPr/>
          <a:lstStyle>
            <a:lvl1pPr marL="3161" indent="0">
              <a:spcBef>
                <a:spcPts val="0"/>
              </a:spcBef>
              <a:buNone/>
              <a:defRPr sz="2390" cap="none" baseline="0">
                <a:solidFill>
                  <a:schemeClr val="bg1"/>
                </a:solidFill>
              </a:defRPr>
            </a:lvl1pPr>
            <a:lvl2pPr marL="3161" indent="0">
              <a:spcBef>
                <a:spcPts val="0"/>
              </a:spcBef>
              <a:buNone/>
              <a:defRPr sz="2390" cap="none" baseline="0">
                <a:solidFill>
                  <a:schemeClr val="bg1"/>
                </a:solidFill>
              </a:defRPr>
            </a:lvl2pPr>
            <a:lvl3pPr marL="3161" indent="0">
              <a:spcBef>
                <a:spcPts val="0"/>
              </a:spcBef>
              <a:buNone/>
              <a:defRPr sz="1992" cap="all" baseline="0">
                <a:solidFill>
                  <a:schemeClr val="bg1"/>
                </a:solidFill>
              </a:defRPr>
            </a:lvl3pPr>
            <a:lvl4pPr marL="3161" indent="0">
              <a:spcBef>
                <a:spcPts val="0"/>
              </a:spcBef>
              <a:buNone/>
              <a:defRPr sz="1992" cap="all" baseline="0">
                <a:solidFill>
                  <a:schemeClr val="bg1"/>
                </a:solidFill>
              </a:defRPr>
            </a:lvl4pPr>
            <a:lvl5pPr marL="3161" indent="0">
              <a:spcBef>
                <a:spcPts val="0"/>
              </a:spcBef>
              <a:buNone/>
              <a:defRPr sz="1992" cap="all" baseline="0">
                <a:solidFill>
                  <a:schemeClr val="bg1"/>
                </a:solidFill>
              </a:defRPr>
            </a:lvl5pPr>
            <a:lvl6pPr marL="3161" indent="0">
              <a:spcBef>
                <a:spcPts val="0"/>
              </a:spcBef>
              <a:buNone/>
              <a:defRPr sz="1992" cap="all" baseline="0">
                <a:solidFill>
                  <a:schemeClr val="bg1"/>
                </a:solidFill>
              </a:defRPr>
            </a:lvl6pPr>
            <a:lvl7pPr marL="3161" indent="0">
              <a:spcBef>
                <a:spcPts val="0"/>
              </a:spcBef>
              <a:buNone/>
              <a:defRPr sz="1992" cap="all" baseline="0">
                <a:solidFill>
                  <a:schemeClr val="bg1"/>
                </a:solidFill>
              </a:defRPr>
            </a:lvl7pPr>
            <a:lvl8pPr marL="3161" indent="0">
              <a:spcBef>
                <a:spcPts val="0"/>
              </a:spcBef>
              <a:buNone/>
              <a:defRPr sz="1992" cap="all" baseline="0">
                <a:solidFill>
                  <a:schemeClr val="bg1"/>
                </a:solidFill>
              </a:defRPr>
            </a:lvl8pPr>
            <a:lvl9pPr marL="3161" indent="0">
              <a:spcBef>
                <a:spcPts val="0"/>
              </a:spcBef>
              <a:buNone/>
              <a:defRPr sz="1992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Metric 3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1" y="1981200"/>
            <a:ext cx="12192000" cy="4876800"/>
            <a:chOff x="0" y="1981200"/>
            <a:chExt cx="9144000" cy="4876800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1981200"/>
              <a:ext cx="9144000" cy="4876800"/>
            </a:xfrm>
            <a:prstGeom prst="rect">
              <a:avLst/>
            </a:prstGeom>
          </p:spPr>
        </p:pic>
        <p:grpSp>
          <p:nvGrpSpPr>
            <p:cNvPr id="16" name="Group 15"/>
            <p:cNvGrpSpPr/>
            <p:nvPr/>
          </p:nvGrpSpPr>
          <p:grpSpPr>
            <a:xfrm>
              <a:off x="448524" y="6446044"/>
              <a:ext cx="1099793" cy="173355"/>
              <a:chOff x="-84138" y="5622925"/>
              <a:chExt cx="4330701" cy="682626"/>
            </a:xfrm>
          </p:grpSpPr>
          <p:sp>
            <p:nvSpPr>
              <p:cNvPr id="17" name="Freeform 6"/>
              <p:cNvSpPr>
                <a:spLocks/>
              </p:cNvSpPr>
              <p:nvPr/>
            </p:nvSpPr>
            <p:spPr bwMode="auto">
              <a:xfrm>
                <a:off x="1589088" y="5649913"/>
                <a:ext cx="914400" cy="647700"/>
              </a:xfrm>
              <a:custGeom>
                <a:avLst/>
                <a:gdLst>
                  <a:gd name="T0" fmla="*/ 52 w 243"/>
                  <a:gd name="T1" fmla="*/ 159 h 170"/>
                  <a:gd name="T2" fmla="*/ 2 w 243"/>
                  <a:gd name="T3" fmla="*/ 19 h 170"/>
                  <a:gd name="T4" fmla="*/ 0 w 243"/>
                  <a:gd name="T5" fmla="*/ 12 h 170"/>
                  <a:gd name="T6" fmla="*/ 13 w 243"/>
                  <a:gd name="T7" fmla="*/ 0 h 170"/>
                  <a:gd name="T8" fmla="*/ 25 w 243"/>
                  <a:gd name="T9" fmla="*/ 11 h 170"/>
                  <a:gd name="T10" fmla="*/ 67 w 243"/>
                  <a:gd name="T11" fmla="*/ 131 h 170"/>
                  <a:gd name="T12" fmla="*/ 109 w 243"/>
                  <a:gd name="T13" fmla="*/ 10 h 170"/>
                  <a:gd name="T14" fmla="*/ 121 w 243"/>
                  <a:gd name="T15" fmla="*/ 0 h 170"/>
                  <a:gd name="T16" fmla="*/ 122 w 243"/>
                  <a:gd name="T17" fmla="*/ 0 h 170"/>
                  <a:gd name="T18" fmla="*/ 135 w 243"/>
                  <a:gd name="T19" fmla="*/ 10 h 170"/>
                  <a:gd name="T20" fmla="*/ 177 w 243"/>
                  <a:gd name="T21" fmla="*/ 131 h 170"/>
                  <a:gd name="T22" fmla="*/ 219 w 243"/>
                  <a:gd name="T23" fmla="*/ 10 h 170"/>
                  <a:gd name="T24" fmla="*/ 231 w 243"/>
                  <a:gd name="T25" fmla="*/ 0 h 170"/>
                  <a:gd name="T26" fmla="*/ 243 w 243"/>
                  <a:gd name="T27" fmla="*/ 12 h 170"/>
                  <a:gd name="T28" fmla="*/ 241 w 243"/>
                  <a:gd name="T29" fmla="*/ 19 h 170"/>
                  <a:gd name="T30" fmla="*/ 191 w 243"/>
                  <a:gd name="T31" fmla="*/ 159 h 170"/>
                  <a:gd name="T32" fmla="*/ 177 w 243"/>
                  <a:gd name="T33" fmla="*/ 170 h 170"/>
                  <a:gd name="T34" fmla="*/ 176 w 243"/>
                  <a:gd name="T35" fmla="*/ 170 h 170"/>
                  <a:gd name="T36" fmla="*/ 163 w 243"/>
                  <a:gd name="T37" fmla="*/ 159 h 170"/>
                  <a:gd name="T38" fmla="*/ 122 w 243"/>
                  <a:gd name="T39" fmla="*/ 40 h 170"/>
                  <a:gd name="T40" fmla="*/ 80 w 243"/>
                  <a:gd name="T41" fmla="*/ 159 h 170"/>
                  <a:gd name="T42" fmla="*/ 66 w 243"/>
                  <a:gd name="T43" fmla="*/ 170 h 170"/>
                  <a:gd name="T44" fmla="*/ 66 w 243"/>
                  <a:gd name="T45" fmla="*/ 170 h 170"/>
                  <a:gd name="T46" fmla="*/ 52 w 243"/>
                  <a:gd name="T47" fmla="*/ 159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43" h="170">
                    <a:moveTo>
                      <a:pt x="52" y="159"/>
                    </a:moveTo>
                    <a:cubicBezTo>
                      <a:pt x="2" y="19"/>
                      <a:pt x="2" y="19"/>
                      <a:pt x="2" y="19"/>
                    </a:cubicBezTo>
                    <a:cubicBezTo>
                      <a:pt x="1" y="17"/>
                      <a:pt x="0" y="14"/>
                      <a:pt x="0" y="12"/>
                    </a:cubicBezTo>
                    <a:cubicBezTo>
                      <a:pt x="0" y="6"/>
                      <a:pt x="5" y="0"/>
                      <a:pt x="13" y="0"/>
                    </a:cubicBezTo>
                    <a:cubicBezTo>
                      <a:pt x="19" y="0"/>
                      <a:pt x="23" y="4"/>
                      <a:pt x="25" y="11"/>
                    </a:cubicBezTo>
                    <a:cubicBezTo>
                      <a:pt x="67" y="131"/>
                      <a:pt x="67" y="131"/>
                      <a:pt x="67" y="131"/>
                    </a:cubicBezTo>
                    <a:cubicBezTo>
                      <a:pt x="109" y="10"/>
                      <a:pt x="109" y="10"/>
                      <a:pt x="109" y="10"/>
                    </a:cubicBezTo>
                    <a:cubicBezTo>
                      <a:pt x="111" y="4"/>
                      <a:pt x="114" y="0"/>
                      <a:pt x="121" y="0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29" y="0"/>
                      <a:pt x="133" y="4"/>
                      <a:pt x="135" y="10"/>
                    </a:cubicBezTo>
                    <a:cubicBezTo>
                      <a:pt x="177" y="131"/>
                      <a:pt x="177" y="131"/>
                      <a:pt x="177" y="131"/>
                    </a:cubicBezTo>
                    <a:cubicBezTo>
                      <a:pt x="219" y="10"/>
                      <a:pt x="219" y="10"/>
                      <a:pt x="219" y="10"/>
                    </a:cubicBezTo>
                    <a:cubicBezTo>
                      <a:pt x="221" y="5"/>
                      <a:pt x="224" y="0"/>
                      <a:pt x="231" y="0"/>
                    </a:cubicBezTo>
                    <a:cubicBezTo>
                      <a:pt x="238" y="0"/>
                      <a:pt x="243" y="6"/>
                      <a:pt x="243" y="12"/>
                    </a:cubicBezTo>
                    <a:cubicBezTo>
                      <a:pt x="243" y="14"/>
                      <a:pt x="242" y="17"/>
                      <a:pt x="241" y="19"/>
                    </a:cubicBezTo>
                    <a:cubicBezTo>
                      <a:pt x="191" y="159"/>
                      <a:pt x="191" y="159"/>
                      <a:pt x="191" y="159"/>
                    </a:cubicBezTo>
                    <a:cubicBezTo>
                      <a:pt x="188" y="166"/>
                      <a:pt x="183" y="170"/>
                      <a:pt x="177" y="170"/>
                    </a:cubicBezTo>
                    <a:cubicBezTo>
                      <a:pt x="176" y="170"/>
                      <a:pt x="176" y="170"/>
                      <a:pt x="176" y="170"/>
                    </a:cubicBezTo>
                    <a:cubicBezTo>
                      <a:pt x="170" y="170"/>
                      <a:pt x="165" y="166"/>
                      <a:pt x="163" y="159"/>
                    </a:cubicBezTo>
                    <a:cubicBezTo>
                      <a:pt x="122" y="40"/>
                      <a:pt x="122" y="40"/>
                      <a:pt x="122" y="40"/>
                    </a:cubicBezTo>
                    <a:cubicBezTo>
                      <a:pt x="80" y="159"/>
                      <a:pt x="80" y="159"/>
                      <a:pt x="80" y="159"/>
                    </a:cubicBezTo>
                    <a:cubicBezTo>
                      <a:pt x="78" y="166"/>
                      <a:pt x="73" y="170"/>
                      <a:pt x="66" y="170"/>
                    </a:cubicBezTo>
                    <a:cubicBezTo>
                      <a:pt x="66" y="170"/>
                      <a:pt x="66" y="170"/>
                      <a:pt x="66" y="170"/>
                    </a:cubicBezTo>
                    <a:cubicBezTo>
                      <a:pt x="60" y="170"/>
                      <a:pt x="55" y="166"/>
                      <a:pt x="52" y="159"/>
                    </a:cubicBezTo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381"/>
                <a:endParaRPr lang="en-US" sz="1792">
                  <a:solidFill>
                    <a:srgbClr val="717074"/>
                  </a:solidFill>
                </a:endParaRPr>
              </a:p>
            </p:txBody>
          </p:sp>
          <p:sp>
            <p:nvSpPr>
              <p:cNvPr id="18" name="Freeform 7"/>
              <p:cNvSpPr>
                <a:spLocks/>
              </p:cNvSpPr>
              <p:nvPr/>
            </p:nvSpPr>
            <p:spPr bwMode="auto">
              <a:xfrm>
                <a:off x="3163888" y="5649913"/>
                <a:ext cx="354013" cy="647700"/>
              </a:xfrm>
              <a:custGeom>
                <a:avLst/>
                <a:gdLst>
                  <a:gd name="T0" fmla="*/ 0 w 94"/>
                  <a:gd name="T1" fmla="*/ 13 h 170"/>
                  <a:gd name="T2" fmla="*/ 12 w 94"/>
                  <a:gd name="T3" fmla="*/ 0 h 170"/>
                  <a:gd name="T4" fmla="*/ 24 w 94"/>
                  <a:gd name="T5" fmla="*/ 13 h 170"/>
                  <a:gd name="T6" fmla="*/ 24 w 94"/>
                  <a:gd name="T7" fmla="*/ 41 h 170"/>
                  <a:gd name="T8" fmla="*/ 82 w 94"/>
                  <a:gd name="T9" fmla="*/ 0 h 170"/>
                  <a:gd name="T10" fmla="*/ 94 w 94"/>
                  <a:gd name="T11" fmla="*/ 13 h 170"/>
                  <a:gd name="T12" fmla="*/ 83 w 94"/>
                  <a:gd name="T13" fmla="*/ 25 h 170"/>
                  <a:gd name="T14" fmla="*/ 24 w 94"/>
                  <a:gd name="T15" fmla="*/ 101 h 170"/>
                  <a:gd name="T16" fmla="*/ 24 w 94"/>
                  <a:gd name="T17" fmla="*/ 157 h 170"/>
                  <a:gd name="T18" fmla="*/ 12 w 94"/>
                  <a:gd name="T19" fmla="*/ 170 h 170"/>
                  <a:gd name="T20" fmla="*/ 0 w 94"/>
                  <a:gd name="T21" fmla="*/ 157 h 170"/>
                  <a:gd name="T22" fmla="*/ 0 w 94"/>
                  <a:gd name="T23" fmla="*/ 1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4" h="170">
                    <a:moveTo>
                      <a:pt x="0" y="13"/>
                    </a:moveTo>
                    <a:cubicBezTo>
                      <a:pt x="0" y="6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3"/>
                    </a:cubicBezTo>
                    <a:cubicBezTo>
                      <a:pt x="24" y="41"/>
                      <a:pt x="24" y="41"/>
                      <a:pt x="24" y="41"/>
                    </a:cubicBezTo>
                    <a:cubicBezTo>
                      <a:pt x="37" y="13"/>
                      <a:pt x="64" y="0"/>
                      <a:pt x="82" y="0"/>
                    </a:cubicBezTo>
                    <a:cubicBezTo>
                      <a:pt x="89" y="0"/>
                      <a:pt x="94" y="6"/>
                      <a:pt x="94" y="13"/>
                    </a:cubicBezTo>
                    <a:cubicBezTo>
                      <a:pt x="94" y="20"/>
                      <a:pt x="89" y="24"/>
                      <a:pt x="83" y="25"/>
                    </a:cubicBezTo>
                    <a:cubicBezTo>
                      <a:pt x="51" y="29"/>
                      <a:pt x="24" y="53"/>
                      <a:pt x="24" y="101"/>
                    </a:cubicBezTo>
                    <a:cubicBezTo>
                      <a:pt x="24" y="157"/>
                      <a:pt x="24" y="157"/>
                      <a:pt x="24" y="157"/>
                    </a:cubicBezTo>
                    <a:cubicBezTo>
                      <a:pt x="24" y="164"/>
                      <a:pt x="19" y="170"/>
                      <a:pt x="12" y="170"/>
                    </a:cubicBezTo>
                    <a:cubicBezTo>
                      <a:pt x="5" y="170"/>
                      <a:pt x="0" y="164"/>
                      <a:pt x="0" y="157"/>
                    </a:cubicBezTo>
                    <a:lnTo>
                      <a:pt x="0" y="13"/>
                    </a:lnTo>
                    <a:close/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381"/>
                <a:endParaRPr lang="en-US" sz="1792">
                  <a:solidFill>
                    <a:srgbClr val="717074"/>
                  </a:solidFill>
                </a:endParaRPr>
              </a:p>
            </p:txBody>
          </p:sp>
          <p:sp>
            <p:nvSpPr>
              <p:cNvPr id="19" name="Freeform 8"/>
              <p:cNvSpPr>
                <a:spLocks noEditPoints="1"/>
              </p:cNvSpPr>
              <p:nvPr/>
            </p:nvSpPr>
            <p:spPr bwMode="auto">
              <a:xfrm>
                <a:off x="3509963" y="5649913"/>
                <a:ext cx="579438" cy="655638"/>
              </a:xfrm>
              <a:custGeom>
                <a:avLst/>
                <a:gdLst>
                  <a:gd name="T0" fmla="*/ 129 w 154"/>
                  <a:gd name="T1" fmla="*/ 76 h 172"/>
                  <a:gd name="T2" fmla="*/ 77 w 154"/>
                  <a:gd name="T3" fmla="*/ 21 h 172"/>
                  <a:gd name="T4" fmla="*/ 25 w 154"/>
                  <a:gd name="T5" fmla="*/ 76 h 172"/>
                  <a:gd name="T6" fmla="*/ 129 w 154"/>
                  <a:gd name="T7" fmla="*/ 76 h 172"/>
                  <a:gd name="T8" fmla="*/ 81 w 154"/>
                  <a:gd name="T9" fmla="*/ 172 h 172"/>
                  <a:gd name="T10" fmla="*/ 0 w 154"/>
                  <a:gd name="T11" fmla="*/ 86 h 172"/>
                  <a:gd name="T12" fmla="*/ 0 w 154"/>
                  <a:gd name="T13" fmla="*/ 85 h 172"/>
                  <a:gd name="T14" fmla="*/ 78 w 154"/>
                  <a:gd name="T15" fmla="*/ 0 h 172"/>
                  <a:gd name="T16" fmla="*/ 154 w 154"/>
                  <a:gd name="T17" fmla="*/ 83 h 172"/>
                  <a:gd name="T18" fmla="*/ 142 w 154"/>
                  <a:gd name="T19" fmla="*/ 95 h 172"/>
                  <a:gd name="T20" fmla="*/ 25 w 154"/>
                  <a:gd name="T21" fmla="*/ 95 h 172"/>
                  <a:gd name="T22" fmla="*/ 82 w 154"/>
                  <a:gd name="T23" fmla="*/ 150 h 172"/>
                  <a:gd name="T24" fmla="*/ 129 w 154"/>
                  <a:gd name="T25" fmla="*/ 131 h 172"/>
                  <a:gd name="T26" fmla="*/ 136 w 154"/>
                  <a:gd name="T27" fmla="*/ 128 h 172"/>
                  <a:gd name="T28" fmla="*/ 146 w 154"/>
                  <a:gd name="T29" fmla="*/ 139 h 172"/>
                  <a:gd name="T30" fmla="*/ 142 w 154"/>
                  <a:gd name="T31" fmla="*/ 147 h 172"/>
                  <a:gd name="T32" fmla="*/ 81 w 154"/>
                  <a:gd name="T33" fmla="*/ 172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4" h="172">
                    <a:moveTo>
                      <a:pt x="129" y="76"/>
                    </a:moveTo>
                    <a:cubicBezTo>
                      <a:pt x="127" y="47"/>
                      <a:pt x="110" y="21"/>
                      <a:pt x="77" y="21"/>
                    </a:cubicBezTo>
                    <a:cubicBezTo>
                      <a:pt x="49" y="21"/>
                      <a:pt x="28" y="44"/>
                      <a:pt x="25" y="76"/>
                    </a:cubicBezTo>
                    <a:lnTo>
                      <a:pt x="129" y="76"/>
                    </a:lnTo>
                    <a:close/>
                    <a:moveTo>
                      <a:pt x="81" y="172"/>
                    </a:moveTo>
                    <a:cubicBezTo>
                      <a:pt x="36" y="172"/>
                      <a:pt x="0" y="137"/>
                      <a:pt x="0" y="86"/>
                    </a:cubicBezTo>
                    <a:cubicBezTo>
                      <a:pt x="0" y="85"/>
                      <a:pt x="0" y="85"/>
                      <a:pt x="0" y="85"/>
                    </a:cubicBezTo>
                    <a:cubicBezTo>
                      <a:pt x="0" y="38"/>
                      <a:pt x="33" y="0"/>
                      <a:pt x="78" y="0"/>
                    </a:cubicBezTo>
                    <a:cubicBezTo>
                      <a:pt x="126" y="0"/>
                      <a:pt x="154" y="40"/>
                      <a:pt x="154" y="83"/>
                    </a:cubicBezTo>
                    <a:cubicBezTo>
                      <a:pt x="154" y="90"/>
                      <a:pt x="148" y="95"/>
                      <a:pt x="142" y="95"/>
                    </a:cubicBezTo>
                    <a:cubicBezTo>
                      <a:pt x="25" y="95"/>
                      <a:pt x="25" y="95"/>
                      <a:pt x="25" y="95"/>
                    </a:cubicBezTo>
                    <a:cubicBezTo>
                      <a:pt x="28" y="130"/>
                      <a:pt x="53" y="150"/>
                      <a:pt x="82" y="150"/>
                    </a:cubicBezTo>
                    <a:cubicBezTo>
                      <a:pt x="102" y="150"/>
                      <a:pt x="117" y="142"/>
                      <a:pt x="129" y="131"/>
                    </a:cubicBezTo>
                    <a:cubicBezTo>
                      <a:pt x="131" y="130"/>
                      <a:pt x="133" y="128"/>
                      <a:pt x="136" y="128"/>
                    </a:cubicBezTo>
                    <a:cubicBezTo>
                      <a:pt x="142" y="128"/>
                      <a:pt x="146" y="133"/>
                      <a:pt x="146" y="139"/>
                    </a:cubicBezTo>
                    <a:cubicBezTo>
                      <a:pt x="146" y="142"/>
                      <a:pt x="145" y="145"/>
                      <a:pt x="142" y="147"/>
                    </a:cubicBezTo>
                    <a:cubicBezTo>
                      <a:pt x="127" y="162"/>
                      <a:pt x="109" y="172"/>
                      <a:pt x="81" y="172"/>
                    </a:cubicBezTo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381"/>
                <a:endParaRPr lang="en-US" sz="1792">
                  <a:solidFill>
                    <a:srgbClr val="717074"/>
                  </a:solidFill>
                </a:endParaRPr>
              </a:p>
            </p:txBody>
          </p:sp>
          <p:sp>
            <p:nvSpPr>
              <p:cNvPr id="20" name="Freeform 9"/>
              <p:cNvSpPr>
                <a:spLocks noEditPoints="1"/>
              </p:cNvSpPr>
              <p:nvPr/>
            </p:nvSpPr>
            <p:spPr bwMode="auto">
              <a:xfrm>
                <a:off x="2503488" y="5649913"/>
                <a:ext cx="547688" cy="655638"/>
              </a:xfrm>
              <a:custGeom>
                <a:avLst/>
                <a:gdLst>
                  <a:gd name="T0" fmla="*/ 122 w 146"/>
                  <a:gd name="T1" fmla="*/ 107 h 172"/>
                  <a:gd name="T2" fmla="*/ 122 w 146"/>
                  <a:gd name="T3" fmla="*/ 91 h 172"/>
                  <a:gd name="T4" fmla="*/ 74 w 146"/>
                  <a:gd name="T5" fmla="*/ 84 h 172"/>
                  <a:gd name="T6" fmla="*/ 25 w 146"/>
                  <a:gd name="T7" fmla="*/ 118 h 172"/>
                  <a:gd name="T8" fmla="*/ 25 w 146"/>
                  <a:gd name="T9" fmla="*/ 119 h 172"/>
                  <a:gd name="T10" fmla="*/ 67 w 146"/>
                  <a:gd name="T11" fmla="*/ 152 h 172"/>
                  <a:gd name="T12" fmla="*/ 122 w 146"/>
                  <a:gd name="T13" fmla="*/ 107 h 172"/>
                  <a:gd name="T14" fmla="*/ 0 w 146"/>
                  <a:gd name="T15" fmla="*/ 120 h 172"/>
                  <a:gd name="T16" fmla="*/ 0 w 146"/>
                  <a:gd name="T17" fmla="*/ 119 h 172"/>
                  <a:gd name="T18" fmla="*/ 71 w 146"/>
                  <a:gd name="T19" fmla="*/ 66 h 172"/>
                  <a:gd name="T20" fmla="*/ 122 w 146"/>
                  <a:gd name="T21" fmla="*/ 73 h 172"/>
                  <a:gd name="T22" fmla="*/ 122 w 146"/>
                  <a:gd name="T23" fmla="*/ 67 h 172"/>
                  <a:gd name="T24" fmla="*/ 73 w 146"/>
                  <a:gd name="T25" fmla="*/ 22 h 172"/>
                  <a:gd name="T26" fmla="*/ 34 w 146"/>
                  <a:gd name="T27" fmla="*/ 30 h 172"/>
                  <a:gd name="T28" fmla="*/ 30 w 146"/>
                  <a:gd name="T29" fmla="*/ 31 h 172"/>
                  <a:gd name="T30" fmla="*/ 19 w 146"/>
                  <a:gd name="T31" fmla="*/ 20 h 172"/>
                  <a:gd name="T32" fmla="*/ 26 w 146"/>
                  <a:gd name="T33" fmla="*/ 10 h 172"/>
                  <a:gd name="T34" fmla="*/ 75 w 146"/>
                  <a:gd name="T35" fmla="*/ 0 h 172"/>
                  <a:gd name="T36" fmla="*/ 129 w 146"/>
                  <a:gd name="T37" fmla="*/ 19 h 172"/>
                  <a:gd name="T38" fmla="*/ 146 w 146"/>
                  <a:gd name="T39" fmla="*/ 67 h 172"/>
                  <a:gd name="T40" fmla="*/ 146 w 146"/>
                  <a:gd name="T41" fmla="*/ 158 h 172"/>
                  <a:gd name="T42" fmla="*/ 134 w 146"/>
                  <a:gd name="T43" fmla="*/ 170 h 172"/>
                  <a:gd name="T44" fmla="*/ 122 w 146"/>
                  <a:gd name="T45" fmla="*/ 159 h 172"/>
                  <a:gd name="T46" fmla="*/ 122 w 146"/>
                  <a:gd name="T47" fmla="*/ 143 h 172"/>
                  <a:gd name="T48" fmla="*/ 62 w 146"/>
                  <a:gd name="T49" fmla="*/ 172 h 172"/>
                  <a:gd name="T50" fmla="*/ 0 w 146"/>
                  <a:gd name="T51" fmla="*/ 120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46" h="172">
                    <a:moveTo>
                      <a:pt x="122" y="107"/>
                    </a:moveTo>
                    <a:cubicBezTo>
                      <a:pt x="122" y="91"/>
                      <a:pt x="122" y="91"/>
                      <a:pt x="122" y="91"/>
                    </a:cubicBezTo>
                    <a:cubicBezTo>
                      <a:pt x="110" y="88"/>
                      <a:pt x="94" y="84"/>
                      <a:pt x="74" y="84"/>
                    </a:cubicBezTo>
                    <a:cubicBezTo>
                      <a:pt x="43" y="84"/>
                      <a:pt x="25" y="98"/>
                      <a:pt x="25" y="118"/>
                    </a:cubicBezTo>
                    <a:cubicBezTo>
                      <a:pt x="25" y="119"/>
                      <a:pt x="25" y="119"/>
                      <a:pt x="25" y="119"/>
                    </a:cubicBezTo>
                    <a:cubicBezTo>
                      <a:pt x="25" y="140"/>
                      <a:pt x="45" y="152"/>
                      <a:pt x="67" y="152"/>
                    </a:cubicBezTo>
                    <a:cubicBezTo>
                      <a:pt x="97" y="152"/>
                      <a:pt x="122" y="133"/>
                      <a:pt x="122" y="107"/>
                    </a:cubicBezTo>
                    <a:moveTo>
                      <a:pt x="0" y="120"/>
                    </a:moveTo>
                    <a:cubicBezTo>
                      <a:pt x="0" y="119"/>
                      <a:pt x="0" y="119"/>
                      <a:pt x="0" y="119"/>
                    </a:cubicBezTo>
                    <a:cubicBezTo>
                      <a:pt x="0" y="85"/>
                      <a:pt x="29" y="66"/>
                      <a:pt x="71" y="66"/>
                    </a:cubicBezTo>
                    <a:cubicBezTo>
                      <a:pt x="92" y="66"/>
                      <a:pt x="107" y="69"/>
                      <a:pt x="122" y="73"/>
                    </a:cubicBezTo>
                    <a:cubicBezTo>
                      <a:pt x="122" y="67"/>
                      <a:pt x="122" y="67"/>
                      <a:pt x="122" y="67"/>
                    </a:cubicBezTo>
                    <a:cubicBezTo>
                      <a:pt x="122" y="37"/>
                      <a:pt x="104" y="22"/>
                      <a:pt x="73" y="22"/>
                    </a:cubicBezTo>
                    <a:cubicBezTo>
                      <a:pt x="56" y="22"/>
                      <a:pt x="46" y="24"/>
                      <a:pt x="34" y="30"/>
                    </a:cubicBezTo>
                    <a:cubicBezTo>
                      <a:pt x="33" y="30"/>
                      <a:pt x="31" y="31"/>
                      <a:pt x="30" y="31"/>
                    </a:cubicBezTo>
                    <a:cubicBezTo>
                      <a:pt x="24" y="31"/>
                      <a:pt x="19" y="26"/>
                      <a:pt x="19" y="20"/>
                    </a:cubicBezTo>
                    <a:cubicBezTo>
                      <a:pt x="19" y="15"/>
                      <a:pt x="21" y="12"/>
                      <a:pt x="26" y="10"/>
                    </a:cubicBezTo>
                    <a:cubicBezTo>
                      <a:pt x="42" y="3"/>
                      <a:pt x="54" y="0"/>
                      <a:pt x="75" y="0"/>
                    </a:cubicBezTo>
                    <a:cubicBezTo>
                      <a:pt x="99" y="0"/>
                      <a:pt x="117" y="6"/>
                      <a:pt x="129" y="19"/>
                    </a:cubicBezTo>
                    <a:cubicBezTo>
                      <a:pt x="140" y="30"/>
                      <a:pt x="146" y="46"/>
                      <a:pt x="146" y="67"/>
                    </a:cubicBezTo>
                    <a:cubicBezTo>
                      <a:pt x="146" y="158"/>
                      <a:pt x="146" y="158"/>
                      <a:pt x="146" y="158"/>
                    </a:cubicBezTo>
                    <a:cubicBezTo>
                      <a:pt x="146" y="165"/>
                      <a:pt x="141" y="170"/>
                      <a:pt x="134" y="170"/>
                    </a:cubicBezTo>
                    <a:cubicBezTo>
                      <a:pt x="127" y="170"/>
                      <a:pt x="122" y="165"/>
                      <a:pt x="122" y="159"/>
                    </a:cubicBezTo>
                    <a:cubicBezTo>
                      <a:pt x="122" y="143"/>
                      <a:pt x="122" y="143"/>
                      <a:pt x="122" y="143"/>
                    </a:cubicBezTo>
                    <a:cubicBezTo>
                      <a:pt x="111" y="158"/>
                      <a:pt x="91" y="172"/>
                      <a:pt x="62" y="172"/>
                    </a:cubicBezTo>
                    <a:cubicBezTo>
                      <a:pt x="32" y="172"/>
                      <a:pt x="0" y="154"/>
                      <a:pt x="0" y="120"/>
                    </a:cubicBezTo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381"/>
                <a:endParaRPr lang="en-US" sz="1792">
                  <a:solidFill>
                    <a:srgbClr val="717074"/>
                  </a:solidFill>
                </a:endParaRPr>
              </a:p>
            </p:txBody>
          </p:sp>
          <p:sp>
            <p:nvSpPr>
              <p:cNvPr id="21" name="Freeform 10"/>
              <p:cNvSpPr>
                <a:spLocks/>
              </p:cNvSpPr>
              <p:nvPr/>
            </p:nvSpPr>
            <p:spPr bwMode="auto">
              <a:xfrm>
                <a:off x="-84138" y="5622925"/>
                <a:ext cx="1635125" cy="682625"/>
              </a:xfrm>
              <a:custGeom>
                <a:avLst/>
                <a:gdLst>
                  <a:gd name="T0" fmla="*/ 49 w 435"/>
                  <a:gd name="T1" fmla="*/ 18 h 179"/>
                  <a:gd name="T2" fmla="*/ 17 w 435"/>
                  <a:gd name="T3" fmla="*/ 6 h 179"/>
                  <a:gd name="T4" fmla="*/ 6 w 435"/>
                  <a:gd name="T5" fmla="*/ 37 h 179"/>
                  <a:gd name="T6" fmla="*/ 58 w 435"/>
                  <a:gd name="T7" fmla="*/ 152 h 179"/>
                  <a:gd name="T8" fmla="*/ 92 w 435"/>
                  <a:gd name="T9" fmla="*/ 179 h 179"/>
                  <a:gd name="T10" fmla="*/ 125 w 435"/>
                  <a:gd name="T11" fmla="*/ 152 h 179"/>
                  <a:gd name="T12" fmla="*/ 171 w 435"/>
                  <a:gd name="T13" fmla="*/ 51 h 179"/>
                  <a:gd name="T14" fmla="*/ 178 w 435"/>
                  <a:gd name="T15" fmla="*/ 46 h 179"/>
                  <a:gd name="T16" fmla="*/ 185 w 435"/>
                  <a:gd name="T17" fmla="*/ 54 h 179"/>
                  <a:gd name="T18" fmla="*/ 185 w 435"/>
                  <a:gd name="T19" fmla="*/ 151 h 179"/>
                  <a:gd name="T20" fmla="*/ 209 w 435"/>
                  <a:gd name="T21" fmla="*/ 179 h 179"/>
                  <a:gd name="T22" fmla="*/ 234 w 435"/>
                  <a:gd name="T23" fmla="*/ 151 h 179"/>
                  <a:gd name="T24" fmla="*/ 234 w 435"/>
                  <a:gd name="T25" fmla="*/ 72 h 179"/>
                  <a:gd name="T26" fmla="*/ 260 w 435"/>
                  <a:gd name="T27" fmla="*/ 46 h 179"/>
                  <a:gd name="T28" fmla="*/ 285 w 435"/>
                  <a:gd name="T29" fmla="*/ 72 h 179"/>
                  <a:gd name="T30" fmla="*/ 285 w 435"/>
                  <a:gd name="T31" fmla="*/ 151 h 179"/>
                  <a:gd name="T32" fmla="*/ 310 w 435"/>
                  <a:gd name="T33" fmla="*/ 179 h 179"/>
                  <a:gd name="T34" fmla="*/ 334 w 435"/>
                  <a:gd name="T35" fmla="*/ 151 h 179"/>
                  <a:gd name="T36" fmla="*/ 334 w 435"/>
                  <a:gd name="T37" fmla="*/ 72 h 179"/>
                  <a:gd name="T38" fmla="*/ 360 w 435"/>
                  <a:gd name="T39" fmla="*/ 46 h 179"/>
                  <a:gd name="T40" fmla="*/ 385 w 435"/>
                  <a:gd name="T41" fmla="*/ 72 h 179"/>
                  <a:gd name="T42" fmla="*/ 385 w 435"/>
                  <a:gd name="T43" fmla="*/ 151 h 179"/>
                  <a:gd name="T44" fmla="*/ 410 w 435"/>
                  <a:gd name="T45" fmla="*/ 179 h 179"/>
                  <a:gd name="T46" fmla="*/ 435 w 435"/>
                  <a:gd name="T47" fmla="*/ 151 h 179"/>
                  <a:gd name="T48" fmla="*/ 435 w 435"/>
                  <a:gd name="T49" fmla="*/ 61 h 179"/>
                  <a:gd name="T50" fmla="*/ 375 w 435"/>
                  <a:gd name="T51" fmla="*/ 4 h 179"/>
                  <a:gd name="T52" fmla="*/ 323 w 435"/>
                  <a:gd name="T53" fmla="*/ 26 h 179"/>
                  <a:gd name="T54" fmla="*/ 272 w 435"/>
                  <a:gd name="T55" fmla="*/ 4 h 179"/>
                  <a:gd name="T56" fmla="*/ 223 w 435"/>
                  <a:gd name="T57" fmla="*/ 26 h 179"/>
                  <a:gd name="T58" fmla="*/ 178 w 435"/>
                  <a:gd name="T59" fmla="*/ 4 h 179"/>
                  <a:gd name="T60" fmla="*/ 125 w 435"/>
                  <a:gd name="T61" fmla="*/ 40 h 179"/>
                  <a:gd name="T62" fmla="*/ 92 w 435"/>
                  <a:gd name="T63" fmla="*/ 119 h 179"/>
                  <a:gd name="T64" fmla="*/ 49 w 435"/>
                  <a:gd name="T65" fmla="*/ 18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35" h="179">
                    <a:moveTo>
                      <a:pt x="49" y="18"/>
                    </a:moveTo>
                    <a:cubicBezTo>
                      <a:pt x="43" y="6"/>
                      <a:pt x="30" y="0"/>
                      <a:pt x="17" y="6"/>
                    </a:cubicBezTo>
                    <a:cubicBezTo>
                      <a:pt x="5" y="12"/>
                      <a:pt x="0" y="25"/>
                      <a:pt x="6" y="37"/>
                    </a:cubicBezTo>
                    <a:cubicBezTo>
                      <a:pt x="58" y="152"/>
                      <a:pt x="58" y="152"/>
                      <a:pt x="58" y="152"/>
                    </a:cubicBezTo>
                    <a:cubicBezTo>
                      <a:pt x="67" y="169"/>
                      <a:pt x="75" y="179"/>
                      <a:pt x="92" y="179"/>
                    </a:cubicBezTo>
                    <a:cubicBezTo>
                      <a:pt x="109" y="179"/>
                      <a:pt x="117" y="169"/>
                      <a:pt x="125" y="152"/>
                    </a:cubicBezTo>
                    <a:cubicBezTo>
                      <a:pt x="125" y="152"/>
                      <a:pt x="171" y="52"/>
                      <a:pt x="171" y="51"/>
                    </a:cubicBezTo>
                    <a:cubicBezTo>
                      <a:pt x="172" y="50"/>
                      <a:pt x="173" y="46"/>
                      <a:pt x="178" y="46"/>
                    </a:cubicBezTo>
                    <a:cubicBezTo>
                      <a:pt x="182" y="47"/>
                      <a:pt x="185" y="50"/>
                      <a:pt x="185" y="54"/>
                    </a:cubicBezTo>
                    <a:cubicBezTo>
                      <a:pt x="185" y="151"/>
                      <a:pt x="185" y="151"/>
                      <a:pt x="185" y="151"/>
                    </a:cubicBezTo>
                    <a:cubicBezTo>
                      <a:pt x="185" y="166"/>
                      <a:pt x="193" y="179"/>
                      <a:pt x="209" y="179"/>
                    </a:cubicBezTo>
                    <a:cubicBezTo>
                      <a:pt x="225" y="179"/>
                      <a:pt x="234" y="166"/>
                      <a:pt x="234" y="151"/>
                    </a:cubicBezTo>
                    <a:cubicBezTo>
                      <a:pt x="234" y="72"/>
                      <a:pt x="234" y="72"/>
                      <a:pt x="234" y="72"/>
                    </a:cubicBezTo>
                    <a:cubicBezTo>
                      <a:pt x="234" y="56"/>
                      <a:pt x="245" y="46"/>
                      <a:pt x="260" y="46"/>
                    </a:cubicBezTo>
                    <a:cubicBezTo>
                      <a:pt x="275" y="46"/>
                      <a:pt x="285" y="57"/>
                      <a:pt x="285" y="72"/>
                    </a:cubicBezTo>
                    <a:cubicBezTo>
                      <a:pt x="285" y="151"/>
                      <a:pt x="285" y="151"/>
                      <a:pt x="285" y="151"/>
                    </a:cubicBezTo>
                    <a:cubicBezTo>
                      <a:pt x="285" y="166"/>
                      <a:pt x="294" y="179"/>
                      <a:pt x="310" y="179"/>
                    </a:cubicBezTo>
                    <a:cubicBezTo>
                      <a:pt x="326" y="179"/>
                      <a:pt x="334" y="166"/>
                      <a:pt x="334" y="151"/>
                    </a:cubicBezTo>
                    <a:cubicBezTo>
                      <a:pt x="334" y="72"/>
                      <a:pt x="334" y="72"/>
                      <a:pt x="334" y="72"/>
                    </a:cubicBezTo>
                    <a:cubicBezTo>
                      <a:pt x="334" y="56"/>
                      <a:pt x="345" y="46"/>
                      <a:pt x="360" y="46"/>
                    </a:cubicBezTo>
                    <a:cubicBezTo>
                      <a:pt x="375" y="46"/>
                      <a:pt x="385" y="57"/>
                      <a:pt x="385" y="72"/>
                    </a:cubicBezTo>
                    <a:cubicBezTo>
                      <a:pt x="385" y="151"/>
                      <a:pt x="385" y="151"/>
                      <a:pt x="385" y="151"/>
                    </a:cubicBezTo>
                    <a:cubicBezTo>
                      <a:pt x="385" y="166"/>
                      <a:pt x="394" y="179"/>
                      <a:pt x="410" y="179"/>
                    </a:cubicBezTo>
                    <a:cubicBezTo>
                      <a:pt x="426" y="179"/>
                      <a:pt x="435" y="166"/>
                      <a:pt x="435" y="151"/>
                    </a:cubicBezTo>
                    <a:cubicBezTo>
                      <a:pt x="435" y="61"/>
                      <a:pt x="435" y="61"/>
                      <a:pt x="435" y="61"/>
                    </a:cubicBezTo>
                    <a:cubicBezTo>
                      <a:pt x="435" y="27"/>
                      <a:pt x="408" y="4"/>
                      <a:pt x="375" y="4"/>
                    </a:cubicBezTo>
                    <a:cubicBezTo>
                      <a:pt x="343" y="4"/>
                      <a:pt x="323" y="26"/>
                      <a:pt x="323" y="26"/>
                    </a:cubicBezTo>
                    <a:cubicBezTo>
                      <a:pt x="312" y="12"/>
                      <a:pt x="297" y="4"/>
                      <a:pt x="272" y="4"/>
                    </a:cubicBezTo>
                    <a:cubicBezTo>
                      <a:pt x="246" y="4"/>
                      <a:pt x="223" y="26"/>
                      <a:pt x="223" y="26"/>
                    </a:cubicBezTo>
                    <a:cubicBezTo>
                      <a:pt x="212" y="12"/>
                      <a:pt x="194" y="4"/>
                      <a:pt x="178" y="4"/>
                    </a:cubicBezTo>
                    <a:cubicBezTo>
                      <a:pt x="155" y="4"/>
                      <a:pt x="136" y="14"/>
                      <a:pt x="125" y="40"/>
                    </a:cubicBezTo>
                    <a:cubicBezTo>
                      <a:pt x="92" y="119"/>
                      <a:pt x="92" y="119"/>
                      <a:pt x="92" y="119"/>
                    </a:cubicBezTo>
                    <a:lnTo>
                      <a:pt x="49" y="18"/>
                    </a:lnTo>
                    <a:close/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381"/>
                <a:endParaRPr lang="en-US" sz="1792">
                  <a:solidFill>
                    <a:srgbClr val="717074"/>
                  </a:solidFill>
                </a:endParaRPr>
              </a:p>
            </p:txBody>
          </p:sp>
          <p:sp>
            <p:nvSpPr>
              <p:cNvPr id="22" name="Freeform 11"/>
              <p:cNvSpPr>
                <a:spLocks noEditPoints="1"/>
              </p:cNvSpPr>
              <p:nvPr/>
            </p:nvSpPr>
            <p:spPr bwMode="auto">
              <a:xfrm>
                <a:off x="4097338" y="5649913"/>
                <a:ext cx="149225" cy="157163"/>
              </a:xfrm>
              <a:custGeom>
                <a:avLst/>
                <a:gdLst>
                  <a:gd name="T0" fmla="*/ 37 w 40"/>
                  <a:gd name="T1" fmla="*/ 20 h 41"/>
                  <a:gd name="T2" fmla="*/ 37 w 40"/>
                  <a:gd name="T3" fmla="*/ 20 h 41"/>
                  <a:gd name="T4" fmla="*/ 20 w 40"/>
                  <a:gd name="T5" fmla="*/ 4 h 41"/>
                  <a:gd name="T6" fmla="*/ 3 w 40"/>
                  <a:gd name="T7" fmla="*/ 20 h 41"/>
                  <a:gd name="T8" fmla="*/ 3 w 40"/>
                  <a:gd name="T9" fmla="*/ 21 h 41"/>
                  <a:gd name="T10" fmla="*/ 20 w 40"/>
                  <a:gd name="T11" fmla="*/ 37 h 41"/>
                  <a:gd name="T12" fmla="*/ 37 w 40"/>
                  <a:gd name="T13" fmla="*/ 20 h 41"/>
                  <a:gd name="T14" fmla="*/ 0 w 40"/>
                  <a:gd name="T15" fmla="*/ 21 h 41"/>
                  <a:gd name="T16" fmla="*/ 0 w 40"/>
                  <a:gd name="T17" fmla="*/ 20 h 41"/>
                  <a:gd name="T18" fmla="*/ 20 w 40"/>
                  <a:gd name="T19" fmla="*/ 0 h 41"/>
                  <a:gd name="T20" fmla="*/ 40 w 40"/>
                  <a:gd name="T21" fmla="*/ 20 h 41"/>
                  <a:gd name="T22" fmla="*/ 40 w 40"/>
                  <a:gd name="T23" fmla="*/ 20 h 41"/>
                  <a:gd name="T24" fmla="*/ 20 w 40"/>
                  <a:gd name="T25" fmla="*/ 41 h 41"/>
                  <a:gd name="T26" fmla="*/ 0 w 40"/>
                  <a:gd name="T27" fmla="*/ 2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0" h="41">
                    <a:moveTo>
                      <a:pt x="37" y="20"/>
                    </a:moveTo>
                    <a:cubicBezTo>
                      <a:pt x="37" y="20"/>
                      <a:pt x="37" y="20"/>
                      <a:pt x="37" y="20"/>
                    </a:cubicBezTo>
                    <a:cubicBezTo>
                      <a:pt x="37" y="11"/>
                      <a:pt x="29" y="4"/>
                      <a:pt x="20" y="4"/>
                    </a:cubicBezTo>
                    <a:cubicBezTo>
                      <a:pt x="11" y="4"/>
                      <a:pt x="3" y="11"/>
                      <a:pt x="3" y="20"/>
                    </a:cubicBezTo>
                    <a:cubicBezTo>
                      <a:pt x="3" y="21"/>
                      <a:pt x="3" y="21"/>
                      <a:pt x="3" y="21"/>
                    </a:cubicBezTo>
                    <a:cubicBezTo>
                      <a:pt x="3" y="30"/>
                      <a:pt x="11" y="37"/>
                      <a:pt x="20" y="37"/>
                    </a:cubicBezTo>
                    <a:cubicBezTo>
                      <a:pt x="29" y="37"/>
                      <a:pt x="37" y="30"/>
                      <a:pt x="37" y="20"/>
                    </a:cubicBezTo>
                    <a:moveTo>
                      <a:pt x="0" y="21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2" y="0"/>
                      <a:pt x="40" y="9"/>
                      <a:pt x="40" y="20"/>
                    </a:cubicBezTo>
                    <a:cubicBezTo>
                      <a:pt x="40" y="20"/>
                      <a:pt x="40" y="20"/>
                      <a:pt x="40" y="20"/>
                    </a:cubicBezTo>
                    <a:cubicBezTo>
                      <a:pt x="40" y="32"/>
                      <a:pt x="31" y="41"/>
                      <a:pt x="20" y="41"/>
                    </a:cubicBezTo>
                    <a:cubicBezTo>
                      <a:pt x="8" y="41"/>
                      <a:pt x="0" y="32"/>
                      <a:pt x="0" y="21"/>
                    </a:cubicBezTo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381"/>
                <a:endParaRPr lang="en-US" sz="1792">
                  <a:solidFill>
                    <a:srgbClr val="717074"/>
                  </a:solidFill>
                </a:endParaRPr>
              </a:p>
            </p:txBody>
          </p:sp>
          <p:sp>
            <p:nvSpPr>
              <p:cNvPr id="23" name="Freeform 12"/>
              <p:cNvSpPr>
                <a:spLocks noEditPoints="1"/>
              </p:cNvSpPr>
              <p:nvPr/>
            </p:nvSpPr>
            <p:spPr bwMode="auto">
              <a:xfrm>
                <a:off x="4141788" y="5688013"/>
                <a:ext cx="63500" cy="76200"/>
              </a:xfrm>
              <a:custGeom>
                <a:avLst/>
                <a:gdLst>
                  <a:gd name="T0" fmla="*/ 9 w 17"/>
                  <a:gd name="T1" fmla="*/ 10 h 20"/>
                  <a:gd name="T2" fmla="*/ 12 w 17"/>
                  <a:gd name="T3" fmla="*/ 7 h 20"/>
                  <a:gd name="T4" fmla="*/ 12 w 17"/>
                  <a:gd name="T5" fmla="*/ 7 h 20"/>
                  <a:gd name="T6" fmla="*/ 9 w 17"/>
                  <a:gd name="T7" fmla="*/ 4 h 20"/>
                  <a:gd name="T8" fmla="*/ 5 w 17"/>
                  <a:gd name="T9" fmla="*/ 4 h 20"/>
                  <a:gd name="T10" fmla="*/ 5 w 17"/>
                  <a:gd name="T11" fmla="*/ 10 h 20"/>
                  <a:gd name="T12" fmla="*/ 9 w 17"/>
                  <a:gd name="T13" fmla="*/ 10 h 20"/>
                  <a:gd name="T14" fmla="*/ 0 w 17"/>
                  <a:gd name="T15" fmla="*/ 2 h 20"/>
                  <a:gd name="T16" fmla="*/ 2 w 17"/>
                  <a:gd name="T17" fmla="*/ 0 h 20"/>
                  <a:gd name="T18" fmla="*/ 9 w 17"/>
                  <a:gd name="T19" fmla="*/ 0 h 20"/>
                  <a:gd name="T20" fmla="*/ 15 w 17"/>
                  <a:gd name="T21" fmla="*/ 2 h 20"/>
                  <a:gd name="T22" fmla="*/ 17 w 17"/>
                  <a:gd name="T23" fmla="*/ 7 h 20"/>
                  <a:gd name="T24" fmla="*/ 17 w 17"/>
                  <a:gd name="T25" fmla="*/ 7 h 20"/>
                  <a:gd name="T26" fmla="*/ 13 w 17"/>
                  <a:gd name="T27" fmla="*/ 13 h 20"/>
                  <a:gd name="T28" fmla="*/ 16 w 17"/>
                  <a:gd name="T29" fmla="*/ 17 h 20"/>
                  <a:gd name="T30" fmla="*/ 16 w 17"/>
                  <a:gd name="T31" fmla="*/ 18 h 20"/>
                  <a:gd name="T32" fmla="*/ 14 w 17"/>
                  <a:gd name="T33" fmla="*/ 20 h 20"/>
                  <a:gd name="T34" fmla="*/ 12 w 17"/>
                  <a:gd name="T35" fmla="*/ 19 h 20"/>
                  <a:gd name="T36" fmla="*/ 8 w 17"/>
                  <a:gd name="T37" fmla="*/ 14 h 20"/>
                  <a:gd name="T38" fmla="*/ 5 w 17"/>
                  <a:gd name="T39" fmla="*/ 14 h 20"/>
                  <a:gd name="T40" fmla="*/ 5 w 17"/>
                  <a:gd name="T41" fmla="*/ 18 h 20"/>
                  <a:gd name="T42" fmla="*/ 2 w 17"/>
                  <a:gd name="T43" fmla="*/ 20 h 20"/>
                  <a:gd name="T44" fmla="*/ 0 w 17"/>
                  <a:gd name="T45" fmla="*/ 18 h 20"/>
                  <a:gd name="T46" fmla="*/ 0 w 17"/>
                  <a:gd name="T47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7" h="20">
                    <a:moveTo>
                      <a:pt x="9" y="10"/>
                    </a:moveTo>
                    <a:cubicBezTo>
                      <a:pt x="11" y="10"/>
                      <a:pt x="12" y="9"/>
                      <a:pt x="12" y="7"/>
                    </a:cubicBezTo>
                    <a:cubicBezTo>
                      <a:pt x="12" y="7"/>
                      <a:pt x="12" y="7"/>
                      <a:pt x="12" y="7"/>
                    </a:cubicBezTo>
                    <a:cubicBezTo>
                      <a:pt x="12" y="5"/>
                      <a:pt x="11" y="4"/>
                      <a:pt x="9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10"/>
                      <a:pt x="5" y="10"/>
                      <a:pt x="5" y="10"/>
                    </a:cubicBezTo>
                    <a:lnTo>
                      <a:pt x="9" y="10"/>
                    </a:lnTo>
                    <a:close/>
                    <a:moveTo>
                      <a:pt x="0" y="2"/>
                    </a:moveTo>
                    <a:cubicBezTo>
                      <a:pt x="0" y="1"/>
                      <a:pt x="1" y="0"/>
                      <a:pt x="2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2" y="0"/>
                      <a:pt x="14" y="1"/>
                      <a:pt x="15" y="2"/>
                    </a:cubicBezTo>
                    <a:cubicBezTo>
                      <a:pt x="16" y="3"/>
                      <a:pt x="17" y="5"/>
                      <a:pt x="17" y="7"/>
                    </a:cubicBezTo>
                    <a:cubicBezTo>
                      <a:pt x="17" y="7"/>
                      <a:pt x="17" y="7"/>
                      <a:pt x="17" y="7"/>
                    </a:cubicBezTo>
                    <a:cubicBezTo>
                      <a:pt x="17" y="10"/>
                      <a:pt x="15" y="12"/>
                      <a:pt x="13" y="13"/>
                    </a:cubicBezTo>
                    <a:cubicBezTo>
                      <a:pt x="16" y="17"/>
                      <a:pt x="16" y="17"/>
                      <a:pt x="16" y="17"/>
                    </a:cubicBezTo>
                    <a:cubicBezTo>
                      <a:pt x="16" y="17"/>
                      <a:pt x="16" y="18"/>
                      <a:pt x="16" y="18"/>
                    </a:cubicBezTo>
                    <a:cubicBezTo>
                      <a:pt x="16" y="19"/>
                      <a:pt x="15" y="20"/>
                      <a:pt x="14" y="20"/>
                    </a:cubicBezTo>
                    <a:cubicBezTo>
                      <a:pt x="13" y="20"/>
                      <a:pt x="13" y="20"/>
                      <a:pt x="12" y="19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5" y="14"/>
                      <a:pt x="5" y="14"/>
                      <a:pt x="5" y="14"/>
                    </a:cubicBezTo>
                    <a:cubicBezTo>
                      <a:pt x="5" y="18"/>
                      <a:pt x="5" y="18"/>
                      <a:pt x="5" y="18"/>
                    </a:cubicBezTo>
                    <a:cubicBezTo>
                      <a:pt x="5" y="19"/>
                      <a:pt x="4" y="20"/>
                      <a:pt x="2" y="20"/>
                    </a:cubicBezTo>
                    <a:cubicBezTo>
                      <a:pt x="1" y="20"/>
                      <a:pt x="0" y="19"/>
                      <a:pt x="0" y="18"/>
                    </a:cubicBez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381"/>
                <a:endParaRPr lang="en-US" sz="1792">
                  <a:solidFill>
                    <a:srgbClr val="717074"/>
                  </a:solidFill>
                </a:endParaRPr>
              </a:p>
            </p:txBody>
          </p:sp>
        </p:grpSp>
      </p:grp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27201" y="4740499"/>
            <a:ext cx="4064000" cy="1415602"/>
          </a:xfrm>
        </p:spPr>
        <p:txBody>
          <a:bodyPr anchor="ctr"/>
          <a:lstStyle>
            <a:lvl1pPr marL="3161" indent="0" algn="r">
              <a:spcBef>
                <a:spcPts val="0"/>
              </a:spcBef>
              <a:buNone/>
              <a:defRPr sz="8762">
                <a:solidFill>
                  <a:schemeClr val="accent3">
                    <a:lumMod val="50000"/>
                  </a:schemeClr>
                </a:solidFill>
              </a:defRPr>
            </a:lvl1pPr>
            <a:lvl2pPr marL="3161" indent="0">
              <a:spcBef>
                <a:spcPts val="0"/>
              </a:spcBef>
              <a:buNone/>
              <a:defRPr sz="8762">
                <a:solidFill>
                  <a:schemeClr val="accent1">
                    <a:lumMod val="50000"/>
                  </a:schemeClr>
                </a:solidFill>
              </a:defRPr>
            </a:lvl2pPr>
            <a:lvl3pPr marL="3161" indent="0">
              <a:spcBef>
                <a:spcPts val="0"/>
              </a:spcBef>
              <a:buNone/>
              <a:defRPr sz="8762">
                <a:solidFill>
                  <a:schemeClr val="accent1">
                    <a:lumMod val="50000"/>
                  </a:schemeClr>
                </a:solidFill>
              </a:defRPr>
            </a:lvl3pPr>
            <a:lvl4pPr marL="3161" indent="0">
              <a:spcBef>
                <a:spcPts val="0"/>
              </a:spcBef>
              <a:buNone/>
              <a:defRPr sz="8762">
                <a:solidFill>
                  <a:schemeClr val="accent1">
                    <a:lumMod val="50000"/>
                  </a:schemeClr>
                </a:solidFill>
              </a:defRPr>
            </a:lvl4pPr>
            <a:lvl5pPr marL="3161" indent="0">
              <a:spcBef>
                <a:spcPts val="0"/>
              </a:spcBef>
              <a:buNone/>
              <a:defRPr sz="8762">
                <a:solidFill>
                  <a:schemeClr val="accent1">
                    <a:lumMod val="50000"/>
                  </a:schemeClr>
                </a:solidFill>
              </a:defRPr>
            </a:lvl5pPr>
            <a:lvl6pPr marL="3161" indent="0">
              <a:spcBef>
                <a:spcPts val="0"/>
              </a:spcBef>
              <a:buNone/>
              <a:defRPr sz="8762">
                <a:solidFill>
                  <a:schemeClr val="accent1">
                    <a:lumMod val="50000"/>
                  </a:schemeClr>
                </a:solidFill>
              </a:defRPr>
            </a:lvl6pPr>
            <a:lvl7pPr marL="3161" indent="0">
              <a:spcBef>
                <a:spcPts val="0"/>
              </a:spcBef>
              <a:buNone/>
              <a:defRPr sz="8762">
                <a:solidFill>
                  <a:schemeClr val="accent1">
                    <a:lumMod val="50000"/>
                  </a:schemeClr>
                </a:solidFill>
              </a:defRPr>
            </a:lvl7pPr>
            <a:lvl8pPr marL="3161" indent="0">
              <a:spcBef>
                <a:spcPts val="0"/>
              </a:spcBef>
              <a:buNone/>
              <a:defRPr sz="8762">
                <a:solidFill>
                  <a:schemeClr val="accent1">
                    <a:lumMod val="50000"/>
                  </a:schemeClr>
                </a:solidFill>
              </a:defRPr>
            </a:lvl8pPr>
            <a:lvl9pPr marL="3161" indent="0">
              <a:spcBef>
                <a:spcPts val="0"/>
              </a:spcBef>
              <a:buNone/>
              <a:defRPr sz="8762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6096003" y="4740499"/>
            <a:ext cx="4511040" cy="1415602"/>
          </a:xfrm>
        </p:spPr>
        <p:txBody>
          <a:bodyPr anchor="ctr"/>
          <a:lstStyle>
            <a:lvl1pPr marL="3161" indent="0">
              <a:spcBef>
                <a:spcPts val="0"/>
              </a:spcBef>
              <a:buNone/>
              <a:defRPr sz="2390">
                <a:solidFill>
                  <a:schemeClr val="accent3">
                    <a:lumMod val="50000"/>
                  </a:schemeClr>
                </a:solidFill>
              </a:defRPr>
            </a:lvl1pPr>
            <a:lvl2pPr marL="3161" indent="0">
              <a:spcBef>
                <a:spcPts val="0"/>
              </a:spcBef>
              <a:buNone/>
              <a:defRPr sz="1992">
                <a:solidFill>
                  <a:schemeClr val="accent1">
                    <a:lumMod val="50000"/>
                  </a:schemeClr>
                </a:solidFill>
              </a:defRPr>
            </a:lvl2pPr>
            <a:lvl3pPr marL="3161" indent="0">
              <a:spcBef>
                <a:spcPts val="0"/>
              </a:spcBef>
              <a:buNone/>
              <a:defRPr sz="1992">
                <a:solidFill>
                  <a:schemeClr val="accent1">
                    <a:lumMod val="50000"/>
                  </a:schemeClr>
                </a:solidFill>
              </a:defRPr>
            </a:lvl3pPr>
            <a:lvl4pPr marL="3161" indent="0">
              <a:spcBef>
                <a:spcPts val="0"/>
              </a:spcBef>
              <a:buNone/>
              <a:defRPr sz="1992">
                <a:solidFill>
                  <a:schemeClr val="accent1">
                    <a:lumMod val="50000"/>
                  </a:schemeClr>
                </a:solidFill>
              </a:defRPr>
            </a:lvl4pPr>
            <a:lvl5pPr marL="3161" indent="0">
              <a:spcBef>
                <a:spcPts val="0"/>
              </a:spcBef>
              <a:buNone/>
              <a:defRPr sz="1992">
                <a:solidFill>
                  <a:schemeClr val="accent1">
                    <a:lumMod val="50000"/>
                  </a:schemeClr>
                </a:solidFill>
              </a:defRPr>
            </a:lvl5pPr>
            <a:lvl6pPr marL="3161" indent="0">
              <a:spcBef>
                <a:spcPts val="0"/>
              </a:spcBef>
              <a:buNone/>
              <a:defRPr sz="1992">
                <a:solidFill>
                  <a:schemeClr val="accent1">
                    <a:lumMod val="50000"/>
                  </a:schemeClr>
                </a:solidFill>
              </a:defRPr>
            </a:lvl6pPr>
            <a:lvl7pPr marL="3161" indent="0">
              <a:spcBef>
                <a:spcPts val="0"/>
              </a:spcBef>
              <a:buNone/>
              <a:defRPr sz="1992">
                <a:solidFill>
                  <a:schemeClr val="accent1">
                    <a:lumMod val="50000"/>
                  </a:schemeClr>
                </a:solidFill>
              </a:defRPr>
            </a:lvl7pPr>
            <a:lvl8pPr marL="3161" indent="0">
              <a:spcBef>
                <a:spcPts val="0"/>
              </a:spcBef>
              <a:buNone/>
              <a:defRPr sz="1992">
                <a:solidFill>
                  <a:schemeClr val="accent1">
                    <a:lumMod val="50000"/>
                  </a:schemeClr>
                </a:solidFill>
              </a:defRPr>
            </a:lvl8pPr>
            <a:lvl9pPr marL="3161" indent="0">
              <a:spcBef>
                <a:spcPts val="0"/>
              </a:spcBef>
              <a:buNone/>
              <a:defRPr sz="1992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717074">
                    <a:tint val="75000"/>
                  </a:srgbClr>
                </a:solidFill>
              </a:rPr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485121" y="342901"/>
            <a:ext cx="1097280" cy="56769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2" y="342901"/>
            <a:ext cx="9550400" cy="56769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717074">
                    <a:tint val="75000"/>
                  </a:srgbClr>
                </a:solidFill>
              </a:rPr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1" y="0"/>
            <a:ext cx="12192000" cy="685824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426720"/>
            <a:ext cx="9144001" cy="1097280"/>
          </a:xfrm>
        </p:spPr>
        <p:txBody>
          <a:bodyPr/>
          <a:lstStyle>
            <a:lvl1pPr>
              <a:defRPr sz="359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1600200"/>
            <a:ext cx="9144001" cy="685800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394">
                <a:solidFill>
                  <a:schemeClr val="tx1"/>
                </a:solidFill>
              </a:defRPr>
            </a:lvl1pPr>
            <a:lvl2pPr marL="4560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1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42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02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6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84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8" name="Group 17"/>
          <p:cNvGrpSpPr/>
          <p:nvPr/>
        </p:nvGrpSpPr>
        <p:grpSpPr>
          <a:xfrm>
            <a:off x="10208798" y="6074833"/>
            <a:ext cx="1373445" cy="216433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19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20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21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23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24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25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9830079" y="6505956"/>
            <a:ext cx="1752163" cy="1996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2388">
              <a:lnSpc>
                <a:spcPct val="90000"/>
              </a:lnSpc>
            </a:pPr>
            <a:r>
              <a:rPr lang="en-US" sz="698" dirty="0">
                <a:solidFill>
                  <a:prstClr val="white"/>
                </a:solidFill>
              </a:rPr>
              <a:t>© 2015 VMware Inc. All rights reserved.</a:t>
            </a:r>
          </a:p>
        </p:txBody>
      </p:sp>
    </p:spTree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resenter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1" y="0"/>
            <a:ext cx="12192000" cy="685824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426720"/>
            <a:ext cx="9144001" cy="1097280"/>
          </a:xfrm>
        </p:spPr>
        <p:txBody>
          <a:bodyPr/>
          <a:lstStyle>
            <a:lvl1pPr>
              <a:defRPr sz="359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1600200"/>
            <a:ext cx="9144001" cy="685800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394">
                <a:solidFill>
                  <a:schemeClr val="tx1"/>
                </a:solidFill>
              </a:defRPr>
            </a:lvl1pPr>
            <a:lvl2pPr marL="4560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1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42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02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6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84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5791200"/>
            <a:ext cx="3657601" cy="2286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596">
                <a:solidFill>
                  <a:schemeClr val="bg1"/>
                </a:solidFill>
              </a:defRPr>
            </a:lvl1pPr>
            <a:lvl2pPr marL="0" indent="0">
              <a:lnSpc>
                <a:spcPct val="90000"/>
              </a:lnSpc>
              <a:spcBef>
                <a:spcPts val="599"/>
              </a:spcBef>
              <a:buNone/>
              <a:defRPr sz="1596">
                <a:solidFill>
                  <a:schemeClr val="bg1"/>
                </a:solidFill>
              </a:defRPr>
            </a:lvl2pPr>
            <a:lvl3pPr marL="0" indent="0">
              <a:lnSpc>
                <a:spcPct val="90000"/>
              </a:lnSpc>
              <a:spcBef>
                <a:spcPts val="599"/>
              </a:spcBef>
              <a:buNone/>
              <a:defRPr sz="1596">
                <a:solidFill>
                  <a:schemeClr val="bg1"/>
                </a:solidFill>
              </a:defRPr>
            </a:lvl3pPr>
            <a:lvl4pPr marL="0" indent="0">
              <a:lnSpc>
                <a:spcPct val="90000"/>
              </a:lnSpc>
              <a:spcBef>
                <a:spcPts val="599"/>
              </a:spcBef>
              <a:buNone/>
              <a:defRPr sz="1596">
                <a:solidFill>
                  <a:schemeClr val="bg1"/>
                </a:solidFill>
              </a:defRPr>
            </a:lvl4pPr>
            <a:lvl5pPr marL="0" indent="0">
              <a:lnSpc>
                <a:spcPct val="90000"/>
              </a:lnSpc>
              <a:spcBef>
                <a:spcPts val="599"/>
              </a:spcBef>
              <a:buNone/>
              <a:defRPr sz="1596">
                <a:solidFill>
                  <a:schemeClr val="bg1"/>
                </a:solidFill>
              </a:defRPr>
            </a:lvl5pPr>
            <a:lvl6pPr marL="0" indent="0">
              <a:lnSpc>
                <a:spcPct val="90000"/>
              </a:lnSpc>
              <a:spcBef>
                <a:spcPts val="599"/>
              </a:spcBef>
              <a:buNone/>
              <a:defRPr sz="1596">
                <a:solidFill>
                  <a:schemeClr val="bg1"/>
                </a:solidFill>
              </a:defRPr>
            </a:lvl6pPr>
            <a:lvl7pPr marL="0" indent="0">
              <a:lnSpc>
                <a:spcPct val="90000"/>
              </a:lnSpc>
              <a:spcBef>
                <a:spcPts val="599"/>
              </a:spcBef>
              <a:buNone/>
              <a:defRPr sz="1596">
                <a:solidFill>
                  <a:schemeClr val="bg1"/>
                </a:solidFill>
              </a:defRPr>
            </a:lvl7pPr>
            <a:lvl8pPr marL="0" indent="0">
              <a:lnSpc>
                <a:spcPct val="90000"/>
              </a:lnSpc>
              <a:spcBef>
                <a:spcPts val="599"/>
              </a:spcBef>
              <a:buNone/>
              <a:defRPr sz="1596">
                <a:solidFill>
                  <a:schemeClr val="bg1"/>
                </a:solidFill>
              </a:defRPr>
            </a:lvl8pPr>
          </a:lstStyle>
          <a:p>
            <a:pPr lvl="0"/>
            <a:r>
              <a:rPr lang="en-US" dirty="0"/>
              <a:t>Click to add presenter’s name 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6081068"/>
            <a:ext cx="3657601" cy="2286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596">
                <a:solidFill>
                  <a:schemeClr val="bg1"/>
                </a:solidFill>
              </a:defRPr>
            </a:lvl1pPr>
            <a:lvl2pPr marL="0" indent="0">
              <a:lnSpc>
                <a:spcPct val="90000"/>
              </a:lnSpc>
              <a:spcBef>
                <a:spcPts val="599"/>
              </a:spcBef>
              <a:buNone/>
              <a:defRPr sz="1596">
                <a:solidFill>
                  <a:schemeClr val="bg1"/>
                </a:solidFill>
              </a:defRPr>
            </a:lvl2pPr>
            <a:lvl3pPr marL="0" indent="0">
              <a:lnSpc>
                <a:spcPct val="90000"/>
              </a:lnSpc>
              <a:spcBef>
                <a:spcPts val="599"/>
              </a:spcBef>
              <a:buNone/>
              <a:defRPr sz="1596">
                <a:solidFill>
                  <a:schemeClr val="bg1"/>
                </a:solidFill>
              </a:defRPr>
            </a:lvl3pPr>
            <a:lvl4pPr marL="0" indent="0">
              <a:lnSpc>
                <a:spcPct val="90000"/>
              </a:lnSpc>
              <a:spcBef>
                <a:spcPts val="599"/>
              </a:spcBef>
              <a:buNone/>
              <a:defRPr sz="1596">
                <a:solidFill>
                  <a:schemeClr val="bg1"/>
                </a:solidFill>
              </a:defRPr>
            </a:lvl4pPr>
            <a:lvl5pPr marL="0" indent="0">
              <a:lnSpc>
                <a:spcPct val="90000"/>
              </a:lnSpc>
              <a:spcBef>
                <a:spcPts val="599"/>
              </a:spcBef>
              <a:buNone/>
              <a:defRPr sz="1596">
                <a:solidFill>
                  <a:schemeClr val="bg1"/>
                </a:solidFill>
              </a:defRPr>
            </a:lvl5pPr>
            <a:lvl6pPr marL="0" indent="0">
              <a:lnSpc>
                <a:spcPct val="90000"/>
              </a:lnSpc>
              <a:spcBef>
                <a:spcPts val="599"/>
              </a:spcBef>
              <a:buNone/>
              <a:defRPr sz="1596">
                <a:solidFill>
                  <a:schemeClr val="bg1"/>
                </a:solidFill>
              </a:defRPr>
            </a:lvl6pPr>
            <a:lvl7pPr marL="0" indent="0">
              <a:lnSpc>
                <a:spcPct val="90000"/>
              </a:lnSpc>
              <a:spcBef>
                <a:spcPts val="599"/>
              </a:spcBef>
              <a:buNone/>
              <a:defRPr sz="1596">
                <a:solidFill>
                  <a:schemeClr val="bg1"/>
                </a:solidFill>
              </a:defRPr>
            </a:lvl7pPr>
            <a:lvl8pPr marL="0" indent="0">
              <a:lnSpc>
                <a:spcPct val="90000"/>
              </a:lnSpc>
              <a:spcBef>
                <a:spcPts val="599"/>
              </a:spcBef>
              <a:buNone/>
              <a:defRPr sz="1596">
                <a:solidFill>
                  <a:schemeClr val="bg1"/>
                </a:solidFill>
              </a:defRPr>
            </a:lvl8pPr>
          </a:lstStyle>
          <a:p>
            <a:pPr lvl="0"/>
            <a:r>
              <a:rPr lang="en-US" dirty="0"/>
              <a:t>Click to add date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10208798" y="6074833"/>
            <a:ext cx="1373445" cy="216433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22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23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24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25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26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27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28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</p:grpSp>
      <p:sp>
        <p:nvSpPr>
          <p:cNvPr id="15" name="TextBox 14"/>
          <p:cNvSpPr txBox="1"/>
          <p:nvPr/>
        </p:nvSpPr>
        <p:spPr>
          <a:xfrm>
            <a:off x="9830079" y="6505956"/>
            <a:ext cx="1752163" cy="1996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2388">
              <a:lnSpc>
                <a:spcPct val="90000"/>
              </a:lnSpc>
            </a:pPr>
            <a:r>
              <a:rPr lang="en-US" sz="698" dirty="0">
                <a:solidFill>
                  <a:prstClr val="white"/>
                </a:solidFill>
              </a:rPr>
              <a:t>© 2014 VMware Inc. All rights reserved.</a:t>
            </a:r>
          </a:p>
        </p:txBody>
      </p:sp>
    </p:spTree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330200"/>
            <a:ext cx="10972801" cy="8128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717074">
                    <a:tint val="75000"/>
                  </a:srgbClr>
                </a:solidFill>
              </a:rPr>
              <a:t>CONFIDENTIAL - VMWAR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13" y="1371600"/>
            <a:ext cx="5242561" cy="46482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39854" y="1371600"/>
            <a:ext cx="5242561" cy="46482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111049-A980-9A4B-BDCF-935BD3D35A43}" type="datetimeFigureOut">
              <a:rPr lang="en-US" smtClean="0"/>
              <a:t>24-Sep-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9C9BFC-FCFF-7247-B387-15C2934714B0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wipe dir="r"/>
      </p:transition>
    </mc:Choice>
    <mc:Fallback xmlns="">
      <p:transition xmlns:p14="http://schemas.microsoft.com/office/powerpoint/2010/main" spd="slow">
        <p:wipe dir="r"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2" y="1676400"/>
            <a:ext cx="10972801" cy="4343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717074">
                    <a:tint val="75000"/>
                  </a:srgbClr>
                </a:solidFill>
              </a:rPr>
              <a:t>CONFIDENTIAL - VMWAR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2" y="1206500"/>
            <a:ext cx="10972801" cy="304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795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1995">
                <a:solidFill>
                  <a:schemeClr val="accent4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1995">
                <a:solidFill>
                  <a:schemeClr val="accent4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1995">
                <a:solidFill>
                  <a:schemeClr val="accent4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1995">
                <a:solidFill>
                  <a:schemeClr val="accent4"/>
                </a:solidFill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buNone/>
              <a:defRPr sz="1995">
                <a:solidFill>
                  <a:schemeClr val="accent4"/>
                </a:solidFill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buNone/>
              <a:defRPr sz="1995">
                <a:solidFill>
                  <a:schemeClr val="accent4"/>
                </a:solidFill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buNone/>
              <a:defRPr sz="1995">
                <a:solidFill>
                  <a:schemeClr val="accent4"/>
                </a:solidFill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buNone/>
              <a:defRPr sz="1995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6492454" y="0"/>
            <a:ext cx="5699547" cy="6858000"/>
          </a:xfrm>
          <a:prstGeom prst="rect">
            <a:avLst/>
          </a:prstGeom>
        </p:spPr>
      </p:pic>
      <p:grpSp>
        <p:nvGrpSpPr>
          <p:cNvPr id="17" name="Group 16"/>
          <p:cNvGrpSpPr/>
          <p:nvPr/>
        </p:nvGrpSpPr>
        <p:grpSpPr>
          <a:xfrm>
            <a:off x="618040" y="6446048"/>
            <a:ext cx="1100080" cy="173355"/>
            <a:chOff x="-84138" y="5622925"/>
            <a:chExt cx="4330701" cy="682626"/>
          </a:xfrm>
        </p:grpSpPr>
        <p:sp>
          <p:nvSpPr>
            <p:cNvPr id="18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19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21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22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23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24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4891" y="1676400"/>
            <a:ext cx="7315200" cy="1524000"/>
          </a:xfrm>
        </p:spPr>
        <p:txBody>
          <a:bodyPr anchor="b"/>
          <a:lstStyle>
            <a:lvl1pPr algn="l">
              <a:defRPr sz="3591" b="1" cap="none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599" y="3276600"/>
            <a:ext cx="7315200" cy="6096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995">
                <a:solidFill>
                  <a:schemeClr val="tx1"/>
                </a:solidFill>
              </a:defRPr>
            </a:lvl1pPr>
            <a:lvl2pPr marL="0" indent="0">
              <a:buNone/>
              <a:defRPr sz="1995">
                <a:solidFill>
                  <a:schemeClr val="accent4"/>
                </a:solidFill>
              </a:defRPr>
            </a:lvl2pPr>
            <a:lvl3pPr marL="0" indent="0">
              <a:buNone/>
              <a:defRPr sz="1995">
                <a:solidFill>
                  <a:schemeClr val="accent4"/>
                </a:solidFill>
              </a:defRPr>
            </a:lvl3pPr>
            <a:lvl4pPr marL="0" indent="0">
              <a:buNone/>
              <a:defRPr sz="1995">
                <a:solidFill>
                  <a:schemeClr val="accent4"/>
                </a:solidFill>
              </a:defRPr>
            </a:lvl4pPr>
            <a:lvl5pPr marL="0" indent="0">
              <a:buNone/>
              <a:defRPr sz="1995">
                <a:solidFill>
                  <a:schemeClr val="accent4"/>
                </a:solidFill>
              </a:defRPr>
            </a:lvl5pPr>
            <a:lvl6pPr marL="0" indent="0">
              <a:buNone/>
              <a:defRPr sz="1995">
                <a:solidFill>
                  <a:schemeClr val="accent4"/>
                </a:solidFill>
              </a:defRPr>
            </a:lvl6pPr>
            <a:lvl7pPr marL="0" indent="0">
              <a:buNone/>
              <a:defRPr sz="1995">
                <a:solidFill>
                  <a:schemeClr val="accent4"/>
                </a:solidFill>
              </a:defRPr>
            </a:lvl7pPr>
            <a:lvl8pPr marL="0" indent="0">
              <a:buNone/>
              <a:defRPr sz="1995">
                <a:solidFill>
                  <a:schemeClr val="accent4"/>
                </a:solidFill>
              </a:defRPr>
            </a:lvl8pPr>
            <a:lvl9pPr marL="0" indent="0">
              <a:buNone/>
              <a:defRPr sz="1995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with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/>
        </p:nvGrpSpPr>
        <p:grpSpPr>
          <a:xfrm>
            <a:off x="618040" y="6446048"/>
            <a:ext cx="1100080" cy="173355"/>
            <a:chOff x="-84138" y="5622925"/>
            <a:chExt cx="4330701" cy="682626"/>
          </a:xfrm>
        </p:grpSpPr>
        <p:sp>
          <p:nvSpPr>
            <p:cNvPr id="15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17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18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19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20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21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1676400"/>
            <a:ext cx="6096000" cy="1524000"/>
          </a:xfrm>
        </p:spPr>
        <p:txBody>
          <a:bodyPr anchor="b"/>
          <a:lstStyle>
            <a:lvl1pPr algn="l">
              <a:defRPr sz="3591" b="1" cap="none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2" y="3276600"/>
            <a:ext cx="6096000" cy="6096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995">
                <a:solidFill>
                  <a:schemeClr val="tx1"/>
                </a:solidFill>
              </a:defRPr>
            </a:lvl1pPr>
            <a:lvl2pPr marL="0" indent="0">
              <a:buNone/>
              <a:defRPr sz="1995">
                <a:solidFill>
                  <a:schemeClr val="accent4"/>
                </a:solidFill>
              </a:defRPr>
            </a:lvl2pPr>
            <a:lvl3pPr marL="0" indent="0">
              <a:buNone/>
              <a:defRPr sz="1995">
                <a:solidFill>
                  <a:schemeClr val="accent4"/>
                </a:solidFill>
              </a:defRPr>
            </a:lvl3pPr>
            <a:lvl4pPr marL="0" indent="0">
              <a:buNone/>
              <a:defRPr sz="1995">
                <a:solidFill>
                  <a:schemeClr val="accent4"/>
                </a:solidFill>
              </a:defRPr>
            </a:lvl4pPr>
            <a:lvl5pPr marL="0" indent="0">
              <a:buNone/>
              <a:defRPr sz="1995">
                <a:solidFill>
                  <a:schemeClr val="accent4"/>
                </a:solidFill>
              </a:defRPr>
            </a:lvl5pPr>
            <a:lvl6pPr marL="0" indent="0">
              <a:buNone/>
              <a:defRPr sz="1995">
                <a:solidFill>
                  <a:schemeClr val="accent4"/>
                </a:solidFill>
              </a:defRPr>
            </a:lvl6pPr>
            <a:lvl7pPr marL="0" indent="0">
              <a:buNone/>
              <a:defRPr sz="1995">
                <a:solidFill>
                  <a:schemeClr val="accent4"/>
                </a:solidFill>
              </a:defRPr>
            </a:lvl7pPr>
            <a:lvl8pPr marL="0" indent="0">
              <a:buNone/>
              <a:defRPr sz="1995">
                <a:solidFill>
                  <a:schemeClr val="accent4"/>
                </a:solidFill>
              </a:defRPr>
            </a:lvl8pPr>
            <a:lvl9pPr marL="0" indent="0">
              <a:buNone/>
              <a:defRPr sz="1995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/>
        </p:nvGrpSpPr>
        <p:grpSpPr>
          <a:xfrm>
            <a:off x="618040" y="6446048"/>
            <a:ext cx="1100080" cy="173355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25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26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27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28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29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30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31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</p:grpSp>
      <p:sp>
        <p:nvSpPr>
          <p:cNvPr id="12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914400" y="2593231"/>
            <a:ext cx="4813303" cy="5334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596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596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None/>
              <a:defRPr sz="1596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None/>
              <a:defRPr sz="1596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None/>
              <a:defRPr sz="1596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596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None/>
              <a:defRPr sz="1596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596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596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Click to add Name, Title, Compan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843281" y="457200"/>
            <a:ext cx="4876800" cy="2011680"/>
          </a:xfrm>
        </p:spPr>
        <p:txBody>
          <a:bodyPr/>
          <a:lstStyle>
            <a:lvl1pPr marL="58591" indent="-55424">
              <a:lnSpc>
                <a:spcPct val="100000"/>
              </a:lnSpc>
              <a:spcBef>
                <a:spcPts val="0"/>
              </a:spcBef>
              <a:buNone/>
              <a:defRPr sz="2194">
                <a:solidFill>
                  <a:schemeClr val="accent3">
                    <a:lumMod val="50000"/>
                  </a:schemeClr>
                </a:solidFill>
              </a:defRPr>
            </a:lvl1pPr>
            <a:lvl2pPr marL="3167" indent="0">
              <a:lnSpc>
                <a:spcPct val="100000"/>
              </a:lnSpc>
              <a:spcBef>
                <a:spcPts val="0"/>
              </a:spcBef>
              <a:buNone/>
              <a:defRPr sz="2194">
                <a:solidFill>
                  <a:schemeClr val="accent1">
                    <a:lumMod val="50000"/>
                  </a:schemeClr>
                </a:solidFill>
              </a:defRPr>
            </a:lvl2pPr>
            <a:lvl3pPr marL="3167" indent="0">
              <a:lnSpc>
                <a:spcPct val="100000"/>
              </a:lnSpc>
              <a:spcBef>
                <a:spcPts val="0"/>
              </a:spcBef>
              <a:buNone/>
              <a:defRPr sz="2194">
                <a:solidFill>
                  <a:schemeClr val="accent1">
                    <a:lumMod val="50000"/>
                  </a:schemeClr>
                </a:solidFill>
              </a:defRPr>
            </a:lvl3pPr>
            <a:lvl4pPr marL="3167" indent="0">
              <a:lnSpc>
                <a:spcPct val="100000"/>
              </a:lnSpc>
              <a:spcBef>
                <a:spcPts val="0"/>
              </a:spcBef>
              <a:buNone/>
              <a:defRPr sz="2194">
                <a:solidFill>
                  <a:schemeClr val="accent1">
                    <a:lumMod val="50000"/>
                  </a:schemeClr>
                </a:solidFill>
              </a:defRPr>
            </a:lvl4pPr>
            <a:lvl5pPr marL="3167" indent="0">
              <a:lnSpc>
                <a:spcPct val="100000"/>
              </a:lnSpc>
              <a:spcBef>
                <a:spcPts val="0"/>
              </a:spcBef>
              <a:buNone/>
              <a:defRPr sz="2194">
                <a:solidFill>
                  <a:schemeClr val="accent1">
                    <a:lumMod val="50000"/>
                  </a:schemeClr>
                </a:solidFill>
              </a:defRPr>
            </a:lvl5pPr>
            <a:lvl6pPr marL="3167" indent="0">
              <a:lnSpc>
                <a:spcPct val="100000"/>
              </a:lnSpc>
              <a:spcBef>
                <a:spcPts val="0"/>
              </a:spcBef>
              <a:buNone/>
              <a:defRPr sz="2194">
                <a:solidFill>
                  <a:schemeClr val="accent1">
                    <a:lumMod val="50000"/>
                  </a:schemeClr>
                </a:solidFill>
              </a:defRPr>
            </a:lvl6pPr>
            <a:lvl7pPr marL="3167" indent="0">
              <a:lnSpc>
                <a:spcPct val="100000"/>
              </a:lnSpc>
              <a:spcBef>
                <a:spcPts val="0"/>
              </a:spcBef>
              <a:buNone/>
              <a:defRPr sz="2194">
                <a:solidFill>
                  <a:schemeClr val="accent1">
                    <a:lumMod val="50000"/>
                  </a:schemeClr>
                </a:solidFill>
              </a:defRPr>
            </a:lvl7pPr>
            <a:lvl8pPr marL="3167" indent="0">
              <a:lnSpc>
                <a:spcPct val="100000"/>
              </a:lnSpc>
              <a:spcBef>
                <a:spcPts val="0"/>
              </a:spcBef>
              <a:buNone/>
              <a:defRPr sz="2194">
                <a:solidFill>
                  <a:schemeClr val="accent1">
                    <a:lumMod val="50000"/>
                  </a:schemeClr>
                </a:solidFill>
              </a:defRPr>
            </a:lvl8pPr>
            <a:lvl9pPr marL="3167" indent="0">
              <a:lnSpc>
                <a:spcPct val="100000"/>
              </a:lnSpc>
              <a:spcBef>
                <a:spcPts val="0"/>
              </a:spcBef>
              <a:buNone/>
              <a:defRPr sz="2194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etric 1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322758" y="685800"/>
            <a:ext cx="4389120" cy="1676400"/>
          </a:xfrm>
        </p:spPr>
        <p:txBody>
          <a:bodyPr anchor="b"/>
          <a:lstStyle>
            <a:lvl1pPr marL="3167" indent="0">
              <a:spcBef>
                <a:spcPts val="0"/>
              </a:spcBef>
              <a:buNone/>
              <a:defRPr sz="10973">
                <a:solidFill>
                  <a:schemeClr val="accent3"/>
                </a:solidFill>
              </a:defRPr>
            </a:lvl1pPr>
            <a:lvl2pPr marL="3167" indent="0">
              <a:spcBef>
                <a:spcPts val="0"/>
              </a:spcBef>
              <a:buNone/>
              <a:defRPr sz="10973">
                <a:solidFill>
                  <a:schemeClr val="accent3"/>
                </a:solidFill>
              </a:defRPr>
            </a:lvl2pPr>
            <a:lvl3pPr marL="3167" indent="0">
              <a:spcBef>
                <a:spcPts val="0"/>
              </a:spcBef>
              <a:buNone/>
              <a:defRPr sz="10973">
                <a:solidFill>
                  <a:schemeClr val="accent3"/>
                </a:solidFill>
              </a:defRPr>
            </a:lvl3pPr>
            <a:lvl4pPr marL="3167" indent="0">
              <a:spcBef>
                <a:spcPts val="0"/>
              </a:spcBef>
              <a:buNone/>
              <a:defRPr sz="10973">
                <a:solidFill>
                  <a:schemeClr val="accent3"/>
                </a:solidFill>
              </a:defRPr>
            </a:lvl4pPr>
            <a:lvl5pPr marL="3167" indent="0">
              <a:spcBef>
                <a:spcPts val="0"/>
              </a:spcBef>
              <a:buNone/>
              <a:defRPr sz="10973">
                <a:solidFill>
                  <a:schemeClr val="accent3"/>
                </a:solidFill>
              </a:defRPr>
            </a:lvl5pPr>
            <a:lvl6pPr marL="3167" indent="0">
              <a:spcBef>
                <a:spcPts val="0"/>
              </a:spcBef>
              <a:buNone/>
              <a:defRPr sz="10973">
                <a:solidFill>
                  <a:schemeClr val="accent3"/>
                </a:solidFill>
              </a:defRPr>
            </a:lvl6pPr>
            <a:lvl7pPr marL="3167" indent="0">
              <a:spcBef>
                <a:spcPts val="0"/>
              </a:spcBef>
              <a:buNone/>
              <a:defRPr sz="10973">
                <a:solidFill>
                  <a:schemeClr val="accent3"/>
                </a:solidFill>
              </a:defRPr>
            </a:lvl7pPr>
            <a:lvl8pPr marL="3167" indent="0">
              <a:spcBef>
                <a:spcPts val="0"/>
              </a:spcBef>
              <a:buNone/>
              <a:defRPr sz="10973">
                <a:solidFill>
                  <a:schemeClr val="accent3"/>
                </a:solidFill>
              </a:defRPr>
            </a:lvl8pPr>
            <a:lvl9pPr marL="3167" indent="0">
              <a:spcBef>
                <a:spcPts val="0"/>
              </a:spcBef>
              <a:buNone/>
              <a:defRPr sz="10973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322758" y="2362200"/>
            <a:ext cx="4389120" cy="1066800"/>
          </a:xfrm>
        </p:spPr>
        <p:txBody>
          <a:bodyPr/>
          <a:lstStyle>
            <a:lvl1pPr marL="3167" indent="0">
              <a:spcBef>
                <a:spcPts val="0"/>
              </a:spcBef>
              <a:buNone/>
              <a:defRPr sz="2394" cap="none" baseline="0">
                <a:solidFill>
                  <a:schemeClr val="accent3"/>
                </a:solidFill>
              </a:defRPr>
            </a:lvl1pPr>
            <a:lvl2pPr marL="3167" indent="0">
              <a:spcBef>
                <a:spcPts val="0"/>
              </a:spcBef>
              <a:buNone/>
              <a:defRPr sz="1995" cap="all" baseline="0">
                <a:solidFill>
                  <a:schemeClr val="accent3"/>
                </a:solidFill>
              </a:defRPr>
            </a:lvl2pPr>
            <a:lvl3pPr marL="3167" indent="0">
              <a:spcBef>
                <a:spcPts val="0"/>
              </a:spcBef>
              <a:buNone/>
              <a:defRPr sz="1995" cap="all" baseline="0">
                <a:solidFill>
                  <a:schemeClr val="accent3"/>
                </a:solidFill>
              </a:defRPr>
            </a:lvl3pPr>
            <a:lvl4pPr marL="3167" indent="0">
              <a:spcBef>
                <a:spcPts val="0"/>
              </a:spcBef>
              <a:buNone/>
              <a:defRPr sz="1995" cap="all" baseline="0">
                <a:solidFill>
                  <a:schemeClr val="accent3"/>
                </a:solidFill>
              </a:defRPr>
            </a:lvl4pPr>
            <a:lvl5pPr marL="3167" indent="0">
              <a:spcBef>
                <a:spcPts val="0"/>
              </a:spcBef>
              <a:buNone/>
              <a:defRPr sz="1995" cap="all" baseline="0">
                <a:solidFill>
                  <a:schemeClr val="accent3"/>
                </a:solidFill>
              </a:defRPr>
            </a:lvl5pPr>
            <a:lvl6pPr marL="3167" indent="0">
              <a:spcBef>
                <a:spcPts val="0"/>
              </a:spcBef>
              <a:buNone/>
              <a:defRPr sz="1995" cap="all" baseline="0">
                <a:solidFill>
                  <a:schemeClr val="accent3"/>
                </a:solidFill>
              </a:defRPr>
            </a:lvl6pPr>
            <a:lvl7pPr marL="3167" indent="0">
              <a:spcBef>
                <a:spcPts val="0"/>
              </a:spcBef>
              <a:buNone/>
              <a:defRPr sz="1995" cap="all" baseline="0">
                <a:solidFill>
                  <a:schemeClr val="accent3"/>
                </a:solidFill>
              </a:defRPr>
            </a:lvl7pPr>
            <a:lvl8pPr marL="3167" indent="0">
              <a:spcBef>
                <a:spcPts val="0"/>
              </a:spcBef>
              <a:buNone/>
              <a:defRPr sz="1995" cap="all" baseline="0">
                <a:solidFill>
                  <a:schemeClr val="accent3"/>
                </a:solidFill>
              </a:defRPr>
            </a:lvl8pPr>
            <a:lvl9pPr marL="3167" indent="0">
              <a:spcBef>
                <a:spcPts val="0"/>
              </a:spcBef>
              <a:buNone/>
              <a:defRPr sz="1995" cap="all" baseline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618040" y="6446048"/>
            <a:ext cx="1100080" cy="173355"/>
            <a:chOff x="-84138" y="5622925"/>
            <a:chExt cx="4330701" cy="682626"/>
          </a:xfrm>
        </p:grpSpPr>
        <p:sp>
          <p:nvSpPr>
            <p:cNvPr id="1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1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19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21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22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</p:grpSp>
    </p:spTree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etric 2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/>
          <p:nvPr/>
        </p:nvGrpSpPr>
        <p:grpSpPr>
          <a:xfrm>
            <a:off x="618040" y="6446048"/>
            <a:ext cx="1100080" cy="173355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1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1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19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21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22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</p:grp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05601" y="2209800"/>
            <a:ext cx="4389120" cy="1676400"/>
          </a:xfrm>
        </p:spPr>
        <p:txBody>
          <a:bodyPr anchor="b"/>
          <a:lstStyle>
            <a:lvl1pPr marL="3167" indent="0">
              <a:spcBef>
                <a:spcPts val="0"/>
              </a:spcBef>
              <a:buNone/>
              <a:defRPr sz="10973">
                <a:solidFill>
                  <a:schemeClr val="bg1"/>
                </a:solidFill>
              </a:defRPr>
            </a:lvl1pPr>
            <a:lvl2pPr marL="3167" indent="0">
              <a:spcBef>
                <a:spcPts val="0"/>
              </a:spcBef>
              <a:buNone/>
              <a:defRPr sz="10973">
                <a:solidFill>
                  <a:schemeClr val="bg1"/>
                </a:solidFill>
              </a:defRPr>
            </a:lvl2pPr>
            <a:lvl3pPr marL="3167" indent="0">
              <a:spcBef>
                <a:spcPts val="0"/>
              </a:spcBef>
              <a:buNone/>
              <a:defRPr sz="10973">
                <a:solidFill>
                  <a:schemeClr val="bg1"/>
                </a:solidFill>
              </a:defRPr>
            </a:lvl3pPr>
            <a:lvl4pPr marL="3167" indent="0">
              <a:spcBef>
                <a:spcPts val="0"/>
              </a:spcBef>
              <a:buNone/>
              <a:defRPr sz="10973">
                <a:solidFill>
                  <a:schemeClr val="bg1"/>
                </a:solidFill>
              </a:defRPr>
            </a:lvl4pPr>
            <a:lvl5pPr marL="3167" indent="0">
              <a:spcBef>
                <a:spcPts val="0"/>
              </a:spcBef>
              <a:buNone/>
              <a:defRPr sz="10973">
                <a:solidFill>
                  <a:schemeClr val="bg1"/>
                </a:solidFill>
              </a:defRPr>
            </a:lvl5pPr>
            <a:lvl6pPr marL="3167" indent="0">
              <a:spcBef>
                <a:spcPts val="0"/>
              </a:spcBef>
              <a:buNone/>
              <a:defRPr sz="10973">
                <a:solidFill>
                  <a:schemeClr val="bg1"/>
                </a:solidFill>
              </a:defRPr>
            </a:lvl6pPr>
            <a:lvl7pPr marL="3167" indent="0">
              <a:spcBef>
                <a:spcPts val="0"/>
              </a:spcBef>
              <a:buNone/>
              <a:defRPr sz="10973">
                <a:solidFill>
                  <a:schemeClr val="bg1"/>
                </a:solidFill>
              </a:defRPr>
            </a:lvl7pPr>
            <a:lvl8pPr marL="3167" indent="0">
              <a:spcBef>
                <a:spcPts val="0"/>
              </a:spcBef>
              <a:buNone/>
              <a:defRPr sz="10973">
                <a:solidFill>
                  <a:schemeClr val="bg1"/>
                </a:solidFill>
              </a:defRPr>
            </a:lvl8pPr>
            <a:lvl9pPr marL="3167" indent="0">
              <a:spcBef>
                <a:spcPts val="0"/>
              </a:spcBef>
              <a:buNone/>
              <a:defRPr sz="10973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705601" y="3886200"/>
            <a:ext cx="4389120" cy="1066800"/>
          </a:xfrm>
        </p:spPr>
        <p:txBody>
          <a:bodyPr/>
          <a:lstStyle>
            <a:lvl1pPr marL="3167" indent="0">
              <a:spcBef>
                <a:spcPts val="0"/>
              </a:spcBef>
              <a:buNone/>
              <a:defRPr sz="2394" cap="none" baseline="0">
                <a:solidFill>
                  <a:schemeClr val="bg1"/>
                </a:solidFill>
              </a:defRPr>
            </a:lvl1pPr>
            <a:lvl2pPr marL="3167" indent="0">
              <a:spcBef>
                <a:spcPts val="0"/>
              </a:spcBef>
              <a:buNone/>
              <a:defRPr sz="2394" cap="none" baseline="0">
                <a:solidFill>
                  <a:schemeClr val="bg1"/>
                </a:solidFill>
              </a:defRPr>
            </a:lvl2pPr>
            <a:lvl3pPr marL="3167" indent="0">
              <a:spcBef>
                <a:spcPts val="0"/>
              </a:spcBef>
              <a:buNone/>
              <a:defRPr sz="1995" cap="all" baseline="0">
                <a:solidFill>
                  <a:schemeClr val="bg1"/>
                </a:solidFill>
              </a:defRPr>
            </a:lvl3pPr>
            <a:lvl4pPr marL="3167" indent="0">
              <a:spcBef>
                <a:spcPts val="0"/>
              </a:spcBef>
              <a:buNone/>
              <a:defRPr sz="1995" cap="all" baseline="0">
                <a:solidFill>
                  <a:schemeClr val="bg1"/>
                </a:solidFill>
              </a:defRPr>
            </a:lvl4pPr>
            <a:lvl5pPr marL="3167" indent="0">
              <a:spcBef>
                <a:spcPts val="0"/>
              </a:spcBef>
              <a:buNone/>
              <a:defRPr sz="1995" cap="all" baseline="0">
                <a:solidFill>
                  <a:schemeClr val="bg1"/>
                </a:solidFill>
              </a:defRPr>
            </a:lvl5pPr>
            <a:lvl6pPr marL="3167" indent="0">
              <a:spcBef>
                <a:spcPts val="0"/>
              </a:spcBef>
              <a:buNone/>
              <a:defRPr sz="1995" cap="all" baseline="0">
                <a:solidFill>
                  <a:schemeClr val="bg1"/>
                </a:solidFill>
              </a:defRPr>
            </a:lvl6pPr>
            <a:lvl7pPr marL="3167" indent="0">
              <a:spcBef>
                <a:spcPts val="0"/>
              </a:spcBef>
              <a:buNone/>
              <a:defRPr sz="1995" cap="all" baseline="0">
                <a:solidFill>
                  <a:schemeClr val="bg1"/>
                </a:solidFill>
              </a:defRPr>
            </a:lvl7pPr>
            <a:lvl8pPr marL="3167" indent="0">
              <a:spcBef>
                <a:spcPts val="0"/>
              </a:spcBef>
              <a:buNone/>
              <a:defRPr sz="1995" cap="all" baseline="0">
                <a:solidFill>
                  <a:schemeClr val="bg1"/>
                </a:solidFill>
              </a:defRPr>
            </a:lvl8pPr>
            <a:lvl9pPr marL="3167" indent="0">
              <a:spcBef>
                <a:spcPts val="0"/>
              </a:spcBef>
              <a:buNone/>
              <a:defRPr sz="1995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etric 3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056348" y="5213798"/>
            <a:ext cx="3734854" cy="1415602"/>
          </a:xfrm>
        </p:spPr>
        <p:txBody>
          <a:bodyPr anchor="ctr"/>
          <a:lstStyle>
            <a:lvl1pPr marL="3167" indent="0" algn="r">
              <a:spcBef>
                <a:spcPts val="0"/>
              </a:spcBef>
              <a:buNone/>
              <a:defRPr sz="8778">
                <a:solidFill>
                  <a:schemeClr val="accent3">
                    <a:lumMod val="50000"/>
                  </a:schemeClr>
                </a:solidFill>
              </a:defRPr>
            </a:lvl1pPr>
            <a:lvl2pPr marL="3167" indent="0">
              <a:spcBef>
                <a:spcPts val="0"/>
              </a:spcBef>
              <a:buNone/>
              <a:defRPr sz="8778">
                <a:solidFill>
                  <a:schemeClr val="accent1">
                    <a:lumMod val="50000"/>
                  </a:schemeClr>
                </a:solidFill>
              </a:defRPr>
            </a:lvl2pPr>
            <a:lvl3pPr marL="3167" indent="0">
              <a:spcBef>
                <a:spcPts val="0"/>
              </a:spcBef>
              <a:buNone/>
              <a:defRPr sz="8778">
                <a:solidFill>
                  <a:schemeClr val="accent1">
                    <a:lumMod val="50000"/>
                  </a:schemeClr>
                </a:solidFill>
              </a:defRPr>
            </a:lvl3pPr>
            <a:lvl4pPr marL="3167" indent="0">
              <a:spcBef>
                <a:spcPts val="0"/>
              </a:spcBef>
              <a:buNone/>
              <a:defRPr sz="8778">
                <a:solidFill>
                  <a:schemeClr val="accent1">
                    <a:lumMod val="50000"/>
                  </a:schemeClr>
                </a:solidFill>
              </a:defRPr>
            </a:lvl4pPr>
            <a:lvl5pPr marL="3167" indent="0">
              <a:spcBef>
                <a:spcPts val="0"/>
              </a:spcBef>
              <a:buNone/>
              <a:defRPr sz="8778">
                <a:solidFill>
                  <a:schemeClr val="accent1">
                    <a:lumMod val="50000"/>
                  </a:schemeClr>
                </a:solidFill>
              </a:defRPr>
            </a:lvl5pPr>
            <a:lvl6pPr marL="3167" indent="0">
              <a:spcBef>
                <a:spcPts val="0"/>
              </a:spcBef>
              <a:buNone/>
              <a:defRPr sz="8778">
                <a:solidFill>
                  <a:schemeClr val="accent1">
                    <a:lumMod val="50000"/>
                  </a:schemeClr>
                </a:solidFill>
              </a:defRPr>
            </a:lvl6pPr>
            <a:lvl7pPr marL="3167" indent="0">
              <a:spcBef>
                <a:spcPts val="0"/>
              </a:spcBef>
              <a:buNone/>
              <a:defRPr sz="8778">
                <a:solidFill>
                  <a:schemeClr val="accent1">
                    <a:lumMod val="50000"/>
                  </a:schemeClr>
                </a:solidFill>
              </a:defRPr>
            </a:lvl7pPr>
            <a:lvl8pPr marL="3167" indent="0">
              <a:spcBef>
                <a:spcPts val="0"/>
              </a:spcBef>
              <a:buNone/>
              <a:defRPr sz="8778">
                <a:solidFill>
                  <a:schemeClr val="accent1">
                    <a:lumMod val="50000"/>
                  </a:schemeClr>
                </a:solidFill>
              </a:defRPr>
            </a:lvl8pPr>
            <a:lvl9pPr marL="3167" indent="0">
              <a:spcBef>
                <a:spcPts val="0"/>
              </a:spcBef>
              <a:buNone/>
              <a:defRPr sz="8778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6096002" y="5213798"/>
            <a:ext cx="4511040" cy="1415602"/>
          </a:xfrm>
        </p:spPr>
        <p:txBody>
          <a:bodyPr anchor="ctr"/>
          <a:lstStyle>
            <a:lvl1pPr marL="3167" indent="0">
              <a:spcBef>
                <a:spcPts val="0"/>
              </a:spcBef>
              <a:buNone/>
              <a:defRPr sz="2394">
                <a:solidFill>
                  <a:schemeClr val="accent3">
                    <a:lumMod val="50000"/>
                  </a:schemeClr>
                </a:solidFill>
              </a:defRPr>
            </a:lvl1pPr>
            <a:lvl2pPr marL="3167" indent="0">
              <a:spcBef>
                <a:spcPts val="0"/>
              </a:spcBef>
              <a:buNone/>
              <a:defRPr sz="1995">
                <a:solidFill>
                  <a:schemeClr val="accent1">
                    <a:lumMod val="50000"/>
                  </a:schemeClr>
                </a:solidFill>
              </a:defRPr>
            </a:lvl2pPr>
            <a:lvl3pPr marL="3167" indent="0">
              <a:spcBef>
                <a:spcPts val="0"/>
              </a:spcBef>
              <a:buNone/>
              <a:defRPr sz="1995">
                <a:solidFill>
                  <a:schemeClr val="accent1">
                    <a:lumMod val="50000"/>
                  </a:schemeClr>
                </a:solidFill>
              </a:defRPr>
            </a:lvl3pPr>
            <a:lvl4pPr marL="3167" indent="0">
              <a:spcBef>
                <a:spcPts val="0"/>
              </a:spcBef>
              <a:buNone/>
              <a:defRPr sz="1995">
                <a:solidFill>
                  <a:schemeClr val="accent1">
                    <a:lumMod val="50000"/>
                  </a:schemeClr>
                </a:solidFill>
              </a:defRPr>
            </a:lvl4pPr>
            <a:lvl5pPr marL="3167" indent="0">
              <a:spcBef>
                <a:spcPts val="0"/>
              </a:spcBef>
              <a:buNone/>
              <a:defRPr sz="1995">
                <a:solidFill>
                  <a:schemeClr val="accent1">
                    <a:lumMod val="50000"/>
                  </a:schemeClr>
                </a:solidFill>
              </a:defRPr>
            </a:lvl5pPr>
            <a:lvl6pPr marL="3167" indent="0">
              <a:spcBef>
                <a:spcPts val="0"/>
              </a:spcBef>
              <a:buNone/>
              <a:defRPr sz="1995">
                <a:solidFill>
                  <a:schemeClr val="accent1">
                    <a:lumMod val="50000"/>
                  </a:schemeClr>
                </a:solidFill>
              </a:defRPr>
            </a:lvl6pPr>
            <a:lvl7pPr marL="3167" indent="0">
              <a:spcBef>
                <a:spcPts val="0"/>
              </a:spcBef>
              <a:buNone/>
              <a:defRPr sz="1995">
                <a:solidFill>
                  <a:schemeClr val="accent1">
                    <a:lumMod val="50000"/>
                  </a:schemeClr>
                </a:solidFill>
              </a:defRPr>
            </a:lvl7pPr>
            <a:lvl8pPr marL="3167" indent="0">
              <a:spcBef>
                <a:spcPts val="0"/>
              </a:spcBef>
              <a:buNone/>
              <a:defRPr sz="1995">
                <a:solidFill>
                  <a:schemeClr val="accent1">
                    <a:lumMod val="50000"/>
                  </a:schemeClr>
                </a:solidFill>
              </a:defRPr>
            </a:lvl8pPr>
            <a:lvl9pPr marL="3167" indent="0">
              <a:spcBef>
                <a:spcPts val="0"/>
              </a:spcBef>
              <a:buNone/>
              <a:defRPr sz="1995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618040" y="6446048"/>
            <a:ext cx="1100080" cy="173355"/>
            <a:chOff x="-84138" y="5622925"/>
            <a:chExt cx="4330701" cy="682626"/>
          </a:xfrm>
        </p:grpSpPr>
        <p:sp>
          <p:nvSpPr>
            <p:cNvPr id="1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1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19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21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22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</p:grpSp>
    </p:spTree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371600"/>
            <a:ext cx="5242561" cy="4648200"/>
          </a:xfrm>
        </p:spPr>
        <p:txBody>
          <a:bodyPr/>
          <a:lstStyle>
            <a:lvl1pPr>
              <a:defRPr sz="1995"/>
            </a:lvl1pPr>
            <a:lvl2pPr>
              <a:defRPr sz="1795"/>
            </a:lvl2pPr>
            <a:lvl3pPr>
              <a:defRPr sz="1596"/>
            </a:lvl3pPr>
            <a:lvl4pPr>
              <a:defRPr sz="1397"/>
            </a:lvl4pPr>
            <a:lvl5pPr>
              <a:defRPr sz="1397"/>
            </a:lvl5pPr>
            <a:lvl6pPr>
              <a:defRPr sz="1397"/>
            </a:lvl6pPr>
            <a:lvl7pPr>
              <a:defRPr sz="1397"/>
            </a:lvl7pPr>
            <a:lvl8pPr>
              <a:defRPr sz="1397"/>
            </a:lvl8pPr>
            <a:lvl9pPr>
              <a:defRPr sz="139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39842" y="1371600"/>
            <a:ext cx="5242561" cy="4648200"/>
          </a:xfrm>
        </p:spPr>
        <p:txBody>
          <a:bodyPr/>
          <a:lstStyle>
            <a:lvl1pPr>
              <a:defRPr sz="1995"/>
            </a:lvl1pPr>
            <a:lvl2pPr>
              <a:defRPr sz="1795"/>
            </a:lvl2pPr>
            <a:lvl3pPr>
              <a:defRPr sz="1596"/>
            </a:lvl3pPr>
            <a:lvl4pPr>
              <a:defRPr sz="1397"/>
            </a:lvl4pPr>
            <a:lvl5pPr>
              <a:defRPr sz="1397"/>
            </a:lvl5pPr>
            <a:lvl6pPr>
              <a:defRPr sz="1397"/>
            </a:lvl6pPr>
            <a:lvl7pPr>
              <a:defRPr sz="1397"/>
            </a:lvl7pPr>
            <a:lvl8pPr>
              <a:defRPr sz="1397"/>
            </a:lvl8pPr>
            <a:lvl9pPr>
              <a:defRPr sz="139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717074">
                    <a:tint val="75000"/>
                  </a:srgbClr>
                </a:solidFill>
              </a:rPr>
              <a:t>CONFIDENTIAL - VMWARE ONL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371600"/>
            <a:ext cx="5242561" cy="639762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995" b="1">
                <a:solidFill>
                  <a:schemeClr val="tx1"/>
                </a:solidFill>
              </a:defRPr>
            </a:lvl1pPr>
            <a:lvl2pPr marL="456057" indent="0">
              <a:buNone/>
              <a:defRPr sz="1995" b="1"/>
            </a:lvl2pPr>
            <a:lvl3pPr marL="912115" indent="0">
              <a:buNone/>
              <a:defRPr sz="1795" b="1"/>
            </a:lvl3pPr>
            <a:lvl4pPr marL="1368172" indent="0">
              <a:buNone/>
              <a:defRPr sz="1596" b="1"/>
            </a:lvl4pPr>
            <a:lvl5pPr marL="1824229" indent="0">
              <a:buNone/>
              <a:defRPr sz="1596" b="1"/>
            </a:lvl5pPr>
            <a:lvl6pPr marL="2280286" indent="0">
              <a:buNone/>
              <a:defRPr sz="1596" b="1"/>
            </a:lvl6pPr>
            <a:lvl7pPr marL="2736344" indent="0">
              <a:buNone/>
              <a:defRPr sz="1596" b="1"/>
            </a:lvl7pPr>
            <a:lvl8pPr marL="3192401" indent="0">
              <a:buNone/>
              <a:defRPr sz="1596" b="1"/>
            </a:lvl8pPr>
            <a:lvl9pPr marL="3648459" indent="0">
              <a:buNone/>
              <a:defRPr sz="1596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057400"/>
            <a:ext cx="5242561" cy="3962400"/>
          </a:xfrm>
        </p:spPr>
        <p:txBody>
          <a:bodyPr/>
          <a:lstStyle>
            <a:lvl1pPr>
              <a:defRPr sz="1995"/>
            </a:lvl1pPr>
            <a:lvl2pPr>
              <a:defRPr sz="1795"/>
            </a:lvl2pPr>
            <a:lvl3pPr>
              <a:defRPr sz="1596"/>
            </a:lvl3pPr>
            <a:lvl4pPr>
              <a:defRPr sz="1397"/>
            </a:lvl4pPr>
            <a:lvl5pPr>
              <a:defRPr sz="1397"/>
            </a:lvl5pPr>
            <a:lvl6pPr>
              <a:defRPr sz="1397"/>
            </a:lvl6pPr>
            <a:lvl7pPr>
              <a:defRPr sz="1397"/>
            </a:lvl7pPr>
            <a:lvl8pPr>
              <a:defRPr sz="1397"/>
            </a:lvl8pPr>
            <a:lvl9pPr>
              <a:defRPr sz="139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39842" y="1371600"/>
            <a:ext cx="5242561" cy="639762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995" b="1">
                <a:solidFill>
                  <a:schemeClr val="tx1"/>
                </a:solidFill>
              </a:defRPr>
            </a:lvl1pPr>
            <a:lvl2pPr marL="456057" indent="0">
              <a:buNone/>
              <a:defRPr sz="1995" b="1"/>
            </a:lvl2pPr>
            <a:lvl3pPr marL="912115" indent="0">
              <a:buNone/>
              <a:defRPr sz="1795" b="1"/>
            </a:lvl3pPr>
            <a:lvl4pPr marL="1368172" indent="0">
              <a:buNone/>
              <a:defRPr sz="1596" b="1"/>
            </a:lvl4pPr>
            <a:lvl5pPr marL="1824229" indent="0">
              <a:buNone/>
              <a:defRPr sz="1596" b="1"/>
            </a:lvl5pPr>
            <a:lvl6pPr marL="2280286" indent="0">
              <a:buNone/>
              <a:defRPr sz="1596" b="1"/>
            </a:lvl6pPr>
            <a:lvl7pPr marL="2736344" indent="0">
              <a:buNone/>
              <a:defRPr sz="1596" b="1"/>
            </a:lvl7pPr>
            <a:lvl8pPr marL="3192401" indent="0">
              <a:buNone/>
              <a:defRPr sz="1596" b="1"/>
            </a:lvl8pPr>
            <a:lvl9pPr marL="3648459" indent="0">
              <a:buNone/>
              <a:defRPr sz="1596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39842" y="2057400"/>
            <a:ext cx="5242561" cy="3962400"/>
          </a:xfrm>
        </p:spPr>
        <p:txBody>
          <a:bodyPr/>
          <a:lstStyle>
            <a:lvl1pPr>
              <a:defRPr sz="1995"/>
            </a:lvl1pPr>
            <a:lvl2pPr>
              <a:defRPr sz="1795"/>
            </a:lvl2pPr>
            <a:lvl3pPr>
              <a:defRPr sz="1596"/>
            </a:lvl3pPr>
            <a:lvl4pPr>
              <a:defRPr sz="1397"/>
            </a:lvl4pPr>
            <a:lvl5pPr>
              <a:defRPr sz="1397"/>
            </a:lvl5pPr>
            <a:lvl6pPr>
              <a:defRPr sz="1397"/>
            </a:lvl6pPr>
            <a:lvl7pPr>
              <a:defRPr sz="1397"/>
            </a:lvl7pPr>
            <a:lvl8pPr>
              <a:defRPr sz="1397"/>
            </a:lvl8pPr>
            <a:lvl9pPr>
              <a:defRPr sz="139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717074">
                    <a:tint val="75000"/>
                  </a:srgbClr>
                </a:solidFill>
              </a:rPr>
              <a:t>CONFIDENTIAL - VMWARE ONLY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717074">
                    <a:tint val="75000"/>
                  </a:srgbClr>
                </a:solidFill>
              </a:rPr>
              <a:t>CONFIDENTIAL - VMWARE ONLY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13" y="1371600"/>
            <a:ext cx="5242561" cy="639762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13" y="2057400"/>
            <a:ext cx="5242561" cy="39624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39854" y="1371600"/>
            <a:ext cx="5242561" cy="639762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39854" y="2057400"/>
            <a:ext cx="5242561" cy="39624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111049-A980-9A4B-BDCF-935BD3D35A43}" type="datetimeFigureOut">
              <a:rPr lang="en-US" smtClean="0"/>
              <a:t>24-Sep-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9C9BFC-FCFF-7247-B387-15C2934714B0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wipe dir="r"/>
      </p:transition>
    </mc:Choice>
    <mc:Fallback xmlns="">
      <p:transition xmlns:p14="http://schemas.microsoft.com/office/powerpoint/2010/main" spd="slow">
        <p:wipe dir="r"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717074">
                    <a:tint val="75000"/>
                  </a:srgbClr>
                </a:solidFill>
              </a:rPr>
              <a:t>CONFIDENTIAL - VMWARE ONLY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2" y="1219200"/>
            <a:ext cx="10972801" cy="304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795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1995">
                <a:solidFill>
                  <a:schemeClr val="accent4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1995">
                <a:solidFill>
                  <a:schemeClr val="accent4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1995">
                <a:solidFill>
                  <a:schemeClr val="accent4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1995">
                <a:solidFill>
                  <a:schemeClr val="accent4"/>
                </a:solidFill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buNone/>
              <a:defRPr sz="1995">
                <a:solidFill>
                  <a:schemeClr val="accent4"/>
                </a:solidFill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buNone/>
              <a:defRPr sz="1995">
                <a:solidFill>
                  <a:schemeClr val="accent4"/>
                </a:solidFill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buNone/>
              <a:defRPr sz="1995">
                <a:solidFill>
                  <a:schemeClr val="accent4"/>
                </a:solidFill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buNone/>
              <a:defRPr sz="1995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717074">
                    <a:tint val="75000"/>
                  </a:srgbClr>
                </a:solidFill>
              </a:rPr>
              <a:t>CONFIDENTIAL - VMWARE ONL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79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371601"/>
            <a:ext cx="7924799" cy="4648199"/>
          </a:xfrm>
        </p:spPr>
        <p:txBody>
          <a:bodyPr/>
          <a:lstStyle>
            <a:lvl1pPr>
              <a:defRPr sz="1995"/>
            </a:lvl1pPr>
            <a:lvl2pPr>
              <a:defRPr sz="1795"/>
            </a:lvl2pPr>
            <a:lvl3pPr>
              <a:defRPr sz="1596"/>
            </a:lvl3pPr>
            <a:lvl4pPr>
              <a:defRPr sz="1397"/>
            </a:lvl4pPr>
            <a:lvl5pPr>
              <a:defRPr sz="1397"/>
            </a:lvl5pPr>
            <a:lvl6pPr>
              <a:defRPr sz="1397"/>
            </a:lvl6pPr>
            <a:lvl7pPr>
              <a:defRPr sz="1397"/>
            </a:lvl7pPr>
            <a:lvl8pPr>
              <a:defRPr sz="1397"/>
            </a:lvl8pPr>
            <a:lvl9pPr>
              <a:defRPr sz="139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37602" y="1371601"/>
            <a:ext cx="2844800" cy="4648199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1795">
                <a:solidFill>
                  <a:schemeClr val="tx1"/>
                </a:solidFill>
              </a:defRPr>
            </a:lvl1pPr>
            <a:lvl2pPr marL="0" indent="0">
              <a:buNone/>
              <a:defRPr sz="1795">
                <a:solidFill>
                  <a:schemeClr val="accent4"/>
                </a:solidFill>
              </a:defRPr>
            </a:lvl2pPr>
            <a:lvl3pPr marL="0" indent="0">
              <a:buNone/>
              <a:defRPr sz="1795">
                <a:solidFill>
                  <a:schemeClr val="accent4"/>
                </a:solidFill>
              </a:defRPr>
            </a:lvl3pPr>
            <a:lvl4pPr marL="0" indent="0">
              <a:buNone/>
              <a:defRPr sz="1795">
                <a:solidFill>
                  <a:schemeClr val="accent4"/>
                </a:solidFill>
              </a:defRPr>
            </a:lvl4pPr>
            <a:lvl5pPr marL="0" indent="0">
              <a:buNone/>
              <a:defRPr sz="1795">
                <a:solidFill>
                  <a:schemeClr val="accent4"/>
                </a:solidFill>
              </a:defRPr>
            </a:lvl5pPr>
            <a:lvl6pPr marL="0" indent="0">
              <a:buNone/>
              <a:defRPr sz="1795">
                <a:solidFill>
                  <a:schemeClr val="accent4"/>
                </a:solidFill>
              </a:defRPr>
            </a:lvl6pPr>
            <a:lvl7pPr marL="0" indent="0">
              <a:buNone/>
              <a:defRPr sz="1795">
                <a:solidFill>
                  <a:schemeClr val="accent4"/>
                </a:solidFill>
              </a:defRPr>
            </a:lvl7pPr>
            <a:lvl8pPr marL="0" indent="0">
              <a:buNone/>
              <a:defRPr sz="1795">
                <a:solidFill>
                  <a:schemeClr val="accent4"/>
                </a:solidFill>
              </a:defRPr>
            </a:lvl8pPr>
            <a:lvl9pPr marL="0" indent="0">
              <a:buNone/>
              <a:defRPr sz="1795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717074">
                    <a:tint val="75000"/>
                  </a:srgbClr>
                </a:solidFill>
              </a:rPr>
              <a:t>CONFIDENTIAL - VMWARE ONL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79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" y="1371600"/>
            <a:ext cx="12192000" cy="3429000"/>
          </a:xfrm>
        </p:spPr>
        <p:txBody>
          <a:bodyPr tIns="365760"/>
          <a:lstStyle>
            <a:lvl1pPr marL="0" indent="0" algn="ctr">
              <a:buNone/>
              <a:defRPr sz="1995"/>
            </a:lvl1pPr>
            <a:lvl2pPr marL="456057" indent="0">
              <a:buNone/>
              <a:defRPr sz="2793"/>
            </a:lvl2pPr>
            <a:lvl3pPr marL="912115" indent="0">
              <a:buNone/>
              <a:defRPr sz="2394"/>
            </a:lvl3pPr>
            <a:lvl4pPr marL="1368172" indent="0">
              <a:buNone/>
              <a:defRPr sz="1995"/>
            </a:lvl4pPr>
            <a:lvl5pPr marL="1824229" indent="0">
              <a:buNone/>
              <a:defRPr sz="1995"/>
            </a:lvl5pPr>
            <a:lvl6pPr marL="2280286" indent="0">
              <a:buNone/>
              <a:defRPr sz="1995"/>
            </a:lvl6pPr>
            <a:lvl7pPr marL="2736344" indent="0">
              <a:buNone/>
              <a:defRPr sz="1995"/>
            </a:lvl7pPr>
            <a:lvl8pPr marL="3192401" indent="0">
              <a:buNone/>
              <a:defRPr sz="1995"/>
            </a:lvl8pPr>
            <a:lvl9pPr marL="3648459" indent="0">
              <a:buNone/>
              <a:defRPr sz="1995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4953000"/>
            <a:ext cx="10972801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795">
                <a:solidFill>
                  <a:schemeClr val="tx1"/>
                </a:solidFill>
              </a:defRPr>
            </a:lvl1pPr>
            <a:lvl2pPr marL="0" indent="0">
              <a:buNone/>
              <a:defRPr sz="1795">
                <a:solidFill>
                  <a:schemeClr val="accent4"/>
                </a:solidFill>
              </a:defRPr>
            </a:lvl2pPr>
            <a:lvl3pPr marL="0" indent="0">
              <a:buNone/>
              <a:defRPr sz="1795">
                <a:solidFill>
                  <a:schemeClr val="accent4"/>
                </a:solidFill>
              </a:defRPr>
            </a:lvl3pPr>
            <a:lvl4pPr marL="0" indent="0">
              <a:buNone/>
              <a:defRPr sz="1795">
                <a:solidFill>
                  <a:schemeClr val="accent4"/>
                </a:solidFill>
              </a:defRPr>
            </a:lvl4pPr>
            <a:lvl5pPr marL="0" indent="0">
              <a:buNone/>
              <a:defRPr sz="1795">
                <a:solidFill>
                  <a:schemeClr val="accent4"/>
                </a:solidFill>
              </a:defRPr>
            </a:lvl5pPr>
            <a:lvl6pPr marL="0" indent="0">
              <a:buNone/>
              <a:defRPr sz="1795">
                <a:solidFill>
                  <a:schemeClr val="accent4"/>
                </a:solidFill>
              </a:defRPr>
            </a:lvl6pPr>
            <a:lvl7pPr marL="0" indent="0">
              <a:buNone/>
              <a:defRPr sz="1795">
                <a:solidFill>
                  <a:schemeClr val="accent4"/>
                </a:solidFill>
              </a:defRPr>
            </a:lvl7pPr>
            <a:lvl8pPr marL="0" indent="0">
              <a:buNone/>
              <a:defRPr sz="1795">
                <a:solidFill>
                  <a:schemeClr val="accent4"/>
                </a:solidFill>
              </a:defRPr>
            </a:lvl8pPr>
            <a:lvl9pPr marL="0" indent="0">
              <a:buNone/>
              <a:defRPr sz="1795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717074">
                    <a:tint val="75000"/>
                  </a:srgbClr>
                </a:solidFill>
              </a:rPr>
              <a:t>CONFIDENTIAL - VMWARE ONL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79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1371600"/>
            <a:ext cx="6006497" cy="3429000"/>
          </a:xfrm>
        </p:spPr>
        <p:txBody>
          <a:bodyPr tIns="365760"/>
          <a:lstStyle>
            <a:lvl1pPr marL="0" indent="0" algn="ctr">
              <a:buNone/>
              <a:defRPr sz="1995"/>
            </a:lvl1pPr>
            <a:lvl2pPr marL="456057" indent="0">
              <a:buNone/>
              <a:defRPr sz="2793"/>
            </a:lvl2pPr>
            <a:lvl3pPr marL="912115" indent="0">
              <a:buNone/>
              <a:defRPr sz="2394"/>
            </a:lvl3pPr>
            <a:lvl4pPr marL="1368172" indent="0">
              <a:buNone/>
              <a:defRPr sz="1995"/>
            </a:lvl4pPr>
            <a:lvl5pPr marL="1824229" indent="0">
              <a:buNone/>
              <a:defRPr sz="1995"/>
            </a:lvl5pPr>
            <a:lvl6pPr marL="2280286" indent="0">
              <a:buNone/>
              <a:defRPr sz="1995"/>
            </a:lvl6pPr>
            <a:lvl7pPr marL="2736344" indent="0">
              <a:buNone/>
              <a:defRPr sz="1995"/>
            </a:lvl7pPr>
            <a:lvl8pPr marL="3192401" indent="0">
              <a:buNone/>
              <a:defRPr sz="1995"/>
            </a:lvl8pPr>
            <a:lvl9pPr marL="3648459" indent="0">
              <a:buNone/>
              <a:defRPr sz="1995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5648" y="4953000"/>
            <a:ext cx="4775199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795">
                <a:solidFill>
                  <a:schemeClr val="tx1"/>
                </a:solidFill>
              </a:defRPr>
            </a:lvl1pPr>
            <a:lvl2pPr marL="0" indent="0">
              <a:buNone/>
              <a:defRPr sz="1795">
                <a:solidFill>
                  <a:schemeClr val="accent4"/>
                </a:solidFill>
              </a:defRPr>
            </a:lvl2pPr>
            <a:lvl3pPr marL="0" indent="0">
              <a:buNone/>
              <a:defRPr sz="1795">
                <a:solidFill>
                  <a:schemeClr val="accent4"/>
                </a:solidFill>
              </a:defRPr>
            </a:lvl3pPr>
            <a:lvl4pPr marL="0" indent="0">
              <a:buNone/>
              <a:defRPr sz="1795">
                <a:solidFill>
                  <a:schemeClr val="accent4"/>
                </a:solidFill>
              </a:defRPr>
            </a:lvl4pPr>
            <a:lvl5pPr marL="0" indent="0">
              <a:buNone/>
              <a:defRPr sz="1795">
                <a:solidFill>
                  <a:schemeClr val="accent4"/>
                </a:solidFill>
              </a:defRPr>
            </a:lvl5pPr>
            <a:lvl6pPr marL="0" indent="0">
              <a:buNone/>
              <a:defRPr sz="1795">
                <a:solidFill>
                  <a:schemeClr val="accent4"/>
                </a:solidFill>
              </a:defRPr>
            </a:lvl6pPr>
            <a:lvl7pPr marL="0" indent="0">
              <a:buNone/>
              <a:defRPr sz="1795">
                <a:solidFill>
                  <a:schemeClr val="accent4"/>
                </a:solidFill>
              </a:defRPr>
            </a:lvl7pPr>
            <a:lvl8pPr marL="0" indent="0">
              <a:buNone/>
              <a:defRPr sz="1795">
                <a:solidFill>
                  <a:schemeClr val="accent4"/>
                </a:solidFill>
              </a:defRPr>
            </a:lvl8pPr>
            <a:lvl9pPr marL="0" indent="0">
              <a:buNone/>
              <a:defRPr sz="1795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717074">
                    <a:tint val="75000"/>
                  </a:srgbClr>
                </a:solidFill>
              </a:rPr>
              <a:t>CONFIDENTIAL - VMWARE ONL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>
          <a:xfrm>
            <a:off x="6185504" y="1371600"/>
            <a:ext cx="6006497" cy="3429000"/>
          </a:xfrm>
        </p:spPr>
        <p:txBody>
          <a:bodyPr tIns="365760"/>
          <a:lstStyle>
            <a:lvl1pPr marL="0" indent="0" algn="ctr">
              <a:buNone/>
              <a:defRPr sz="1995"/>
            </a:lvl1pPr>
            <a:lvl2pPr marL="456057" indent="0">
              <a:buNone/>
              <a:defRPr sz="2793"/>
            </a:lvl2pPr>
            <a:lvl3pPr marL="912115" indent="0">
              <a:buNone/>
              <a:defRPr sz="2394"/>
            </a:lvl3pPr>
            <a:lvl4pPr marL="1368172" indent="0">
              <a:buNone/>
              <a:defRPr sz="1995"/>
            </a:lvl4pPr>
            <a:lvl5pPr marL="1824229" indent="0">
              <a:buNone/>
              <a:defRPr sz="1995"/>
            </a:lvl5pPr>
            <a:lvl6pPr marL="2280286" indent="0">
              <a:buNone/>
              <a:defRPr sz="1995"/>
            </a:lvl6pPr>
            <a:lvl7pPr marL="2736344" indent="0">
              <a:buNone/>
              <a:defRPr sz="1995"/>
            </a:lvl7pPr>
            <a:lvl8pPr marL="3192401" indent="0">
              <a:buNone/>
              <a:defRPr sz="1995"/>
            </a:lvl8pPr>
            <a:lvl9pPr marL="3648459" indent="0">
              <a:buNone/>
              <a:defRPr sz="1995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>
          <a:xfrm>
            <a:off x="6807201" y="4953000"/>
            <a:ext cx="4775199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795">
                <a:solidFill>
                  <a:schemeClr val="tx1"/>
                </a:solidFill>
              </a:defRPr>
            </a:lvl1pPr>
            <a:lvl2pPr marL="0" indent="0">
              <a:buNone/>
              <a:defRPr sz="1795">
                <a:solidFill>
                  <a:schemeClr val="accent4"/>
                </a:solidFill>
              </a:defRPr>
            </a:lvl2pPr>
            <a:lvl3pPr marL="0" indent="0">
              <a:buNone/>
              <a:defRPr sz="1795">
                <a:solidFill>
                  <a:schemeClr val="accent4"/>
                </a:solidFill>
              </a:defRPr>
            </a:lvl3pPr>
            <a:lvl4pPr marL="0" indent="0">
              <a:buNone/>
              <a:defRPr sz="1795">
                <a:solidFill>
                  <a:schemeClr val="accent4"/>
                </a:solidFill>
              </a:defRPr>
            </a:lvl4pPr>
            <a:lvl5pPr marL="0" indent="0">
              <a:buNone/>
              <a:defRPr sz="1795">
                <a:solidFill>
                  <a:schemeClr val="accent4"/>
                </a:solidFill>
              </a:defRPr>
            </a:lvl5pPr>
            <a:lvl6pPr marL="0" indent="0">
              <a:buNone/>
              <a:defRPr sz="1795">
                <a:solidFill>
                  <a:schemeClr val="accent4"/>
                </a:solidFill>
              </a:defRPr>
            </a:lvl6pPr>
            <a:lvl7pPr marL="0" indent="0">
              <a:buNone/>
              <a:defRPr sz="1795">
                <a:solidFill>
                  <a:schemeClr val="accent4"/>
                </a:solidFill>
              </a:defRPr>
            </a:lvl7pPr>
            <a:lvl8pPr marL="0" indent="0">
              <a:buNone/>
              <a:defRPr sz="1795">
                <a:solidFill>
                  <a:schemeClr val="accent4"/>
                </a:solidFill>
              </a:defRPr>
            </a:lvl8pPr>
            <a:lvl9pPr marL="0" indent="0">
              <a:buNone/>
              <a:defRPr sz="1795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79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1371600"/>
            <a:ext cx="3962400" cy="3429000"/>
          </a:xfrm>
        </p:spPr>
        <p:txBody>
          <a:bodyPr tIns="365760"/>
          <a:lstStyle>
            <a:lvl1pPr marL="0" indent="0" algn="ctr">
              <a:buNone/>
              <a:defRPr sz="1995"/>
            </a:lvl1pPr>
            <a:lvl2pPr marL="456057" indent="0">
              <a:buNone/>
              <a:defRPr sz="2793"/>
            </a:lvl2pPr>
            <a:lvl3pPr marL="912115" indent="0">
              <a:buNone/>
              <a:defRPr sz="2394"/>
            </a:lvl3pPr>
            <a:lvl4pPr marL="1368172" indent="0">
              <a:buNone/>
              <a:defRPr sz="1995"/>
            </a:lvl4pPr>
            <a:lvl5pPr marL="1824229" indent="0">
              <a:buNone/>
              <a:defRPr sz="1995"/>
            </a:lvl5pPr>
            <a:lvl6pPr marL="2280286" indent="0">
              <a:buNone/>
              <a:defRPr sz="1995"/>
            </a:lvl6pPr>
            <a:lvl7pPr marL="2736344" indent="0">
              <a:buNone/>
              <a:defRPr sz="1995"/>
            </a:lvl7pPr>
            <a:lvl8pPr marL="3192401" indent="0">
              <a:buNone/>
              <a:defRPr sz="1995"/>
            </a:lvl8pPr>
            <a:lvl9pPr marL="3648459" indent="0">
              <a:buNone/>
              <a:defRPr sz="1995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4953000"/>
            <a:ext cx="2743200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795">
                <a:solidFill>
                  <a:schemeClr val="tx1"/>
                </a:solidFill>
              </a:defRPr>
            </a:lvl1pPr>
            <a:lvl2pPr marL="0" indent="0">
              <a:buNone/>
              <a:defRPr sz="1795">
                <a:solidFill>
                  <a:schemeClr val="accent4"/>
                </a:solidFill>
              </a:defRPr>
            </a:lvl2pPr>
            <a:lvl3pPr marL="0" indent="0">
              <a:buNone/>
              <a:defRPr sz="1795">
                <a:solidFill>
                  <a:schemeClr val="accent4"/>
                </a:solidFill>
              </a:defRPr>
            </a:lvl3pPr>
            <a:lvl4pPr marL="0" indent="0">
              <a:buNone/>
              <a:defRPr sz="1795">
                <a:solidFill>
                  <a:schemeClr val="accent4"/>
                </a:solidFill>
              </a:defRPr>
            </a:lvl4pPr>
            <a:lvl5pPr marL="0" indent="0">
              <a:buNone/>
              <a:defRPr sz="1795">
                <a:solidFill>
                  <a:schemeClr val="accent4"/>
                </a:solidFill>
              </a:defRPr>
            </a:lvl5pPr>
            <a:lvl6pPr marL="0" indent="0">
              <a:buNone/>
              <a:defRPr sz="1795">
                <a:solidFill>
                  <a:schemeClr val="accent4"/>
                </a:solidFill>
              </a:defRPr>
            </a:lvl6pPr>
            <a:lvl7pPr marL="0" indent="0">
              <a:buNone/>
              <a:defRPr sz="1795">
                <a:solidFill>
                  <a:schemeClr val="accent4"/>
                </a:solidFill>
              </a:defRPr>
            </a:lvl7pPr>
            <a:lvl8pPr marL="0" indent="0">
              <a:buNone/>
              <a:defRPr sz="1795">
                <a:solidFill>
                  <a:schemeClr val="accent4"/>
                </a:solidFill>
              </a:defRPr>
            </a:lvl8pPr>
            <a:lvl9pPr marL="0" indent="0">
              <a:buNone/>
              <a:defRPr sz="1795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717074">
                    <a:tint val="75000"/>
                  </a:srgbClr>
                </a:solidFill>
              </a:rPr>
              <a:t>CONFIDENTIAL - VMWARE ONL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>
          <a:xfrm>
            <a:off x="4114801" y="1371600"/>
            <a:ext cx="3962400" cy="3429000"/>
          </a:xfrm>
        </p:spPr>
        <p:txBody>
          <a:bodyPr tIns="365760"/>
          <a:lstStyle>
            <a:lvl1pPr marL="0" indent="0" algn="ctr">
              <a:buNone/>
              <a:defRPr sz="1995"/>
            </a:lvl1pPr>
            <a:lvl2pPr marL="456057" indent="0">
              <a:buNone/>
              <a:defRPr sz="2793"/>
            </a:lvl2pPr>
            <a:lvl3pPr marL="912115" indent="0">
              <a:buNone/>
              <a:defRPr sz="2394"/>
            </a:lvl3pPr>
            <a:lvl4pPr marL="1368172" indent="0">
              <a:buNone/>
              <a:defRPr sz="1995"/>
            </a:lvl4pPr>
            <a:lvl5pPr marL="1824229" indent="0">
              <a:buNone/>
              <a:defRPr sz="1995"/>
            </a:lvl5pPr>
            <a:lvl6pPr marL="2280286" indent="0">
              <a:buNone/>
              <a:defRPr sz="1995"/>
            </a:lvl6pPr>
            <a:lvl7pPr marL="2736344" indent="0">
              <a:buNone/>
              <a:defRPr sz="1995"/>
            </a:lvl7pPr>
            <a:lvl8pPr marL="3192401" indent="0">
              <a:buNone/>
              <a:defRPr sz="1995"/>
            </a:lvl8pPr>
            <a:lvl9pPr marL="3648459" indent="0">
              <a:buNone/>
              <a:defRPr sz="1995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>
          <a:xfrm>
            <a:off x="4724400" y="4953000"/>
            <a:ext cx="2743200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795">
                <a:solidFill>
                  <a:schemeClr val="tx1"/>
                </a:solidFill>
              </a:defRPr>
            </a:lvl1pPr>
            <a:lvl2pPr marL="0" indent="0">
              <a:buNone/>
              <a:defRPr sz="1795">
                <a:solidFill>
                  <a:schemeClr val="accent4"/>
                </a:solidFill>
              </a:defRPr>
            </a:lvl2pPr>
            <a:lvl3pPr marL="0" indent="0">
              <a:buNone/>
              <a:defRPr sz="1795">
                <a:solidFill>
                  <a:schemeClr val="accent4"/>
                </a:solidFill>
              </a:defRPr>
            </a:lvl3pPr>
            <a:lvl4pPr marL="0" indent="0">
              <a:buNone/>
              <a:defRPr sz="1795">
                <a:solidFill>
                  <a:schemeClr val="accent4"/>
                </a:solidFill>
              </a:defRPr>
            </a:lvl4pPr>
            <a:lvl5pPr marL="0" indent="0">
              <a:buNone/>
              <a:defRPr sz="1795">
                <a:solidFill>
                  <a:schemeClr val="accent4"/>
                </a:solidFill>
              </a:defRPr>
            </a:lvl5pPr>
            <a:lvl6pPr marL="0" indent="0">
              <a:buNone/>
              <a:defRPr sz="1795">
                <a:solidFill>
                  <a:schemeClr val="accent4"/>
                </a:solidFill>
              </a:defRPr>
            </a:lvl6pPr>
            <a:lvl7pPr marL="0" indent="0">
              <a:buNone/>
              <a:defRPr sz="1795">
                <a:solidFill>
                  <a:schemeClr val="accent4"/>
                </a:solidFill>
              </a:defRPr>
            </a:lvl7pPr>
            <a:lvl8pPr marL="0" indent="0">
              <a:buNone/>
              <a:defRPr sz="1795">
                <a:solidFill>
                  <a:schemeClr val="accent4"/>
                </a:solidFill>
              </a:defRPr>
            </a:lvl8pPr>
            <a:lvl9pPr marL="0" indent="0">
              <a:buNone/>
              <a:defRPr sz="1795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>
          <a:xfrm>
            <a:off x="8229601" y="1371600"/>
            <a:ext cx="3962400" cy="3429000"/>
          </a:xfrm>
        </p:spPr>
        <p:txBody>
          <a:bodyPr tIns="365760"/>
          <a:lstStyle>
            <a:lvl1pPr marL="0" indent="0" algn="ctr">
              <a:buNone/>
              <a:defRPr sz="1995"/>
            </a:lvl1pPr>
            <a:lvl2pPr marL="456057" indent="0">
              <a:buNone/>
              <a:defRPr sz="2793"/>
            </a:lvl2pPr>
            <a:lvl3pPr marL="912115" indent="0">
              <a:buNone/>
              <a:defRPr sz="2394"/>
            </a:lvl3pPr>
            <a:lvl4pPr marL="1368172" indent="0">
              <a:buNone/>
              <a:defRPr sz="1995"/>
            </a:lvl4pPr>
            <a:lvl5pPr marL="1824229" indent="0">
              <a:buNone/>
              <a:defRPr sz="1995"/>
            </a:lvl5pPr>
            <a:lvl6pPr marL="2280286" indent="0">
              <a:buNone/>
              <a:defRPr sz="1995"/>
            </a:lvl6pPr>
            <a:lvl7pPr marL="2736344" indent="0">
              <a:buNone/>
              <a:defRPr sz="1995"/>
            </a:lvl7pPr>
            <a:lvl8pPr marL="3192401" indent="0">
              <a:buNone/>
              <a:defRPr sz="1995"/>
            </a:lvl8pPr>
            <a:lvl9pPr marL="3648459" indent="0">
              <a:buNone/>
              <a:defRPr sz="1995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>
          <a:xfrm>
            <a:off x="8839200" y="4953000"/>
            <a:ext cx="2743200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795">
                <a:solidFill>
                  <a:schemeClr val="tx1"/>
                </a:solidFill>
              </a:defRPr>
            </a:lvl1pPr>
            <a:lvl2pPr marL="0" indent="0">
              <a:buNone/>
              <a:defRPr sz="1795">
                <a:solidFill>
                  <a:schemeClr val="accent4"/>
                </a:solidFill>
              </a:defRPr>
            </a:lvl2pPr>
            <a:lvl3pPr marL="0" indent="0">
              <a:buNone/>
              <a:defRPr sz="1795">
                <a:solidFill>
                  <a:schemeClr val="accent4"/>
                </a:solidFill>
              </a:defRPr>
            </a:lvl3pPr>
            <a:lvl4pPr marL="0" indent="0">
              <a:buNone/>
              <a:defRPr sz="1795">
                <a:solidFill>
                  <a:schemeClr val="accent4"/>
                </a:solidFill>
              </a:defRPr>
            </a:lvl4pPr>
            <a:lvl5pPr marL="0" indent="0">
              <a:buNone/>
              <a:defRPr sz="1795">
                <a:solidFill>
                  <a:schemeClr val="accent4"/>
                </a:solidFill>
              </a:defRPr>
            </a:lvl5pPr>
            <a:lvl6pPr marL="0" indent="0">
              <a:buNone/>
              <a:defRPr sz="1795">
                <a:solidFill>
                  <a:schemeClr val="accent4"/>
                </a:solidFill>
              </a:defRPr>
            </a:lvl6pPr>
            <a:lvl7pPr marL="0" indent="0">
              <a:buNone/>
              <a:defRPr sz="1795">
                <a:solidFill>
                  <a:schemeClr val="accent4"/>
                </a:solidFill>
              </a:defRPr>
            </a:lvl7pPr>
            <a:lvl8pPr marL="0" indent="0">
              <a:buNone/>
              <a:defRPr sz="1795">
                <a:solidFill>
                  <a:schemeClr val="accent4"/>
                </a:solidFill>
              </a:defRPr>
            </a:lvl8pPr>
            <a:lvl9pPr marL="0" indent="0">
              <a:buNone/>
              <a:defRPr sz="1795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ustom Section Header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/>
        </p:nvGrpSpPr>
        <p:grpSpPr bwMode="ltGray">
          <a:xfrm>
            <a:off x="3788" y="-1"/>
            <a:ext cx="12211703" cy="6858001"/>
            <a:chOff x="3786" y="-1"/>
            <a:chExt cx="9156393" cy="5143501"/>
          </a:xfrm>
        </p:grpSpPr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3786" y="0"/>
              <a:ext cx="6983947" cy="5143500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4534899" y="-1"/>
              <a:ext cx="4625280" cy="387275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1676400"/>
            <a:ext cx="6096000" cy="1524000"/>
          </a:xfrm>
        </p:spPr>
        <p:txBody>
          <a:bodyPr anchor="b"/>
          <a:lstStyle>
            <a:lvl1pPr algn="l">
              <a:defRPr sz="3591" b="1" cap="none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2" y="3276600"/>
            <a:ext cx="6096000" cy="6096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995">
                <a:solidFill>
                  <a:schemeClr val="tx1"/>
                </a:solidFill>
              </a:defRPr>
            </a:lvl1pPr>
            <a:lvl2pPr marL="0" indent="0">
              <a:buNone/>
              <a:defRPr sz="1995">
                <a:solidFill>
                  <a:schemeClr val="accent4"/>
                </a:solidFill>
              </a:defRPr>
            </a:lvl2pPr>
            <a:lvl3pPr marL="0" indent="0">
              <a:buNone/>
              <a:defRPr sz="1995">
                <a:solidFill>
                  <a:schemeClr val="accent4"/>
                </a:solidFill>
              </a:defRPr>
            </a:lvl3pPr>
            <a:lvl4pPr marL="0" indent="0">
              <a:buNone/>
              <a:defRPr sz="1995">
                <a:solidFill>
                  <a:schemeClr val="accent4"/>
                </a:solidFill>
              </a:defRPr>
            </a:lvl4pPr>
            <a:lvl5pPr marL="0" indent="0">
              <a:buNone/>
              <a:defRPr sz="1995">
                <a:solidFill>
                  <a:schemeClr val="accent4"/>
                </a:solidFill>
              </a:defRPr>
            </a:lvl5pPr>
            <a:lvl6pPr marL="0" indent="0">
              <a:buNone/>
              <a:defRPr sz="1995">
                <a:solidFill>
                  <a:schemeClr val="accent4"/>
                </a:solidFill>
              </a:defRPr>
            </a:lvl6pPr>
            <a:lvl7pPr marL="0" indent="0">
              <a:buNone/>
              <a:defRPr sz="1995">
                <a:solidFill>
                  <a:schemeClr val="accent4"/>
                </a:solidFill>
              </a:defRPr>
            </a:lvl7pPr>
            <a:lvl8pPr marL="0" indent="0">
              <a:buNone/>
              <a:defRPr sz="1995">
                <a:solidFill>
                  <a:schemeClr val="accent4"/>
                </a:solidFill>
              </a:defRPr>
            </a:lvl8pPr>
            <a:lvl9pPr marL="0" indent="0">
              <a:buNone/>
              <a:defRPr sz="1995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618040" y="6446048"/>
            <a:ext cx="1100080" cy="173355"/>
            <a:chOff x="-84138" y="5622925"/>
            <a:chExt cx="4330701" cy="682626"/>
          </a:xfrm>
        </p:grpSpPr>
        <p:sp>
          <p:nvSpPr>
            <p:cNvPr id="21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22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24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25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26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27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</p:grpSp>
    </p:spTree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Quote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-14068" y="2702446"/>
            <a:ext cx="5347871" cy="4155557"/>
          </a:xfrm>
          <a:prstGeom prst="rect">
            <a:avLst/>
          </a:prstGeom>
        </p:spPr>
      </p:pic>
      <p:grpSp>
        <p:nvGrpSpPr>
          <p:cNvPr id="15" name="Group 14"/>
          <p:cNvGrpSpPr/>
          <p:nvPr/>
        </p:nvGrpSpPr>
        <p:grpSpPr>
          <a:xfrm>
            <a:off x="618040" y="6446048"/>
            <a:ext cx="1100080" cy="173355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2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2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2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29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30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31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32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</p:grpSp>
      <p:sp>
        <p:nvSpPr>
          <p:cNvPr id="12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914400" y="2593231"/>
            <a:ext cx="4813303" cy="5334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596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596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None/>
              <a:defRPr sz="1596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None/>
              <a:defRPr sz="1596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None/>
              <a:defRPr sz="1596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596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None/>
              <a:defRPr sz="1596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596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596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Click to add Name, Title, Compan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843281" y="457200"/>
            <a:ext cx="4876800" cy="2011680"/>
          </a:xfrm>
        </p:spPr>
        <p:txBody>
          <a:bodyPr/>
          <a:lstStyle>
            <a:lvl1pPr marL="58591" indent="-55424">
              <a:lnSpc>
                <a:spcPct val="100000"/>
              </a:lnSpc>
              <a:spcBef>
                <a:spcPts val="0"/>
              </a:spcBef>
              <a:buNone/>
              <a:defRPr sz="2194">
                <a:solidFill>
                  <a:schemeClr val="accent3">
                    <a:lumMod val="50000"/>
                  </a:schemeClr>
                </a:solidFill>
              </a:defRPr>
            </a:lvl1pPr>
            <a:lvl2pPr marL="3167" indent="0">
              <a:lnSpc>
                <a:spcPct val="100000"/>
              </a:lnSpc>
              <a:spcBef>
                <a:spcPts val="0"/>
              </a:spcBef>
              <a:buNone/>
              <a:defRPr sz="2194">
                <a:solidFill>
                  <a:schemeClr val="accent1">
                    <a:lumMod val="50000"/>
                  </a:schemeClr>
                </a:solidFill>
              </a:defRPr>
            </a:lvl2pPr>
            <a:lvl3pPr marL="3167" indent="0">
              <a:lnSpc>
                <a:spcPct val="100000"/>
              </a:lnSpc>
              <a:spcBef>
                <a:spcPts val="0"/>
              </a:spcBef>
              <a:buNone/>
              <a:defRPr sz="2194">
                <a:solidFill>
                  <a:schemeClr val="accent1">
                    <a:lumMod val="50000"/>
                  </a:schemeClr>
                </a:solidFill>
              </a:defRPr>
            </a:lvl3pPr>
            <a:lvl4pPr marL="3167" indent="0">
              <a:lnSpc>
                <a:spcPct val="100000"/>
              </a:lnSpc>
              <a:spcBef>
                <a:spcPts val="0"/>
              </a:spcBef>
              <a:buNone/>
              <a:defRPr sz="2194">
                <a:solidFill>
                  <a:schemeClr val="accent1">
                    <a:lumMod val="50000"/>
                  </a:schemeClr>
                </a:solidFill>
              </a:defRPr>
            </a:lvl4pPr>
            <a:lvl5pPr marL="3167" indent="0">
              <a:lnSpc>
                <a:spcPct val="100000"/>
              </a:lnSpc>
              <a:spcBef>
                <a:spcPts val="0"/>
              </a:spcBef>
              <a:buNone/>
              <a:defRPr sz="2194">
                <a:solidFill>
                  <a:schemeClr val="accent1">
                    <a:lumMod val="50000"/>
                  </a:schemeClr>
                </a:solidFill>
              </a:defRPr>
            </a:lvl5pPr>
            <a:lvl6pPr marL="3167" indent="0">
              <a:lnSpc>
                <a:spcPct val="100000"/>
              </a:lnSpc>
              <a:spcBef>
                <a:spcPts val="0"/>
              </a:spcBef>
              <a:buNone/>
              <a:defRPr sz="2194">
                <a:solidFill>
                  <a:schemeClr val="accent1">
                    <a:lumMod val="50000"/>
                  </a:schemeClr>
                </a:solidFill>
              </a:defRPr>
            </a:lvl6pPr>
            <a:lvl7pPr marL="3167" indent="0">
              <a:lnSpc>
                <a:spcPct val="100000"/>
              </a:lnSpc>
              <a:spcBef>
                <a:spcPts val="0"/>
              </a:spcBef>
              <a:buNone/>
              <a:defRPr sz="2194">
                <a:solidFill>
                  <a:schemeClr val="accent1">
                    <a:lumMod val="50000"/>
                  </a:schemeClr>
                </a:solidFill>
              </a:defRPr>
            </a:lvl7pPr>
            <a:lvl8pPr marL="3167" indent="0">
              <a:lnSpc>
                <a:spcPct val="100000"/>
              </a:lnSpc>
              <a:spcBef>
                <a:spcPts val="0"/>
              </a:spcBef>
              <a:buNone/>
              <a:defRPr sz="2194">
                <a:solidFill>
                  <a:schemeClr val="accent1">
                    <a:lumMod val="50000"/>
                  </a:schemeClr>
                </a:solidFill>
              </a:defRPr>
            </a:lvl8pPr>
            <a:lvl9pPr marL="3167" indent="0">
              <a:lnSpc>
                <a:spcPct val="100000"/>
              </a:lnSpc>
              <a:spcBef>
                <a:spcPts val="0"/>
              </a:spcBef>
              <a:buNone/>
              <a:defRPr sz="2194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Metric 1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6492454" y="0"/>
            <a:ext cx="5699547" cy="6858000"/>
          </a:xfrm>
          <a:prstGeom prst="rect">
            <a:avLst/>
          </a:prstGeom>
        </p:spPr>
      </p:pic>
      <p:grpSp>
        <p:nvGrpSpPr>
          <p:cNvPr id="25" name="Group 24"/>
          <p:cNvGrpSpPr/>
          <p:nvPr/>
        </p:nvGrpSpPr>
        <p:grpSpPr>
          <a:xfrm>
            <a:off x="618040" y="6446048"/>
            <a:ext cx="1100080" cy="173355"/>
            <a:chOff x="-84138" y="5622925"/>
            <a:chExt cx="4330701" cy="682626"/>
          </a:xfrm>
        </p:grpSpPr>
        <p:sp>
          <p:nvSpPr>
            <p:cNvPr id="2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2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2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29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30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31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32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</p:grp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322758" y="685800"/>
            <a:ext cx="4389120" cy="1676400"/>
          </a:xfrm>
        </p:spPr>
        <p:txBody>
          <a:bodyPr anchor="b"/>
          <a:lstStyle>
            <a:lvl1pPr marL="3167" indent="0">
              <a:spcBef>
                <a:spcPts val="0"/>
              </a:spcBef>
              <a:buNone/>
              <a:defRPr sz="10973">
                <a:solidFill>
                  <a:schemeClr val="accent3"/>
                </a:solidFill>
              </a:defRPr>
            </a:lvl1pPr>
            <a:lvl2pPr marL="3167" indent="0">
              <a:spcBef>
                <a:spcPts val="0"/>
              </a:spcBef>
              <a:buNone/>
              <a:defRPr sz="10973">
                <a:solidFill>
                  <a:schemeClr val="accent3"/>
                </a:solidFill>
              </a:defRPr>
            </a:lvl2pPr>
            <a:lvl3pPr marL="3167" indent="0">
              <a:spcBef>
                <a:spcPts val="0"/>
              </a:spcBef>
              <a:buNone/>
              <a:defRPr sz="10973">
                <a:solidFill>
                  <a:schemeClr val="accent3"/>
                </a:solidFill>
              </a:defRPr>
            </a:lvl3pPr>
            <a:lvl4pPr marL="3167" indent="0">
              <a:spcBef>
                <a:spcPts val="0"/>
              </a:spcBef>
              <a:buNone/>
              <a:defRPr sz="10973">
                <a:solidFill>
                  <a:schemeClr val="accent3"/>
                </a:solidFill>
              </a:defRPr>
            </a:lvl4pPr>
            <a:lvl5pPr marL="3167" indent="0">
              <a:spcBef>
                <a:spcPts val="0"/>
              </a:spcBef>
              <a:buNone/>
              <a:defRPr sz="10973">
                <a:solidFill>
                  <a:schemeClr val="accent3"/>
                </a:solidFill>
              </a:defRPr>
            </a:lvl5pPr>
            <a:lvl6pPr marL="3167" indent="0">
              <a:spcBef>
                <a:spcPts val="0"/>
              </a:spcBef>
              <a:buNone/>
              <a:defRPr sz="10973">
                <a:solidFill>
                  <a:schemeClr val="accent3"/>
                </a:solidFill>
              </a:defRPr>
            </a:lvl6pPr>
            <a:lvl7pPr marL="3167" indent="0">
              <a:spcBef>
                <a:spcPts val="0"/>
              </a:spcBef>
              <a:buNone/>
              <a:defRPr sz="10973">
                <a:solidFill>
                  <a:schemeClr val="accent3"/>
                </a:solidFill>
              </a:defRPr>
            </a:lvl7pPr>
            <a:lvl8pPr marL="3167" indent="0">
              <a:spcBef>
                <a:spcPts val="0"/>
              </a:spcBef>
              <a:buNone/>
              <a:defRPr sz="10973">
                <a:solidFill>
                  <a:schemeClr val="accent3"/>
                </a:solidFill>
              </a:defRPr>
            </a:lvl8pPr>
            <a:lvl9pPr marL="3167" indent="0">
              <a:spcBef>
                <a:spcPts val="0"/>
              </a:spcBef>
              <a:buNone/>
              <a:defRPr sz="10973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322758" y="2362200"/>
            <a:ext cx="4389120" cy="1066800"/>
          </a:xfrm>
        </p:spPr>
        <p:txBody>
          <a:bodyPr/>
          <a:lstStyle>
            <a:lvl1pPr marL="3167" indent="0">
              <a:spcBef>
                <a:spcPts val="0"/>
              </a:spcBef>
              <a:buNone/>
              <a:defRPr sz="2394" cap="none" baseline="0">
                <a:solidFill>
                  <a:schemeClr val="accent3"/>
                </a:solidFill>
              </a:defRPr>
            </a:lvl1pPr>
            <a:lvl2pPr marL="3167" indent="0">
              <a:spcBef>
                <a:spcPts val="0"/>
              </a:spcBef>
              <a:buNone/>
              <a:defRPr sz="1995" cap="all" baseline="0">
                <a:solidFill>
                  <a:schemeClr val="accent3"/>
                </a:solidFill>
              </a:defRPr>
            </a:lvl2pPr>
            <a:lvl3pPr marL="3167" indent="0">
              <a:spcBef>
                <a:spcPts val="0"/>
              </a:spcBef>
              <a:buNone/>
              <a:defRPr sz="1995" cap="all" baseline="0">
                <a:solidFill>
                  <a:schemeClr val="accent3"/>
                </a:solidFill>
              </a:defRPr>
            </a:lvl3pPr>
            <a:lvl4pPr marL="3167" indent="0">
              <a:spcBef>
                <a:spcPts val="0"/>
              </a:spcBef>
              <a:buNone/>
              <a:defRPr sz="1995" cap="all" baseline="0">
                <a:solidFill>
                  <a:schemeClr val="accent3"/>
                </a:solidFill>
              </a:defRPr>
            </a:lvl4pPr>
            <a:lvl5pPr marL="3167" indent="0">
              <a:spcBef>
                <a:spcPts val="0"/>
              </a:spcBef>
              <a:buNone/>
              <a:defRPr sz="1995" cap="all" baseline="0">
                <a:solidFill>
                  <a:schemeClr val="accent3"/>
                </a:solidFill>
              </a:defRPr>
            </a:lvl5pPr>
            <a:lvl6pPr marL="3167" indent="0">
              <a:spcBef>
                <a:spcPts val="0"/>
              </a:spcBef>
              <a:buNone/>
              <a:defRPr sz="1995" cap="all" baseline="0">
                <a:solidFill>
                  <a:schemeClr val="accent3"/>
                </a:solidFill>
              </a:defRPr>
            </a:lvl6pPr>
            <a:lvl7pPr marL="3167" indent="0">
              <a:spcBef>
                <a:spcPts val="0"/>
              </a:spcBef>
              <a:buNone/>
              <a:defRPr sz="1995" cap="all" baseline="0">
                <a:solidFill>
                  <a:schemeClr val="accent3"/>
                </a:solidFill>
              </a:defRPr>
            </a:lvl7pPr>
            <a:lvl8pPr marL="3167" indent="0">
              <a:spcBef>
                <a:spcPts val="0"/>
              </a:spcBef>
              <a:buNone/>
              <a:defRPr sz="1995" cap="all" baseline="0">
                <a:solidFill>
                  <a:schemeClr val="accent3"/>
                </a:solidFill>
              </a:defRPr>
            </a:lvl8pPr>
            <a:lvl9pPr marL="3167" indent="0">
              <a:spcBef>
                <a:spcPts val="0"/>
              </a:spcBef>
              <a:buNone/>
              <a:defRPr sz="1995" cap="all" baseline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Metric 2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2454" y="0"/>
            <a:ext cx="5699547" cy="6858000"/>
          </a:xfrm>
          <a:prstGeom prst="rect">
            <a:avLst/>
          </a:prstGeom>
        </p:spPr>
      </p:pic>
      <p:grpSp>
        <p:nvGrpSpPr>
          <p:cNvPr id="26" name="Group 25"/>
          <p:cNvGrpSpPr/>
          <p:nvPr/>
        </p:nvGrpSpPr>
        <p:grpSpPr>
          <a:xfrm>
            <a:off x="618040" y="6446048"/>
            <a:ext cx="1100080" cy="173355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27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28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29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30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31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32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33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</p:grp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05601" y="2209800"/>
            <a:ext cx="4389120" cy="1676400"/>
          </a:xfrm>
        </p:spPr>
        <p:txBody>
          <a:bodyPr anchor="b"/>
          <a:lstStyle>
            <a:lvl1pPr marL="3167" indent="0">
              <a:spcBef>
                <a:spcPts val="0"/>
              </a:spcBef>
              <a:buNone/>
              <a:defRPr sz="10973">
                <a:solidFill>
                  <a:schemeClr val="bg1"/>
                </a:solidFill>
              </a:defRPr>
            </a:lvl1pPr>
            <a:lvl2pPr marL="3167" indent="0">
              <a:spcBef>
                <a:spcPts val="0"/>
              </a:spcBef>
              <a:buNone/>
              <a:defRPr sz="10973">
                <a:solidFill>
                  <a:schemeClr val="bg1"/>
                </a:solidFill>
              </a:defRPr>
            </a:lvl2pPr>
            <a:lvl3pPr marL="3167" indent="0">
              <a:spcBef>
                <a:spcPts val="0"/>
              </a:spcBef>
              <a:buNone/>
              <a:defRPr sz="10973">
                <a:solidFill>
                  <a:schemeClr val="bg1"/>
                </a:solidFill>
              </a:defRPr>
            </a:lvl3pPr>
            <a:lvl4pPr marL="3167" indent="0">
              <a:spcBef>
                <a:spcPts val="0"/>
              </a:spcBef>
              <a:buNone/>
              <a:defRPr sz="10973">
                <a:solidFill>
                  <a:schemeClr val="bg1"/>
                </a:solidFill>
              </a:defRPr>
            </a:lvl4pPr>
            <a:lvl5pPr marL="3167" indent="0">
              <a:spcBef>
                <a:spcPts val="0"/>
              </a:spcBef>
              <a:buNone/>
              <a:defRPr sz="10973">
                <a:solidFill>
                  <a:schemeClr val="bg1"/>
                </a:solidFill>
              </a:defRPr>
            </a:lvl5pPr>
            <a:lvl6pPr marL="3167" indent="0">
              <a:spcBef>
                <a:spcPts val="0"/>
              </a:spcBef>
              <a:buNone/>
              <a:defRPr sz="10973">
                <a:solidFill>
                  <a:schemeClr val="bg1"/>
                </a:solidFill>
              </a:defRPr>
            </a:lvl6pPr>
            <a:lvl7pPr marL="3167" indent="0">
              <a:spcBef>
                <a:spcPts val="0"/>
              </a:spcBef>
              <a:buNone/>
              <a:defRPr sz="10973">
                <a:solidFill>
                  <a:schemeClr val="bg1"/>
                </a:solidFill>
              </a:defRPr>
            </a:lvl7pPr>
            <a:lvl8pPr marL="3167" indent="0">
              <a:spcBef>
                <a:spcPts val="0"/>
              </a:spcBef>
              <a:buNone/>
              <a:defRPr sz="10973">
                <a:solidFill>
                  <a:schemeClr val="bg1"/>
                </a:solidFill>
              </a:defRPr>
            </a:lvl8pPr>
            <a:lvl9pPr marL="3167" indent="0">
              <a:spcBef>
                <a:spcPts val="0"/>
              </a:spcBef>
              <a:buNone/>
              <a:defRPr sz="10973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705601" y="3886200"/>
            <a:ext cx="4389120" cy="1066800"/>
          </a:xfrm>
        </p:spPr>
        <p:txBody>
          <a:bodyPr/>
          <a:lstStyle>
            <a:lvl1pPr marL="3167" indent="0">
              <a:spcBef>
                <a:spcPts val="0"/>
              </a:spcBef>
              <a:buNone/>
              <a:defRPr sz="2394" cap="none" baseline="0">
                <a:solidFill>
                  <a:schemeClr val="bg1"/>
                </a:solidFill>
              </a:defRPr>
            </a:lvl1pPr>
            <a:lvl2pPr marL="3167" indent="0">
              <a:spcBef>
                <a:spcPts val="0"/>
              </a:spcBef>
              <a:buNone/>
              <a:defRPr sz="2394" cap="none" baseline="0">
                <a:solidFill>
                  <a:schemeClr val="bg1"/>
                </a:solidFill>
              </a:defRPr>
            </a:lvl2pPr>
            <a:lvl3pPr marL="3167" indent="0">
              <a:spcBef>
                <a:spcPts val="0"/>
              </a:spcBef>
              <a:buNone/>
              <a:defRPr sz="1995" cap="all" baseline="0">
                <a:solidFill>
                  <a:schemeClr val="bg1"/>
                </a:solidFill>
              </a:defRPr>
            </a:lvl3pPr>
            <a:lvl4pPr marL="3167" indent="0">
              <a:spcBef>
                <a:spcPts val="0"/>
              </a:spcBef>
              <a:buNone/>
              <a:defRPr sz="1995" cap="all" baseline="0">
                <a:solidFill>
                  <a:schemeClr val="bg1"/>
                </a:solidFill>
              </a:defRPr>
            </a:lvl4pPr>
            <a:lvl5pPr marL="3167" indent="0">
              <a:spcBef>
                <a:spcPts val="0"/>
              </a:spcBef>
              <a:buNone/>
              <a:defRPr sz="1995" cap="all" baseline="0">
                <a:solidFill>
                  <a:schemeClr val="bg1"/>
                </a:solidFill>
              </a:defRPr>
            </a:lvl5pPr>
            <a:lvl6pPr marL="3167" indent="0">
              <a:spcBef>
                <a:spcPts val="0"/>
              </a:spcBef>
              <a:buNone/>
              <a:defRPr sz="1995" cap="all" baseline="0">
                <a:solidFill>
                  <a:schemeClr val="bg1"/>
                </a:solidFill>
              </a:defRPr>
            </a:lvl6pPr>
            <a:lvl7pPr marL="3167" indent="0">
              <a:spcBef>
                <a:spcPts val="0"/>
              </a:spcBef>
              <a:buNone/>
              <a:defRPr sz="1995" cap="all" baseline="0">
                <a:solidFill>
                  <a:schemeClr val="bg1"/>
                </a:solidFill>
              </a:defRPr>
            </a:lvl7pPr>
            <a:lvl8pPr marL="3167" indent="0">
              <a:spcBef>
                <a:spcPts val="0"/>
              </a:spcBef>
              <a:buNone/>
              <a:defRPr sz="1995" cap="all" baseline="0">
                <a:solidFill>
                  <a:schemeClr val="bg1"/>
                </a:solidFill>
              </a:defRPr>
            </a:lvl8pPr>
            <a:lvl9pPr marL="3167" indent="0">
              <a:spcBef>
                <a:spcPts val="0"/>
              </a:spcBef>
              <a:buNone/>
              <a:defRPr sz="1995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111049-A980-9A4B-BDCF-935BD3D35A43}" type="datetimeFigureOut">
              <a:rPr lang="en-US" smtClean="0"/>
              <a:t>24-Sep-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9C9BFC-FCFF-7247-B387-15C2934714B0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wipe dir="r"/>
      </p:transition>
    </mc:Choice>
    <mc:Fallback xmlns="">
      <p:transition xmlns:p14="http://schemas.microsoft.com/office/powerpoint/2010/main" spd="slow">
        <p:wipe dir="r"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Metric 3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568505"/>
            <a:ext cx="12192127" cy="6289499"/>
          </a:xfrm>
          <a:prstGeom prst="rect">
            <a:avLst/>
          </a:prstGeom>
        </p:spPr>
      </p:pic>
      <p:grpSp>
        <p:nvGrpSpPr>
          <p:cNvPr id="24" name="Group 23"/>
          <p:cNvGrpSpPr/>
          <p:nvPr/>
        </p:nvGrpSpPr>
        <p:grpSpPr>
          <a:xfrm>
            <a:off x="618040" y="6446048"/>
            <a:ext cx="1100080" cy="173355"/>
            <a:chOff x="-84138" y="5622925"/>
            <a:chExt cx="4330701" cy="682626"/>
          </a:xfrm>
        </p:grpSpPr>
        <p:sp>
          <p:nvSpPr>
            <p:cNvPr id="25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26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27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28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29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30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31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27201" y="4740499"/>
            <a:ext cx="4064000" cy="1415602"/>
          </a:xfrm>
        </p:spPr>
        <p:txBody>
          <a:bodyPr anchor="ctr"/>
          <a:lstStyle>
            <a:lvl1pPr marL="3167" indent="0" algn="r">
              <a:spcBef>
                <a:spcPts val="0"/>
              </a:spcBef>
              <a:buNone/>
              <a:defRPr sz="8778">
                <a:solidFill>
                  <a:schemeClr val="accent3">
                    <a:lumMod val="50000"/>
                  </a:schemeClr>
                </a:solidFill>
              </a:defRPr>
            </a:lvl1pPr>
            <a:lvl2pPr marL="3167" indent="0">
              <a:spcBef>
                <a:spcPts val="0"/>
              </a:spcBef>
              <a:buNone/>
              <a:defRPr sz="8778">
                <a:solidFill>
                  <a:schemeClr val="accent1">
                    <a:lumMod val="50000"/>
                  </a:schemeClr>
                </a:solidFill>
              </a:defRPr>
            </a:lvl2pPr>
            <a:lvl3pPr marL="3167" indent="0">
              <a:spcBef>
                <a:spcPts val="0"/>
              </a:spcBef>
              <a:buNone/>
              <a:defRPr sz="8778">
                <a:solidFill>
                  <a:schemeClr val="accent1">
                    <a:lumMod val="50000"/>
                  </a:schemeClr>
                </a:solidFill>
              </a:defRPr>
            </a:lvl3pPr>
            <a:lvl4pPr marL="3167" indent="0">
              <a:spcBef>
                <a:spcPts val="0"/>
              </a:spcBef>
              <a:buNone/>
              <a:defRPr sz="8778">
                <a:solidFill>
                  <a:schemeClr val="accent1">
                    <a:lumMod val="50000"/>
                  </a:schemeClr>
                </a:solidFill>
              </a:defRPr>
            </a:lvl4pPr>
            <a:lvl5pPr marL="3167" indent="0">
              <a:spcBef>
                <a:spcPts val="0"/>
              </a:spcBef>
              <a:buNone/>
              <a:defRPr sz="8778">
                <a:solidFill>
                  <a:schemeClr val="accent1">
                    <a:lumMod val="50000"/>
                  </a:schemeClr>
                </a:solidFill>
              </a:defRPr>
            </a:lvl5pPr>
            <a:lvl6pPr marL="3167" indent="0">
              <a:spcBef>
                <a:spcPts val="0"/>
              </a:spcBef>
              <a:buNone/>
              <a:defRPr sz="8778">
                <a:solidFill>
                  <a:schemeClr val="accent1">
                    <a:lumMod val="50000"/>
                  </a:schemeClr>
                </a:solidFill>
              </a:defRPr>
            </a:lvl6pPr>
            <a:lvl7pPr marL="3167" indent="0">
              <a:spcBef>
                <a:spcPts val="0"/>
              </a:spcBef>
              <a:buNone/>
              <a:defRPr sz="8778">
                <a:solidFill>
                  <a:schemeClr val="accent1">
                    <a:lumMod val="50000"/>
                  </a:schemeClr>
                </a:solidFill>
              </a:defRPr>
            </a:lvl7pPr>
            <a:lvl8pPr marL="3167" indent="0">
              <a:spcBef>
                <a:spcPts val="0"/>
              </a:spcBef>
              <a:buNone/>
              <a:defRPr sz="8778">
                <a:solidFill>
                  <a:schemeClr val="accent1">
                    <a:lumMod val="50000"/>
                  </a:schemeClr>
                </a:solidFill>
              </a:defRPr>
            </a:lvl8pPr>
            <a:lvl9pPr marL="3167" indent="0">
              <a:spcBef>
                <a:spcPts val="0"/>
              </a:spcBef>
              <a:buNone/>
              <a:defRPr sz="8778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6096002" y="4740499"/>
            <a:ext cx="4511040" cy="1415602"/>
          </a:xfrm>
        </p:spPr>
        <p:txBody>
          <a:bodyPr anchor="ctr"/>
          <a:lstStyle>
            <a:lvl1pPr marL="3167" indent="0">
              <a:spcBef>
                <a:spcPts val="0"/>
              </a:spcBef>
              <a:buNone/>
              <a:defRPr sz="2394">
                <a:solidFill>
                  <a:schemeClr val="accent3">
                    <a:lumMod val="50000"/>
                  </a:schemeClr>
                </a:solidFill>
              </a:defRPr>
            </a:lvl1pPr>
            <a:lvl2pPr marL="3167" indent="0">
              <a:spcBef>
                <a:spcPts val="0"/>
              </a:spcBef>
              <a:buNone/>
              <a:defRPr sz="1995">
                <a:solidFill>
                  <a:schemeClr val="accent1">
                    <a:lumMod val="50000"/>
                  </a:schemeClr>
                </a:solidFill>
              </a:defRPr>
            </a:lvl2pPr>
            <a:lvl3pPr marL="3167" indent="0">
              <a:spcBef>
                <a:spcPts val="0"/>
              </a:spcBef>
              <a:buNone/>
              <a:defRPr sz="1995">
                <a:solidFill>
                  <a:schemeClr val="accent1">
                    <a:lumMod val="50000"/>
                  </a:schemeClr>
                </a:solidFill>
              </a:defRPr>
            </a:lvl3pPr>
            <a:lvl4pPr marL="3167" indent="0">
              <a:spcBef>
                <a:spcPts val="0"/>
              </a:spcBef>
              <a:buNone/>
              <a:defRPr sz="1995">
                <a:solidFill>
                  <a:schemeClr val="accent1">
                    <a:lumMod val="50000"/>
                  </a:schemeClr>
                </a:solidFill>
              </a:defRPr>
            </a:lvl4pPr>
            <a:lvl5pPr marL="3167" indent="0">
              <a:spcBef>
                <a:spcPts val="0"/>
              </a:spcBef>
              <a:buNone/>
              <a:defRPr sz="1995">
                <a:solidFill>
                  <a:schemeClr val="accent1">
                    <a:lumMod val="50000"/>
                  </a:schemeClr>
                </a:solidFill>
              </a:defRPr>
            </a:lvl5pPr>
            <a:lvl6pPr marL="3167" indent="0">
              <a:spcBef>
                <a:spcPts val="0"/>
              </a:spcBef>
              <a:buNone/>
              <a:defRPr sz="1995">
                <a:solidFill>
                  <a:schemeClr val="accent1">
                    <a:lumMod val="50000"/>
                  </a:schemeClr>
                </a:solidFill>
              </a:defRPr>
            </a:lvl6pPr>
            <a:lvl7pPr marL="3167" indent="0">
              <a:spcBef>
                <a:spcPts val="0"/>
              </a:spcBef>
              <a:buNone/>
              <a:defRPr sz="1995">
                <a:solidFill>
                  <a:schemeClr val="accent1">
                    <a:lumMod val="50000"/>
                  </a:schemeClr>
                </a:solidFill>
              </a:defRPr>
            </a:lvl7pPr>
            <a:lvl8pPr marL="3167" indent="0">
              <a:spcBef>
                <a:spcPts val="0"/>
              </a:spcBef>
              <a:buNone/>
              <a:defRPr sz="1995">
                <a:solidFill>
                  <a:schemeClr val="accent1">
                    <a:lumMod val="50000"/>
                  </a:schemeClr>
                </a:solidFill>
              </a:defRPr>
            </a:lvl8pPr>
            <a:lvl9pPr marL="3167" indent="0">
              <a:spcBef>
                <a:spcPts val="0"/>
              </a:spcBef>
              <a:buNone/>
              <a:defRPr sz="1995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717074">
                    <a:tint val="75000"/>
                  </a:srgbClr>
                </a:solidFill>
              </a:rPr>
              <a:t>CONFIDENTIAL - VMWAR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485121" y="342901"/>
            <a:ext cx="1097280" cy="56769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1" y="342901"/>
            <a:ext cx="9550400" cy="56769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717074">
                    <a:tint val="75000"/>
                  </a:srgbClr>
                </a:solidFill>
              </a:rPr>
              <a:t>CONFIDENTIAL - VMWAR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717074">
                    <a:tint val="75000"/>
                  </a:srgbClr>
                </a:solidFill>
              </a:rPr>
              <a:t>CONFIDENTIAL - VMWARE ONLY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69899" y="786384"/>
            <a:ext cx="11180065" cy="5010912"/>
          </a:xfrm>
        </p:spPr>
        <p:txBody>
          <a:bodyPr/>
          <a:lstStyle>
            <a:lvl1pPr marL="232780" indent="-232780">
              <a:buSzPct val="115000"/>
              <a:buFont typeface="Wingdings" pitchFamily="2" charset="2"/>
              <a:buChar char="§"/>
              <a:defRPr/>
            </a:lvl1pPr>
            <a:lvl2pPr>
              <a:buSzPct val="110000"/>
              <a:buFont typeface="Arial" pitchFamily="34" charset="0"/>
              <a:buChar char="•"/>
              <a:defRPr/>
            </a:lvl2pPr>
            <a:lvl3pPr>
              <a:buSzPct val="110000"/>
              <a:buFont typeface="Arial" pitchFamily="34" charset="0"/>
              <a:buChar char="•"/>
              <a:defRPr/>
            </a:lvl3pPr>
            <a:lvl4pPr>
              <a:buSzPct val="110000"/>
              <a:buFont typeface="Arial" pitchFamily="34" charset="0"/>
              <a:buChar char="•"/>
              <a:defRPr/>
            </a:lvl4pPr>
            <a:lvl5pPr>
              <a:buSzPct val="110000"/>
              <a:buFont typeface="Arial" pitchFamily="34" charset="0"/>
              <a:buChar char="•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EA73C23-56DE-4A7B-B974-6593CE39F4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ltGray">
          <a:xfrm>
            <a:off x="1" y="0"/>
            <a:ext cx="8061012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85714" y="1679667"/>
            <a:ext cx="6402467" cy="1234440"/>
          </a:xfrm>
        </p:spPr>
        <p:txBody>
          <a:bodyPr wrap="square" anchor="b"/>
          <a:lstStyle>
            <a:lvl1pPr algn="r">
              <a:defRPr sz="4000" b="0" cap="none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8" name="Subtitle 2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7010638" y="2956717"/>
            <a:ext cx="4571570" cy="700882"/>
          </a:xfrm>
        </p:spPr>
        <p:txBody>
          <a:bodyPr/>
          <a:lstStyle>
            <a:lvl1pPr marL="0" indent="0" algn="r">
              <a:buNone/>
              <a:defRPr sz="2400">
                <a:solidFill>
                  <a:schemeClr val="accent4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</a:t>
            </a:r>
            <a:r>
              <a:rPr lang="en-US"/>
              <a:t>edit master </a:t>
            </a:r>
            <a:r>
              <a:rPr lang="en-US" dirty="0"/>
              <a:t>sub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EA43E1E-B208-4DC4-9D6A-01669D00DA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25276" y="4231639"/>
            <a:ext cx="3658553" cy="355601"/>
          </a:xfrm>
        </p:spPr>
        <p:txBody>
          <a:bodyPr anchor="b"/>
          <a:lstStyle>
            <a:lvl1pPr algn="r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29" name="Text Placeholder 6">
            <a:extLst>
              <a:ext uri="{FF2B5EF4-FFF2-40B4-BE49-F238E27FC236}">
                <a16:creationId xmlns:a16="http://schemas.microsoft.com/office/drawing/2014/main" id="{2111BB8B-7B37-4FB4-B2CD-984FE1C6C5E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25276" y="4866639"/>
            <a:ext cx="3658553" cy="355601"/>
          </a:xfrm>
        </p:spPr>
        <p:txBody>
          <a:bodyPr/>
          <a:lstStyle>
            <a:lvl1pPr algn="r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Role / Division at VMwa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8E7D54E-C753-48F7-AB43-C7A586277F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25276" y="5655333"/>
            <a:ext cx="3658553" cy="112587"/>
          </a:xfrm>
        </p:spPr>
        <p:txBody>
          <a:bodyPr/>
          <a:lstStyle>
            <a:lvl1pPr algn="r">
              <a:buNone/>
              <a:defRPr sz="10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71B1726-E7C5-4C32-A22F-BB8C0CA833E9}"/>
              </a:ext>
            </a:extLst>
          </p:cNvPr>
          <p:cNvGrpSpPr/>
          <p:nvPr/>
        </p:nvGrpSpPr>
        <p:grpSpPr>
          <a:xfrm>
            <a:off x="608171" y="6392865"/>
            <a:ext cx="1424756" cy="224518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0AEE4566-BDD0-43EB-8593-753B4AFC53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CDDDBBBD-2B47-4F32-9507-B47217AD31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9A63A2EB-B414-427C-8975-27B69B276D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4AFD0B14-399F-447F-BBDD-FF049C867FA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0778A2AC-9D1D-4FDB-973A-47DEA98860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52873CFF-17A0-467C-B061-5E3FD5E92C7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C351EEF9-CE8C-4948-8867-FDC697419B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576FCBCF-AFA0-4D2E-AF64-919BFE9B44B8}"/>
              </a:ext>
            </a:extLst>
          </p:cNvPr>
          <p:cNvSpPr txBox="1"/>
          <p:nvPr/>
        </p:nvSpPr>
        <p:spPr bwMode="white">
          <a:xfrm flipH="1">
            <a:off x="2221492" y="6453433"/>
            <a:ext cx="172933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fidential   </a:t>
            </a:r>
            <a:r>
              <a:rPr lang="en-US" sz="10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│</a:t>
            </a:r>
            <a:r>
              <a:rPr lang="en-US" sz="10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©2018 VMware, Inc.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3" name="Ink 2">
                <a:extLst>
                  <a:ext uri="{FF2B5EF4-FFF2-40B4-BE49-F238E27FC236}">
                    <a16:creationId xmlns:a16="http://schemas.microsoft.com/office/drawing/2014/main" id="{229416F8-1B20-4892-97FA-108F191A5885}"/>
                  </a:ext>
                </a:extLst>
              </p14:cNvPr>
              <p14:cNvContentPartPr/>
              <p14:nvPr/>
            </p14:nvContentPartPr>
            <p14:xfrm>
              <a:off x="9862161" y="4881179"/>
              <a:ext cx="240" cy="240"/>
            </p14:xfrm>
          </p:contentPart>
        </mc:Choice>
        <mc:Fallback xmlns="">
          <p:pic>
            <p:nvPicPr>
              <p:cNvPr id="3" name="Ink 2">
                <a:extLst>
                  <a:ext uri="{FF2B5EF4-FFF2-40B4-BE49-F238E27FC236}">
                    <a16:creationId xmlns:a16="http://schemas.microsoft.com/office/drawing/2014/main" id="{229416F8-1B20-4892-97FA-108F191A5885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9858081" y="4877099"/>
                <a:ext cx="7920" cy="79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090886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9183EB20-0C5F-4DF1-ACB7-C31AA75223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ltGray">
          <a:xfrm rot="16200000">
            <a:off x="8596826" y="298097"/>
            <a:ext cx="3893271" cy="3297079"/>
          </a:xfrm>
          <a:prstGeom prst="rect">
            <a:avLst/>
          </a:prstGeom>
        </p:spPr>
      </p:pic>
      <p:sp>
        <p:nvSpPr>
          <p:cNvPr id="756" name="TextBox 755">
            <a:extLst>
              <a:ext uri="{FF2B5EF4-FFF2-40B4-BE49-F238E27FC236}">
                <a16:creationId xmlns:a16="http://schemas.microsoft.com/office/drawing/2014/main" id="{2387BAEF-04D4-4DE9-B7A0-5B5AD8C8A831}"/>
              </a:ext>
            </a:extLst>
          </p:cNvPr>
          <p:cNvSpPr txBox="1"/>
          <p:nvPr/>
        </p:nvSpPr>
        <p:spPr>
          <a:xfrm>
            <a:off x="608171" y="1265020"/>
            <a:ext cx="1934368" cy="53489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3200" dirty="0">
                <a:solidFill>
                  <a:schemeClr val="accent6"/>
                </a:solidFill>
                <a:latin typeface="+mj-lt"/>
              </a:rPr>
              <a:t>Agenda</a:t>
            </a:r>
          </a:p>
        </p:txBody>
      </p:sp>
      <p:sp>
        <p:nvSpPr>
          <p:cNvPr id="730" name="TextBox 729">
            <a:extLst>
              <a:ext uri="{FF2B5EF4-FFF2-40B4-BE49-F238E27FC236}">
                <a16:creationId xmlns:a16="http://schemas.microsoft.com/office/drawing/2014/main" id="{AB8D1A6B-3CE6-468D-804E-6300F8B6DC81}"/>
              </a:ext>
            </a:extLst>
          </p:cNvPr>
          <p:cNvSpPr txBox="1"/>
          <p:nvPr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6" name="Text Placeholder 757">
            <a:extLst>
              <a:ext uri="{FF2B5EF4-FFF2-40B4-BE49-F238E27FC236}">
                <a16:creationId xmlns:a16="http://schemas.microsoft.com/office/drawing/2014/main" id="{B29EB907-51A5-4D60-B03A-85DECB7627F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94767" y="1392217"/>
            <a:ext cx="7317105" cy="4322783"/>
          </a:xfrm>
        </p:spPr>
        <p:txBody>
          <a:bodyPr anchor="t"/>
          <a:lstStyle>
            <a:lvl1pPr marL="0" indent="0">
              <a:spcBef>
                <a:spcPts val="1800"/>
              </a:spcBef>
              <a:buClr>
                <a:schemeClr val="accent2"/>
              </a:buClr>
              <a:buFont typeface="Open Sans" panose="020B0606030504020204" pitchFamily="34" charset="0"/>
              <a:buChar char="​"/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  <a:lvl3pPr marL="342900" indent="0">
              <a:buFont typeface="Open Sans" panose="020B0606030504020204" pitchFamily="34" charset="0"/>
              <a:buNone/>
              <a:defRPr sz="1800"/>
            </a:lvl3pPr>
            <a:lvl4pPr marL="342900" indent="0">
              <a:buFont typeface="Open Sans" panose="020B0606030504020204" pitchFamily="34" charset="0"/>
              <a:buChar char="​"/>
              <a:tabLst/>
              <a:defRPr sz="1800">
                <a:solidFill>
                  <a:schemeClr val="tx2"/>
                </a:solidFill>
              </a:defRPr>
            </a:lvl4pPr>
            <a:lvl5pPr marL="342900" indent="0">
              <a:buFont typeface="Open Sans" panose="020B0606030504020204" pitchFamily="34" charset="0"/>
              <a:buChar char="​"/>
              <a:tabLst/>
              <a:defRPr sz="1800">
                <a:solidFill>
                  <a:schemeClr val="tx2"/>
                </a:solidFill>
              </a:defRPr>
            </a:lvl5pPr>
            <a:lvl6pPr marL="342900" indent="0">
              <a:buFont typeface="Open Sans" panose="020B0606030504020204" pitchFamily="34" charset="0"/>
              <a:buChar char="​"/>
              <a:defRPr sz="1800">
                <a:solidFill>
                  <a:schemeClr val="tx2"/>
                </a:solidFill>
              </a:defRPr>
            </a:lvl6pPr>
            <a:lvl7pPr marL="342900" indent="0">
              <a:buFont typeface="Open Sans" panose="020B0606030504020204" pitchFamily="34" charset="0"/>
              <a:buChar char="​"/>
              <a:defRPr sz="1800">
                <a:solidFill>
                  <a:schemeClr val="tx2"/>
                </a:solidFill>
              </a:defRPr>
            </a:lvl7pPr>
            <a:lvl8pPr marL="342900" indent="0">
              <a:buFont typeface="Open Sans" panose="020B0606030504020204" pitchFamily="34" charset="0"/>
              <a:buChar char="​"/>
              <a:defRPr sz="1800">
                <a:solidFill>
                  <a:schemeClr val="tx2"/>
                </a:solidFill>
              </a:defRPr>
            </a:lvl8pPr>
            <a:lvl9pPr marL="342900" indent="0">
              <a:buFont typeface="Open Sans" panose="020B0606030504020204" pitchFamily="34" charset="0"/>
              <a:buChar char="​"/>
              <a:defRPr sz="18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703D98A-D6D9-4EF5-A541-26E00799D077}"/>
              </a:ext>
            </a:extLst>
          </p:cNvPr>
          <p:cNvSpPr txBox="1"/>
          <p:nvPr/>
        </p:nvSpPr>
        <p:spPr>
          <a:xfrm>
            <a:off x="2118108" y="6510279"/>
            <a:ext cx="1966005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 ©2018 VMware, Inc.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7C06013-757A-4FD4-A789-7E9656F64A59}"/>
              </a:ext>
            </a:extLst>
          </p:cNvPr>
          <p:cNvGrpSpPr/>
          <p:nvPr/>
        </p:nvGrpSpPr>
        <p:grpSpPr bwMode="black">
          <a:xfrm>
            <a:off x="618040" y="6446045"/>
            <a:ext cx="1100079" cy="173355"/>
            <a:chOff x="-84138" y="5622925"/>
            <a:chExt cx="4330701" cy="682626"/>
          </a:xfrm>
        </p:grpSpPr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5E650B00-898D-4367-B76F-5BF89476C91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8A491FA9-9AD4-4837-B9D8-EA75606548C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38AD407B-7DC8-4213-960A-A37523666873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25" name="Freeform 9">
              <a:extLst>
                <a:ext uri="{FF2B5EF4-FFF2-40B4-BE49-F238E27FC236}">
                  <a16:creationId xmlns:a16="http://schemas.microsoft.com/office/drawing/2014/main" id="{F0E957BF-4633-4BC7-8378-1B670BA6A950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26" name="Freeform 10">
              <a:extLst>
                <a:ext uri="{FF2B5EF4-FFF2-40B4-BE49-F238E27FC236}">
                  <a16:creationId xmlns:a16="http://schemas.microsoft.com/office/drawing/2014/main" id="{33412CC5-5B25-43E7-AFAC-0EF817E6F7F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0E0EEC98-4D81-4BBF-A18F-A2562013EC4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0624E438-D004-4788-9C41-D6E07F017AC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</p:grpSp>
    </p:spTree>
    <p:extLst>
      <p:ext uri="{BB962C8B-B14F-4D97-AF65-F5344CB8AC3E}">
        <p14:creationId xmlns:p14="http://schemas.microsoft.com/office/powerpoint/2010/main" val="2398771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9262" y="1167394"/>
            <a:ext cx="6429300" cy="1229360"/>
          </a:xfrm>
        </p:spPr>
        <p:txBody>
          <a:bodyPr wrap="square" anchor="b"/>
          <a:lstStyle>
            <a:lvl1pPr algn="l">
              <a:defRPr sz="36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8" name="Subtitle 2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03123" y="2484060"/>
            <a:ext cx="6410071" cy="70088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accent4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2854D23-C99F-41C3-9EA1-37368E9748C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772"/>
          <a:stretch/>
        </p:blipFill>
        <p:spPr bwMode="ltGray">
          <a:xfrm>
            <a:off x="4239675" y="0"/>
            <a:ext cx="7951444" cy="6858000"/>
          </a:xfrm>
          <a:prstGeom prst="rect">
            <a:avLst/>
          </a:prstGeom>
        </p:spPr>
      </p:pic>
      <p:grpSp>
        <p:nvGrpSpPr>
          <p:cNvPr id="67" name="Group 66">
            <a:extLst>
              <a:ext uri="{FF2B5EF4-FFF2-40B4-BE49-F238E27FC236}">
                <a16:creationId xmlns:a16="http://schemas.microsoft.com/office/drawing/2014/main" id="{FA7583E3-5C48-49C6-991B-C25E2AA2FBAB}"/>
              </a:ext>
            </a:extLst>
          </p:cNvPr>
          <p:cNvGrpSpPr/>
          <p:nvPr/>
        </p:nvGrpSpPr>
        <p:grpSpPr bwMode="black">
          <a:xfrm>
            <a:off x="618040" y="6446045"/>
            <a:ext cx="1100079" cy="173355"/>
            <a:chOff x="-84138" y="5622925"/>
            <a:chExt cx="4330701" cy="682626"/>
          </a:xfrm>
        </p:grpSpPr>
        <p:sp>
          <p:nvSpPr>
            <p:cNvPr id="68" name="Freeform 6">
              <a:extLst>
                <a:ext uri="{FF2B5EF4-FFF2-40B4-BE49-F238E27FC236}">
                  <a16:creationId xmlns:a16="http://schemas.microsoft.com/office/drawing/2014/main" id="{367C169C-1300-467E-BD2B-CFFF8008026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69" name="Freeform 7">
              <a:extLst>
                <a:ext uri="{FF2B5EF4-FFF2-40B4-BE49-F238E27FC236}">
                  <a16:creationId xmlns:a16="http://schemas.microsoft.com/office/drawing/2014/main" id="{E38C4A5D-89F1-4554-BE68-BC848EF53E9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70" name="Freeform 8">
              <a:extLst>
                <a:ext uri="{FF2B5EF4-FFF2-40B4-BE49-F238E27FC236}">
                  <a16:creationId xmlns:a16="http://schemas.microsoft.com/office/drawing/2014/main" id="{10270507-0676-4A8B-87BD-BDCA1210CC3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71" name="Freeform 9">
              <a:extLst>
                <a:ext uri="{FF2B5EF4-FFF2-40B4-BE49-F238E27FC236}">
                  <a16:creationId xmlns:a16="http://schemas.microsoft.com/office/drawing/2014/main" id="{3D84D470-4587-4DEE-91E9-77002687876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72" name="Freeform 10">
              <a:extLst>
                <a:ext uri="{FF2B5EF4-FFF2-40B4-BE49-F238E27FC236}">
                  <a16:creationId xmlns:a16="http://schemas.microsoft.com/office/drawing/2014/main" id="{ADFCC155-955A-44B0-9432-CA6DC3C1525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73" name="Freeform 11">
              <a:extLst>
                <a:ext uri="{FF2B5EF4-FFF2-40B4-BE49-F238E27FC236}">
                  <a16:creationId xmlns:a16="http://schemas.microsoft.com/office/drawing/2014/main" id="{5B4316E4-B109-42D8-B12A-FBD6286C9C7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74" name="Freeform 12">
              <a:extLst>
                <a:ext uri="{FF2B5EF4-FFF2-40B4-BE49-F238E27FC236}">
                  <a16:creationId xmlns:a16="http://schemas.microsoft.com/office/drawing/2014/main" id="{A3D32D1A-08E0-4BFC-A3E0-CB5C3BB04F6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3E46B5F2-170B-43F3-865D-92F5CD3F3546}"/>
              </a:ext>
            </a:extLst>
          </p:cNvPr>
          <p:cNvSpPr txBox="1"/>
          <p:nvPr/>
        </p:nvSpPr>
        <p:spPr bwMode="white"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bg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612D976-FA11-4943-92A0-719F347D1191}"/>
              </a:ext>
            </a:extLst>
          </p:cNvPr>
          <p:cNvSpPr txBox="1"/>
          <p:nvPr/>
        </p:nvSpPr>
        <p:spPr>
          <a:xfrm>
            <a:off x="2118108" y="6510279"/>
            <a:ext cx="1966005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 dirty="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36841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with Pho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0532" y="3450868"/>
            <a:ext cx="5962789" cy="1229360"/>
          </a:xfrm>
        </p:spPr>
        <p:txBody>
          <a:bodyPr wrap="square" anchor="b"/>
          <a:lstStyle>
            <a:lvl1pPr algn="l">
              <a:defRPr sz="3600" b="0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8" name="Subtitle 2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03123" y="4768725"/>
            <a:ext cx="6864836" cy="70088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97E09E63-24A8-49D3-9685-8578A82AA161}"/>
              </a:ext>
            </a:extLst>
          </p:cNvPr>
          <p:cNvGrpSpPr/>
          <p:nvPr/>
        </p:nvGrpSpPr>
        <p:grpSpPr bwMode="white">
          <a:xfrm>
            <a:off x="618040" y="6446045"/>
            <a:ext cx="1100079" cy="173355"/>
            <a:chOff x="-84138" y="5622925"/>
            <a:chExt cx="4330701" cy="682626"/>
          </a:xfrm>
          <a:solidFill>
            <a:schemeClr val="bg1"/>
          </a:solidFill>
        </p:grpSpPr>
        <p:sp>
          <p:nvSpPr>
            <p:cNvPr id="67" name="Freeform 6">
              <a:extLst>
                <a:ext uri="{FF2B5EF4-FFF2-40B4-BE49-F238E27FC236}">
                  <a16:creationId xmlns:a16="http://schemas.microsoft.com/office/drawing/2014/main" id="{82AA2D8E-2CF2-47AE-8BA1-22AA0DC8C719}"/>
                </a:ext>
              </a:extLst>
            </p:cNvPr>
            <p:cNvSpPr>
              <a:spLocks/>
            </p:cNvSpPr>
            <p:nvPr userDrawn="1"/>
          </p:nvSpPr>
          <p:spPr bwMode="white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68" name="Freeform 7">
              <a:extLst>
                <a:ext uri="{FF2B5EF4-FFF2-40B4-BE49-F238E27FC236}">
                  <a16:creationId xmlns:a16="http://schemas.microsoft.com/office/drawing/2014/main" id="{DB231781-0913-4FEB-A765-B02F9675E9A8}"/>
                </a:ext>
              </a:extLst>
            </p:cNvPr>
            <p:cNvSpPr>
              <a:spLocks/>
            </p:cNvSpPr>
            <p:nvPr userDrawn="1"/>
          </p:nvSpPr>
          <p:spPr bwMode="white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69" name="Freeform 8">
              <a:extLst>
                <a:ext uri="{FF2B5EF4-FFF2-40B4-BE49-F238E27FC236}">
                  <a16:creationId xmlns:a16="http://schemas.microsoft.com/office/drawing/2014/main" id="{3ABF11FB-C738-4E99-9D81-B317B3B4FFF4}"/>
                </a:ext>
              </a:extLst>
            </p:cNvPr>
            <p:cNvSpPr>
              <a:spLocks noEditPoints="1"/>
            </p:cNvSpPr>
            <p:nvPr userDrawn="1"/>
          </p:nvSpPr>
          <p:spPr bwMode="white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70" name="Freeform 9">
              <a:extLst>
                <a:ext uri="{FF2B5EF4-FFF2-40B4-BE49-F238E27FC236}">
                  <a16:creationId xmlns:a16="http://schemas.microsoft.com/office/drawing/2014/main" id="{21F9AEA1-3F12-4EE4-9B0A-11F6FC2F34FF}"/>
                </a:ext>
              </a:extLst>
            </p:cNvPr>
            <p:cNvSpPr>
              <a:spLocks noEditPoints="1"/>
            </p:cNvSpPr>
            <p:nvPr userDrawn="1"/>
          </p:nvSpPr>
          <p:spPr bwMode="white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71" name="Freeform 10">
              <a:extLst>
                <a:ext uri="{FF2B5EF4-FFF2-40B4-BE49-F238E27FC236}">
                  <a16:creationId xmlns:a16="http://schemas.microsoft.com/office/drawing/2014/main" id="{87E382A9-F6F4-488E-98B8-A2C07D983E60}"/>
                </a:ext>
              </a:extLst>
            </p:cNvPr>
            <p:cNvSpPr>
              <a:spLocks/>
            </p:cNvSpPr>
            <p:nvPr userDrawn="1"/>
          </p:nvSpPr>
          <p:spPr bwMode="white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72" name="Freeform 11">
              <a:extLst>
                <a:ext uri="{FF2B5EF4-FFF2-40B4-BE49-F238E27FC236}">
                  <a16:creationId xmlns:a16="http://schemas.microsoft.com/office/drawing/2014/main" id="{862FC631-21BD-4380-B20F-767EC3455CDB}"/>
                </a:ext>
              </a:extLst>
            </p:cNvPr>
            <p:cNvSpPr>
              <a:spLocks noEditPoints="1"/>
            </p:cNvSpPr>
            <p:nvPr userDrawn="1"/>
          </p:nvSpPr>
          <p:spPr bwMode="white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73" name="Freeform 12">
              <a:extLst>
                <a:ext uri="{FF2B5EF4-FFF2-40B4-BE49-F238E27FC236}">
                  <a16:creationId xmlns:a16="http://schemas.microsoft.com/office/drawing/2014/main" id="{E30874F8-CC58-4DC5-8229-E1032A3E49B3}"/>
                </a:ext>
              </a:extLst>
            </p:cNvPr>
            <p:cNvSpPr>
              <a:spLocks noEditPoints="1"/>
            </p:cNvSpPr>
            <p:nvPr userDrawn="1"/>
          </p:nvSpPr>
          <p:spPr bwMode="white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7EAC21F4-620C-4207-A01D-C082619C707B}"/>
              </a:ext>
            </a:extLst>
          </p:cNvPr>
          <p:cNvSpPr txBox="1"/>
          <p:nvPr/>
        </p:nvSpPr>
        <p:spPr bwMode="white"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bg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0B40497-F310-48EA-9016-3C0DFE5B848B}"/>
              </a:ext>
            </a:extLst>
          </p:cNvPr>
          <p:cNvSpPr txBox="1"/>
          <p:nvPr/>
        </p:nvSpPr>
        <p:spPr bwMode="white">
          <a:xfrm>
            <a:off x="2118108" y="6510279"/>
            <a:ext cx="1966005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bg1"/>
                </a:solidFill>
                <a:latin typeface="+mj-lt"/>
              </a:rPr>
              <a:t>  ©</a:t>
            </a:r>
            <a:r>
              <a:rPr lang="is-IS" sz="800" dirty="0">
                <a:solidFill>
                  <a:schemeClr val="bg1"/>
                </a:solidFill>
                <a:latin typeface="+mj-lt"/>
              </a:rPr>
              <a:t>2018</a:t>
            </a:r>
            <a:r>
              <a:rPr lang="en-US" sz="800" dirty="0">
                <a:solidFill>
                  <a:schemeClr val="bg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666465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1BCFF92-6F45-4F17-811F-04EF3AFB1E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ltGray">
          <a:xfrm>
            <a:off x="6467015" y="2011260"/>
            <a:ext cx="5726131" cy="484674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8D79F707-A9A4-48DB-B7A8-862A7F5F3D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ltGray">
          <a:xfrm>
            <a:off x="0" y="0"/>
            <a:ext cx="2103850" cy="2121592"/>
          </a:xfrm>
          <a:prstGeom prst="rect">
            <a:avLst/>
          </a:prstGeom>
        </p:spPr>
      </p:pic>
      <p:sp>
        <p:nvSpPr>
          <p:cNvPr id="76" name="Text Placeholder 18">
            <a:extLst>
              <a:ext uri="{FF2B5EF4-FFF2-40B4-BE49-F238E27FC236}">
                <a16:creationId xmlns:a16="http://schemas.microsoft.com/office/drawing/2014/main" id="{09EEA1A0-09F6-4C94-911A-E94DE83498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17083" y="5066407"/>
            <a:ext cx="4578918" cy="276999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Clr>
                <a:schemeClr val="tx2"/>
              </a:buClr>
              <a:buSzPct val="100000"/>
              <a:buFont typeface="Metropolis" panose="00000500000000000000" pitchFamily="50" charset="0"/>
              <a:buNone/>
              <a:defRPr sz="1800">
                <a:solidFill>
                  <a:schemeClr val="accent4"/>
                </a:solidFill>
              </a:defRPr>
            </a:lvl1pPr>
            <a:lvl2pPr marL="273050" indent="0">
              <a:buNone/>
              <a:defRPr/>
            </a:lvl2pPr>
          </a:lstStyle>
          <a:p>
            <a:pPr lvl="0"/>
            <a:r>
              <a:rPr lang="en-US" dirty="0"/>
              <a:t>Source Name</a:t>
            </a:r>
          </a:p>
        </p:txBody>
      </p:sp>
      <p:sp>
        <p:nvSpPr>
          <p:cNvPr id="185" name="Picture Placeholder 184">
            <a:extLst>
              <a:ext uri="{FF2B5EF4-FFF2-40B4-BE49-F238E27FC236}">
                <a16:creationId xmlns:a16="http://schemas.microsoft.com/office/drawing/2014/main" id="{378C4D84-AD98-435A-9F11-B3CB29EA3CA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839915" y="457200"/>
            <a:ext cx="2740739" cy="1371600"/>
          </a:xfrm>
          <a:noFill/>
        </p:spPr>
        <p:txBody>
          <a:bodyPr anchor="ctr"/>
          <a:lstStyle>
            <a:lvl1pPr algn="ctr">
              <a:defRPr sz="2400" b="1">
                <a:solidFill>
                  <a:srgbClr val="F8981D"/>
                </a:solidFill>
              </a:defRPr>
            </a:lvl1pPr>
          </a:lstStyle>
          <a:p>
            <a:r>
              <a:rPr lang="en-US" dirty="0"/>
              <a:t>Click to insert logo or delete box if not needed</a:t>
            </a:r>
          </a:p>
        </p:txBody>
      </p: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2925BD69-7B55-4D64-8B2C-06E34A6A573B}"/>
              </a:ext>
            </a:extLst>
          </p:cNvPr>
          <p:cNvGrpSpPr/>
          <p:nvPr/>
        </p:nvGrpSpPr>
        <p:grpSpPr bwMode="black">
          <a:xfrm>
            <a:off x="618040" y="6446045"/>
            <a:ext cx="1100079" cy="173355"/>
            <a:chOff x="-84138" y="5622925"/>
            <a:chExt cx="4330701" cy="682626"/>
          </a:xfrm>
        </p:grpSpPr>
        <p:sp>
          <p:nvSpPr>
            <p:cNvPr id="189" name="Freeform 6">
              <a:extLst>
                <a:ext uri="{FF2B5EF4-FFF2-40B4-BE49-F238E27FC236}">
                  <a16:creationId xmlns:a16="http://schemas.microsoft.com/office/drawing/2014/main" id="{2A6CDC2F-2239-466B-8A26-51E24B60D2A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190" name="Freeform 7">
              <a:extLst>
                <a:ext uri="{FF2B5EF4-FFF2-40B4-BE49-F238E27FC236}">
                  <a16:creationId xmlns:a16="http://schemas.microsoft.com/office/drawing/2014/main" id="{93E73CA8-B585-405F-9E3D-46EE1893D71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191" name="Freeform 8">
              <a:extLst>
                <a:ext uri="{FF2B5EF4-FFF2-40B4-BE49-F238E27FC236}">
                  <a16:creationId xmlns:a16="http://schemas.microsoft.com/office/drawing/2014/main" id="{B40B0DE4-0E7F-4DE2-A215-B0E4BCF4375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192" name="Freeform 9">
              <a:extLst>
                <a:ext uri="{FF2B5EF4-FFF2-40B4-BE49-F238E27FC236}">
                  <a16:creationId xmlns:a16="http://schemas.microsoft.com/office/drawing/2014/main" id="{84A3CC07-CFF3-402C-88A1-0C33B169216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193" name="Freeform 10">
              <a:extLst>
                <a:ext uri="{FF2B5EF4-FFF2-40B4-BE49-F238E27FC236}">
                  <a16:creationId xmlns:a16="http://schemas.microsoft.com/office/drawing/2014/main" id="{223CFCE1-BE7A-4664-929A-9AD81CA8045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194" name="Freeform 11">
              <a:extLst>
                <a:ext uri="{FF2B5EF4-FFF2-40B4-BE49-F238E27FC236}">
                  <a16:creationId xmlns:a16="http://schemas.microsoft.com/office/drawing/2014/main" id="{53A2BE8A-BB25-4C20-B0B5-1FA2A33471E1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195" name="Freeform 12">
              <a:extLst>
                <a:ext uri="{FF2B5EF4-FFF2-40B4-BE49-F238E27FC236}">
                  <a16:creationId xmlns:a16="http://schemas.microsoft.com/office/drawing/2014/main" id="{6ACD31F9-9175-4E3B-B20A-0CBFA479BA61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A48347C3-DAFD-4322-8B75-FAADCB97A100}"/>
              </a:ext>
            </a:extLst>
          </p:cNvPr>
          <p:cNvSpPr txBox="1"/>
          <p:nvPr/>
        </p:nvSpPr>
        <p:spPr bwMode="white"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bg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ED51C9E-7CEC-414C-A393-73D352F3496A}"/>
              </a:ext>
            </a:extLst>
          </p:cNvPr>
          <p:cNvSpPr txBox="1"/>
          <p:nvPr/>
        </p:nvSpPr>
        <p:spPr>
          <a:xfrm>
            <a:off x="2118108" y="6510279"/>
            <a:ext cx="1966005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 dirty="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1BEC66B-487A-4C1D-9541-C5DC72DD73E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275344" y="1600200"/>
            <a:ext cx="6192614" cy="3200400"/>
          </a:xfrm>
        </p:spPr>
        <p:txBody>
          <a:bodyPr anchor="b"/>
          <a:lstStyle>
            <a:lvl1pPr marL="228600" indent="-228600">
              <a:buClr>
                <a:schemeClr val="tx2"/>
              </a:buClr>
              <a:buSzPct val="100000"/>
              <a:buFont typeface="Metropolis" panose="00000500000000000000" pitchFamily="50" charset="0"/>
              <a:buChar char="“"/>
              <a:defRPr sz="280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24787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with Pho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Text Placeholder 18">
            <a:extLst>
              <a:ext uri="{FF2B5EF4-FFF2-40B4-BE49-F238E27FC236}">
                <a16:creationId xmlns:a16="http://schemas.microsoft.com/office/drawing/2014/main" id="{09EEA1A0-09F6-4C94-911A-E94DE83498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453542" y="5726368"/>
            <a:ext cx="4127581" cy="276999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100000"/>
              <a:buFont typeface="Metropolis" panose="00000500000000000000" pitchFamily="50" charset="0"/>
              <a:buNone/>
              <a:defRPr sz="1800">
                <a:solidFill>
                  <a:schemeClr val="bg1"/>
                </a:solidFill>
              </a:defRPr>
            </a:lvl1pPr>
            <a:lvl2pPr marL="273050" indent="0">
              <a:buNone/>
              <a:defRPr/>
            </a:lvl2pPr>
          </a:lstStyle>
          <a:p>
            <a:pPr lvl="0"/>
            <a:r>
              <a:rPr lang="en-US" dirty="0"/>
              <a:t>Source Nam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BE887AA-466F-4819-9C71-E7A3469F9FED}"/>
              </a:ext>
            </a:extLst>
          </p:cNvPr>
          <p:cNvGrpSpPr/>
          <p:nvPr/>
        </p:nvGrpSpPr>
        <p:grpSpPr>
          <a:xfrm>
            <a:off x="618040" y="6446045"/>
            <a:ext cx="1100079" cy="173355"/>
            <a:chOff x="-84138" y="5622925"/>
            <a:chExt cx="4330701" cy="682626"/>
          </a:xfrm>
          <a:solidFill>
            <a:schemeClr val="bg1"/>
          </a:solidFill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F4067B72-DBFB-4029-8D5B-F1FF1EBE13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4B12C03C-6596-4EA0-AD8E-20898D0524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75EC5438-9CA3-451C-BE1E-32649BA580E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CC779E55-6092-45FD-A207-F5F87653E64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C46B14FE-24C9-470A-A53B-7F31452073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9E375347-E880-4672-992A-C5D936A9A8B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73103450-85A9-4D5B-A458-2662F6E6A1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1509C4AD-2E3F-4500-A723-1F51B4906D51}"/>
              </a:ext>
            </a:extLst>
          </p:cNvPr>
          <p:cNvSpPr txBox="1"/>
          <p:nvPr/>
        </p:nvSpPr>
        <p:spPr bwMode="white">
          <a:xfrm>
            <a:off x="2118108" y="6510279"/>
            <a:ext cx="1966005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bg1"/>
                </a:solidFill>
                <a:latin typeface="+mj-lt"/>
              </a:rPr>
              <a:t>  ©</a:t>
            </a:r>
            <a:r>
              <a:rPr lang="is-IS" sz="800" dirty="0">
                <a:solidFill>
                  <a:schemeClr val="bg1"/>
                </a:solidFill>
                <a:latin typeface="+mj-lt"/>
              </a:rPr>
              <a:t>2018</a:t>
            </a:r>
            <a:r>
              <a:rPr lang="en-US" sz="800" dirty="0">
                <a:solidFill>
                  <a:schemeClr val="bg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67669F2-DB92-4920-A8A8-826B25591FE9}"/>
              </a:ext>
            </a:extLst>
          </p:cNvPr>
          <p:cNvSpPr txBox="1"/>
          <p:nvPr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bg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B57474-E36F-40E3-9802-188CF74382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15479" y="3886200"/>
            <a:ext cx="4365175" cy="1670050"/>
          </a:xfrm>
        </p:spPr>
        <p:txBody>
          <a:bodyPr anchor="b"/>
          <a:lstStyle>
            <a:lvl1pPr marL="228600" indent="-228600">
              <a:buClr>
                <a:schemeClr val="bg1"/>
              </a:buClr>
              <a:buSzPct val="100000"/>
              <a:buFont typeface="Metropolis" panose="00000500000000000000" pitchFamily="50" charset="0"/>
              <a:buChar char="“"/>
              <a:defRPr sz="2800">
                <a:solidFill>
                  <a:schemeClr val="bg1"/>
                </a:solidFill>
              </a:defRPr>
            </a:lvl1pPr>
            <a:lvl2pPr marL="27305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</a:t>
            </a:r>
            <a:r>
              <a:rPr lang="en-US" dirty="0"/>
              <a:t>text styles</a:t>
            </a:r>
          </a:p>
        </p:txBody>
      </p:sp>
    </p:spTree>
    <p:extLst>
      <p:ext uri="{BB962C8B-B14F-4D97-AF65-F5344CB8AC3E}">
        <p14:creationId xmlns:p14="http://schemas.microsoft.com/office/powerpoint/2010/main" val="1152813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111049-A980-9A4B-BDCF-935BD3D35A43}" type="datetimeFigureOut">
              <a:rPr lang="en-US" smtClean="0"/>
              <a:t>24-Sep-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9C9BFC-FCFF-7247-B387-15C2934714B0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09614" y="1219200"/>
            <a:ext cx="10972801" cy="304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wipe dir="r"/>
      </p:transition>
    </mc:Choice>
    <mc:Fallback xmlns="">
      <p:transition xmlns:p14="http://schemas.microsoft.com/office/powerpoint/2010/main" spd="slow">
        <p:wipe dir="r"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D034FA3F-D529-4D8B-B6EC-A8341FCAF67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6666" y="1600201"/>
            <a:ext cx="10975658" cy="4572000"/>
          </a:xfrm>
        </p:spPr>
        <p:txBody>
          <a:bodyPr/>
          <a:lstStyle>
            <a:lvl1pPr>
              <a:spcBef>
                <a:spcPts val="1500"/>
              </a:spcBef>
              <a:defRPr/>
            </a:lvl1pPr>
            <a:lvl2pPr>
              <a:spcBef>
                <a:spcPts val="300"/>
              </a:spcBef>
              <a:defRPr/>
            </a:lvl2pPr>
            <a:lvl5pPr>
              <a:defRPr/>
            </a:lvl5pPr>
            <a:lvl6pPr>
              <a:defRPr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27E3E8B-0F66-4996-9785-6E9531D89A5A}"/>
              </a:ext>
            </a:extLst>
          </p:cNvPr>
          <p:cNvSpPr txBox="1"/>
          <p:nvPr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A38E960-BC30-41E5-821A-130489A6F141}"/>
              </a:ext>
            </a:extLst>
          </p:cNvPr>
          <p:cNvSpPr txBox="1"/>
          <p:nvPr/>
        </p:nvSpPr>
        <p:spPr>
          <a:xfrm>
            <a:off x="2118108" y="6510279"/>
            <a:ext cx="1966005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 dirty="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9985EB2-1092-4CE8-9D04-7D84E433A1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960" y="412751"/>
            <a:ext cx="11003870" cy="384048"/>
          </a:xfrm>
        </p:spPr>
        <p:txBody>
          <a:bodyPr wrap="none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216D2F66-BB7F-4F0E-A224-A105F87676EF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3021" y="811831"/>
            <a:ext cx="10990809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6557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8950B906-C5A3-4658-B24C-B2B533310D26}"/>
              </a:ext>
            </a:extLst>
          </p:cNvPr>
          <p:cNvSpPr txBox="1"/>
          <p:nvPr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43FF99D-8522-4698-BE65-7CC8406878E4}"/>
              </a:ext>
            </a:extLst>
          </p:cNvPr>
          <p:cNvSpPr txBox="1"/>
          <p:nvPr/>
        </p:nvSpPr>
        <p:spPr>
          <a:xfrm>
            <a:off x="2118108" y="6510279"/>
            <a:ext cx="1966005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 dirty="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E333358-58C9-4949-98D5-BC5D4A3168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none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C28211D2-9BBA-4EB9-8867-E2CC72E9E0D1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3021" y="811831"/>
            <a:ext cx="10965543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5485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hoto – Green">
    <p:bg>
      <p:bgPr>
        <a:blipFill dpi="0" rotWithShape="1">
          <a:blip r:embed="rId2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60C1CF85-FDE0-4FD4-AE75-520789FA51B5}"/>
              </a:ext>
            </a:extLst>
          </p:cNvPr>
          <p:cNvSpPr txBox="1"/>
          <p:nvPr/>
        </p:nvSpPr>
        <p:spPr bwMode="white">
          <a:xfrm>
            <a:off x="2118108" y="6510279"/>
            <a:ext cx="1966005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bg1"/>
                </a:solidFill>
                <a:latin typeface="+mj-lt"/>
              </a:rPr>
              <a:t>  ©</a:t>
            </a:r>
            <a:r>
              <a:rPr lang="is-IS" sz="800" dirty="0">
                <a:solidFill>
                  <a:schemeClr val="bg1"/>
                </a:solidFill>
                <a:latin typeface="+mj-lt"/>
              </a:rPr>
              <a:t>2018</a:t>
            </a:r>
            <a:r>
              <a:rPr lang="en-US" sz="800" dirty="0">
                <a:solidFill>
                  <a:schemeClr val="bg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5814392-5D30-411F-9F47-D111CEA5871F}"/>
              </a:ext>
            </a:extLst>
          </p:cNvPr>
          <p:cNvGrpSpPr/>
          <p:nvPr/>
        </p:nvGrpSpPr>
        <p:grpSpPr bwMode="white">
          <a:xfrm>
            <a:off x="618040" y="6446045"/>
            <a:ext cx="1100079" cy="173355"/>
            <a:chOff x="-84138" y="5622925"/>
            <a:chExt cx="4330701" cy="682626"/>
          </a:xfrm>
          <a:solidFill>
            <a:schemeClr val="bg1"/>
          </a:solidFill>
        </p:grpSpPr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3318E63F-0425-4B1D-8187-20EDB5E75016}"/>
                </a:ext>
              </a:extLst>
            </p:cNvPr>
            <p:cNvSpPr>
              <a:spLocks/>
            </p:cNvSpPr>
            <p:nvPr userDrawn="1"/>
          </p:nvSpPr>
          <p:spPr bwMode="white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B30C3582-3060-4E26-8D88-82DE78548B94}"/>
                </a:ext>
              </a:extLst>
            </p:cNvPr>
            <p:cNvSpPr>
              <a:spLocks/>
            </p:cNvSpPr>
            <p:nvPr userDrawn="1"/>
          </p:nvSpPr>
          <p:spPr bwMode="white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FD21AC7-603F-4EAA-AF33-D10309C573F2}"/>
                </a:ext>
              </a:extLst>
            </p:cNvPr>
            <p:cNvSpPr>
              <a:spLocks noEditPoints="1"/>
            </p:cNvSpPr>
            <p:nvPr userDrawn="1"/>
          </p:nvSpPr>
          <p:spPr bwMode="white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6A3B4F65-A2ED-4298-9FC7-6504E5F1CCBC}"/>
                </a:ext>
              </a:extLst>
            </p:cNvPr>
            <p:cNvSpPr>
              <a:spLocks noEditPoints="1"/>
            </p:cNvSpPr>
            <p:nvPr userDrawn="1"/>
          </p:nvSpPr>
          <p:spPr bwMode="white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1BE9558A-954A-44D3-846A-63CE6DDB4668}"/>
                </a:ext>
              </a:extLst>
            </p:cNvPr>
            <p:cNvSpPr>
              <a:spLocks/>
            </p:cNvSpPr>
            <p:nvPr userDrawn="1"/>
          </p:nvSpPr>
          <p:spPr bwMode="white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582C93C0-E583-4CCD-BC27-D50F826D3444}"/>
                </a:ext>
              </a:extLst>
            </p:cNvPr>
            <p:cNvSpPr>
              <a:spLocks noEditPoints="1"/>
            </p:cNvSpPr>
            <p:nvPr userDrawn="1"/>
          </p:nvSpPr>
          <p:spPr bwMode="white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7ED794B3-88A6-4B48-B758-7FE0C24C9B3D}"/>
                </a:ext>
              </a:extLst>
            </p:cNvPr>
            <p:cNvSpPr>
              <a:spLocks noEditPoints="1"/>
            </p:cNvSpPr>
            <p:nvPr userDrawn="1"/>
          </p:nvSpPr>
          <p:spPr bwMode="white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55DB13E0-057F-4E9B-A508-8BCFFDA69B67}"/>
              </a:ext>
            </a:extLst>
          </p:cNvPr>
          <p:cNvSpPr txBox="1"/>
          <p:nvPr/>
        </p:nvSpPr>
        <p:spPr bwMode="white"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bg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0F92D229-820A-4AB4-9D2F-2D79D4C104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223471"/>
            <a:ext cx="6096001" cy="1034129"/>
          </a:xfrm>
          <a:solidFill>
            <a:schemeClr val="bg1">
              <a:alpha val="90000"/>
            </a:schemeClr>
          </a:solidFill>
        </p:spPr>
        <p:txBody>
          <a:bodyPr wrap="square" lIns="576072" tIns="182880" rIns="457200" bIns="45720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D53201EE-D22D-4F4C-BC22-0B071A05CDE1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3021" y="811831"/>
            <a:ext cx="5362641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F322F76-245F-4F96-A66A-51CFFDFD55B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600200"/>
            <a:ext cx="6096001" cy="4572000"/>
          </a:xfrm>
          <a:gradFill>
            <a:gsLst>
              <a:gs pos="0">
                <a:schemeClr val="accent6">
                  <a:alpha val="90000"/>
                </a:schemeClr>
              </a:gs>
              <a:gs pos="98000">
                <a:schemeClr val="accent6"/>
              </a:gs>
              <a:gs pos="98000">
                <a:schemeClr val="accent5"/>
              </a:gs>
              <a:gs pos="100000">
                <a:schemeClr val="accent5"/>
              </a:gs>
            </a:gsLst>
            <a:lin ang="5400000" scaled="1"/>
          </a:gradFill>
        </p:spPr>
        <p:txBody>
          <a:bodyPr lIns="594360" tIns="457200" rIns="457200" bIns="4572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 marL="457200" indent="-173038"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 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5"/>
            <a:endParaRPr lang="en-US"/>
          </a:p>
          <a:p>
            <a:pPr lvl="5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787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hoto – Blue">
    <p:bg>
      <p:bgPr>
        <a:blipFill dpi="0" rotWithShape="1">
          <a:blip r:embed="rId2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FD919D82-432A-4E2E-A0FB-6478264571AA}"/>
              </a:ext>
            </a:extLst>
          </p:cNvPr>
          <p:cNvSpPr txBox="1"/>
          <p:nvPr/>
        </p:nvSpPr>
        <p:spPr bwMode="white">
          <a:xfrm>
            <a:off x="2118108" y="6510279"/>
            <a:ext cx="1966005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bg1"/>
                </a:solidFill>
                <a:latin typeface="+mj-lt"/>
              </a:rPr>
              <a:t>  ©</a:t>
            </a:r>
            <a:r>
              <a:rPr lang="is-IS" sz="800" dirty="0">
                <a:solidFill>
                  <a:schemeClr val="bg1"/>
                </a:solidFill>
                <a:latin typeface="+mj-lt"/>
              </a:rPr>
              <a:t>2018</a:t>
            </a:r>
            <a:r>
              <a:rPr lang="en-US" sz="800" dirty="0">
                <a:solidFill>
                  <a:schemeClr val="bg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258B014-FCEB-457B-AA95-D932FA2C4BC9}"/>
              </a:ext>
            </a:extLst>
          </p:cNvPr>
          <p:cNvGrpSpPr/>
          <p:nvPr/>
        </p:nvGrpSpPr>
        <p:grpSpPr>
          <a:xfrm>
            <a:off x="618040" y="6446045"/>
            <a:ext cx="1100079" cy="173355"/>
            <a:chOff x="-84138" y="5622925"/>
            <a:chExt cx="4330701" cy="682626"/>
          </a:xfrm>
          <a:solidFill>
            <a:schemeClr val="bg1"/>
          </a:solidFill>
        </p:grpSpPr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CB6D6772-32FD-406C-B104-D9AC3E4409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CC3CEB0D-63A7-488A-851F-7043459537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334922AD-8470-4017-85C7-85046F9188E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2A58DEF3-B9F5-43D3-AD9F-61C45EDC8B8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389D5504-A761-45F3-9538-8016436376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AE2C2CA5-4BB2-4E68-B3C2-6F779AA486D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6CF418B7-8CEF-4ACC-8C96-F7807AE1EAB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A6945510-9B71-4377-A2F9-71426E32479D}"/>
              </a:ext>
            </a:extLst>
          </p:cNvPr>
          <p:cNvSpPr txBox="1"/>
          <p:nvPr/>
        </p:nvSpPr>
        <p:spPr bwMode="white"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bg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215FFC-C666-4D82-B2D8-6E34FBA38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223471"/>
            <a:ext cx="6096001" cy="1034129"/>
          </a:xfrm>
          <a:solidFill>
            <a:schemeClr val="bg1">
              <a:alpha val="90000"/>
            </a:schemeClr>
          </a:solidFill>
        </p:spPr>
        <p:txBody>
          <a:bodyPr wrap="square" lIns="576072" tIns="182880" rIns="457200" bIns="45720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2A4C07D5-4CD5-43B7-8FFA-FD7A502CF0F7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3021" y="811831"/>
            <a:ext cx="5362641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D41D1FF-CD74-4066-90E2-A98516D87B6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600200"/>
            <a:ext cx="6096001" cy="4572000"/>
          </a:xfrm>
          <a:gradFill>
            <a:gsLst>
              <a:gs pos="98000">
                <a:schemeClr val="accent2">
                  <a:alpha val="90000"/>
                </a:schemeClr>
              </a:gs>
              <a:gs pos="98000">
                <a:schemeClr val="accent1"/>
              </a:gs>
            </a:gsLst>
            <a:lin ang="5400000" scaled="1"/>
          </a:gradFill>
        </p:spPr>
        <p:txBody>
          <a:bodyPr lIns="594360" tIns="457200" rIns="457200" bIns="4572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1813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-Content Balanc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B6A9629E-98B5-43F5-8323-C894B734208A}"/>
              </a:ext>
            </a:extLst>
          </p:cNvPr>
          <p:cNvSpPr txBox="1"/>
          <p:nvPr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A233385-2DB4-48AC-9150-2252214FBAE2}"/>
              </a:ext>
            </a:extLst>
          </p:cNvPr>
          <p:cNvSpPr txBox="1"/>
          <p:nvPr/>
        </p:nvSpPr>
        <p:spPr>
          <a:xfrm>
            <a:off x="2118108" y="6510279"/>
            <a:ext cx="1966005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 dirty="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00E4C6-16B5-49A9-898A-3B53C5AB06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38535540-CB20-4CD5-9F73-DB64F5A49CD3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3021" y="811831"/>
            <a:ext cx="10965543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7AF420A-ED2C-4AD1-A28B-EB26178557D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0" y="1600200"/>
            <a:ext cx="5895128" cy="4572000"/>
          </a:xfrm>
        </p:spPr>
        <p:txBody>
          <a:bodyPr lIns="594360"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400"/>
            </a:lvl7pPr>
            <a:lvl8pPr>
              <a:defRPr sz="12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5"/>
            <a:endParaRPr lang="en-US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CD860A49-A98C-4F0E-AB34-4E13B89D5EBC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22934" y="1600200"/>
            <a:ext cx="5869066" cy="4572000"/>
          </a:xfrm>
        </p:spPr>
        <p:txBody>
          <a:bodyPr lIns="0" rIns="594360"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400"/>
            </a:lvl7pPr>
            <a:lvl8pPr>
              <a:defRPr sz="12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r>
              <a:rPr lang="en-US"/>
              <a:t>Nin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8261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-Content Balanced –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D034FA3F-D529-4D8B-B6EC-A8341FCAF67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ltGray">
          <a:xfrm>
            <a:off x="1" y="1600201"/>
            <a:ext cx="5895128" cy="4572000"/>
          </a:xfrm>
          <a:gradFill>
            <a:gsLst>
              <a:gs pos="0">
                <a:schemeClr val="accent4"/>
              </a:gs>
              <a:gs pos="98000">
                <a:schemeClr val="accent4"/>
              </a:gs>
              <a:gs pos="98000">
                <a:schemeClr val="accent6"/>
              </a:gs>
            </a:gsLst>
            <a:lin ang="5400000" scaled="1"/>
          </a:gradFill>
        </p:spPr>
        <p:txBody>
          <a:bodyPr vert="horz" lIns="594360" tIns="457200" rIns="457200" bIns="457200" rtlCol="0">
            <a:noAutofit/>
          </a:bodyPr>
          <a:lstStyle>
            <a:lvl1pPr>
              <a:spcBef>
                <a:spcPts val="1200"/>
              </a:spcBef>
              <a:defRPr lang="en-US" sz="1800" dirty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lang="en-US" sz="1600" dirty="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lang="en-US" sz="1400" dirty="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lang="en-US" sz="1200" dirty="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lang="en-US" sz="1200" dirty="0">
                <a:solidFill>
                  <a:schemeClr val="bg1"/>
                </a:solidFill>
              </a:defRPr>
            </a:lvl5pPr>
            <a:lvl6pPr>
              <a:buClrTx/>
              <a:defRPr sz="1800">
                <a:solidFill>
                  <a:schemeClr val="bg1"/>
                </a:solidFill>
              </a:defRPr>
            </a:lvl6pPr>
            <a:lvl7pPr>
              <a:buClrTx/>
              <a:defRPr sz="1400">
                <a:solidFill>
                  <a:schemeClr val="bg1"/>
                </a:solidFill>
              </a:defRPr>
            </a:lvl7pPr>
            <a:lvl8pPr>
              <a:buClrTx/>
              <a:defRPr sz="1200">
                <a:solidFill>
                  <a:schemeClr val="bg1"/>
                </a:solidFill>
              </a:defRPr>
            </a:lvl8pPr>
            <a:lvl9pPr>
              <a:buClrTx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 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  <a:endParaRPr lang="en-US" dirty="0"/>
          </a:p>
        </p:txBody>
      </p:sp>
      <p:sp>
        <p:nvSpPr>
          <p:cNvPr id="72" name="Content Placeholder 17">
            <a:extLst>
              <a:ext uri="{FF2B5EF4-FFF2-40B4-BE49-F238E27FC236}">
                <a16:creationId xmlns:a16="http://schemas.microsoft.com/office/drawing/2014/main" id="{A0456ED3-FDC5-4E29-B939-E35EA08477C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 bwMode="ltGray">
          <a:xfrm>
            <a:off x="6325029" y="1600201"/>
            <a:ext cx="5866973" cy="4572000"/>
          </a:xfrm>
          <a:gradFill>
            <a:gsLst>
              <a:gs pos="0">
                <a:schemeClr val="accent1"/>
              </a:gs>
              <a:gs pos="98000">
                <a:schemeClr val="accent1"/>
              </a:gs>
              <a:gs pos="98000">
                <a:schemeClr val="accent3"/>
              </a:gs>
            </a:gsLst>
            <a:lin ang="5400000" scaled="1"/>
          </a:gradFill>
        </p:spPr>
        <p:txBody>
          <a:bodyPr lIns="457200" tIns="457200" rIns="594360"/>
          <a:lstStyle>
            <a:lvl1pPr>
              <a:spcBef>
                <a:spcPts val="1200"/>
              </a:spcBef>
              <a:defRPr sz="18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2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6A9629E-98B5-43F5-8323-C894B734208A}"/>
              </a:ext>
            </a:extLst>
          </p:cNvPr>
          <p:cNvSpPr txBox="1"/>
          <p:nvPr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A233385-2DB4-48AC-9150-2252214FBAE2}"/>
              </a:ext>
            </a:extLst>
          </p:cNvPr>
          <p:cNvSpPr txBox="1"/>
          <p:nvPr/>
        </p:nvSpPr>
        <p:spPr>
          <a:xfrm>
            <a:off x="2118108" y="6510279"/>
            <a:ext cx="1966005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 dirty="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00E4C6-16B5-49A9-898A-3B53C5AB06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38535540-CB20-4CD5-9F73-DB64F5A49CD3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3021" y="811831"/>
            <a:ext cx="10965543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4505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D034FA3F-D529-4D8B-B6EC-A8341FCAF67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1" y="1600201"/>
            <a:ext cx="5867888" cy="4572000"/>
          </a:xfrm>
          <a:solidFill>
            <a:schemeClr val="bg2"/>
          </a:solidFill>
        </p:spPr>
        <p:txBody>
          <a:bodyPr lIns="594360" tIns="1371600" rIns="548640"/>
          <a:lstStyle>
            <a:lvl1pPr>
              <a:spcBef>
                <a:spcPts val="2400"/>
              </a:spcBef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400"/>
            </a:lvl7pPr>
            <a:lvl8pPr>
              <a:defRPr sz="12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  <a:p>
            <a:pPr lvl="4"/>
            <a:endParaRPr lang="en-US" dirty="0"/>
          </a:p>
        </p:txBody>
      </p:sp>
      <p:sp>
        <p:nvSpPr>
          <p:cNvPr id="72" name="Content Placeholder 17">
            <a:extLst>
              <a:ext uri="{FF2B5EF4-FFF2-40B4-BE49-F238E27FC236}">
                <a16:creationId xmlns:a16="http://schemas.microsoft.com/office/drawing/2014/main" id="{A0456ED3-FDC5-4E29-B939-E35EA08477C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 bwMode="gray">
          <a:xfrm>
            <a:off x="6325029" y="1600201"/>
            <a:ext cx="5866973" cy="4572000"/>
          </a:xfrm>
          <a:solidFill>
            <a:schemeClr val="bg2"/>
          </a:solidFill>
        </p:spPr>
        <p:txBody>
          <a:bodyPr lIns="548640" tIns="1371600" rIns="548640"/>
          <a:lstStyle>
            <a:lvl1pPr>
              <a:spcBef>
                <a:spcPts val="2400"/>
              </a:spcBef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400"/>
            </a:lvl7pPr>
            <a:lvl8pPr>
              <a:defRPr sz="12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 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r>
              <a:rPr lang="en-US"/>
              <a:t>Ninth level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8337636-71A7-4831-B382-F842B3A2949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1" y="1806123"/>
            <a:ext cx="5638681" cy="911225"/>
          </a:xfrm>
          <a:gradFill>
            <a:gsLst>
              <a:gs pos="8000">
                <a:schemeClr val="accent6"/>
              </a:gs>
              <a:gs pos="8000">
                <a:schemeClr val="accent4"/>
              </a:gs>
              <a:gs pos="0">
                <a:schemeClr val="accent6"/>
              </a:gs>
              <a:gs pos="100000">
                <a:schemeClr val="accent4"/>
              </a:gs>
            </a:gsLst>
            <a:lin ang="13500000" scaled="0"/>
          </a:gradFill>
        </p:spPr>
        <p:txBody>
          <a:bodyPr vert="horz" lIns="594360" tIns="91440" rIns="457200" bIns="91440" rtlCol="0" anchor="ctr">
            <a:noAutofit/>
          </a:bodyPr>
          <a:lstStyle>
            <a:lvl1pPr>
              <a:defRPr lang="en-US"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78A74DE7-78E3-4ECA-9661-D73FBD37E48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6553320" y="1806123"/>
            <a:ext cx="5638680" cy="911225"/>
          </a:xfrm>
          <a:gradFill>
            <a:gsLst>
              <a:gs pos="100000">
                <a:schemeClr val="accent3"/>
              </a:gs>
              <a:gs pos="92000">
                <a:schemeClr val="accent1"/>
              </a:gs>
              <a:gs pos="92000">
                <a:schemeClr val="accent3"/>
              </a:gs>
              <a:gs pos="6000">
                <a:schemeClr val="accent1"/>
              </a:gs>
            </a:gsLst>
            <a:lin ang="2700000" scaled="0"/>
          </a:gradFill>
        </p:spPr>
        <p:txBody>
          <a:bodyPr vert="horz" lIns="338328" tIns="91440" rIns="612648" bIns="91440" rtlCol="0" anchor="ctr">
            <a:noAutofit/>
          </a:bodyPr>
          <a:lstStyle>
            <a:lvl1pPr>
              <a:defRPr lang="en-US"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92176E5-FE3D-4EA5-BF24-8ABF8BFBF668}"/>
              </a:ext>
            </a:extLst>
          </p:cNvPr>
          <p:cNvSpPr txBox="1"/>
          <p:nvPr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9CD04BF-6EB9-43B2-ACD3-B1C9868E90DD}"/>
              </a:ext>
            </a:extLst>
          </p:cNvPr>
          <p:cNvSpPr txBox="1"/>
          <p:nvPr/>
        </p:nvSpPr>
        <p:spPr>
          <a:xfrm>
            <a:off x="2118108" y="6510279"/>
            <a:ext cx="1966005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 dirty="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6A1FE0B-90B1-4BED-9AA5-6DC9F6424E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541C7AA-97CA-4F96-9506-F144DA2CD8E2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3021" y="811831"/>
            <a:ext cx="10965543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7764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Dynamic –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A9E4CD6E-324F-4BEC-884B-D217C07BF39E}"/>
              </a:ext>
            </a:extLst>
          </p:cNvPr>
          <p:cNvSpPr txBox="1"/>
          <p:nvPr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3D6F62F-B8DB-4CC8-8EDA-B15D7FC75180}"/>
              </a:ext>
            </a:extLst>
          </p:cNvPr>
          <p:cNvSpPr txBox="1"/>
          <p:nvPr/>
        </p:nvSpPr>
        <p:spPr>
          <a:xfrm>
            <a:off x="2118108" y="6510279"/>
            <a:ext cx="1966005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 dirty="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346AD2E-9306-49E7-A98B-7D26E458C2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none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577AE2CA-1B34-4F04-BD7F-F624F20E94FB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352086" y="1600200"/>
            <a:ext cx="8231744" cy="457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551435C2-3F7C-4835-8DB0-71E2C00537CF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3021" y="811831"/>
            <a:ext cx="10965543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0FD232-93CB-4B54-A933-93C11B099F7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1600200"/>
            <a:ext cx="2894767" cy="4572000"/>
          </a:xfrm>
          <a:gradFill>
            <a:gsLst>
              <a:gs pos="0">
                <a:schemeClr val="accent2"/>
              </a:gs>
              <a:gs pos="98000">
                <a:schemeClr val="accent2"/>
              </a:gs>
              <a:gs pos="98000">
                <a:schemeClr val="accent1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594360" tIns="457200" rIns="457200" bIns="457200"/>
          <a:lstStyle>
            <a:lvl1pPr>
              <a:defRPr sz="1600">
                <a:solidFill>
                  <a:schemeClr val="bg1"/>
                </a:solidFill>
              </a:defRPr>
            </a:lvl1pPr>
            <a:lvl2pPr marL="171450" indent="-171450"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 marL="342900" indent="-171450"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  <a:lvl4pPr marL="514350" indent="-171450"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 marL="742950" indent="-171450"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 sz="1800"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 sz="1400">
                <a:solidFill>
                  <a:schemeClr val="bg1"/>
                </a:solidFill>
              </a:defRPr>
            </a:lvl7pPr>
            <a:lvl8pPr>
              <a:buClrTx/>
              <a:defRPr sz="1200">
                <a:solidFill>
                  <a:schemeClr val="bg1"/>
                </a:solidFill>
              </a:defRPr>
            </a:lvl8pPr>
            <a:lvl9pPr>
              <a:buClrTx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6814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Dynamic –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460DEEA-0331-45ED-8943-6F9E7488409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08171" y="1600200"/>
            <a:ext cx="8231744" cy="457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DE1D12F-78DF-4A32-BDDB-1E22FB9CA5D0}"/>
              </a:ext>
            </a:extLst>
          </p:cNvPr>
          <p:cNvSpPr txBox="1"/>
          <p:nvPr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69A07E6-128F-4EE2-9633-8E8BD2490B0E}"/>
              </a:ext>
            </a:extLst>
          </p:cNvPr>
          <p:cNvSpPr txBox="1"/>
          <p:nvPr/>
        </p:nvSpPr>
        <p:spPr>
          <a:xfrm>
            <a:off x="2118108" y="6510279"/>
            <a:ext cx="1966005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 dirty="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92A934A-AC6B-460C-9C93-B13CF6B626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none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F6F5131D-84AE-4294-83A1-243FE1C81A8A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3021" y="811831"/>
            <a:ext cx="10965543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197ED16-D162-4BF7-B635-2F70E10855A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97234" y="1600200"/>
            <a:ext cx="2894766" cy="4572000"/>
          </a:xfrm>
          <a:gradFill>
            <a:gsLst>
              <a:gs pos="0">
                <a:schemeClr val="accent2"/>
              </a:gs>
              <a:gs pos="98000">
                <a:schemeClr val="accent2"/>
              </a:gs>
              <a:gs pos="98000">
                <a:schemeClr val="accent1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457200" tIns="457200" rIns="594360" bIns="457200"/>
          <a:lstStyle>
            <a:lvl1pPr>
              <a:defRPr sz="1600">
                <a:solidFill>
                  <a:schemeClr val="bg1"/>
                </a:solidFill>
              </a:defRPr>
            </a:lvl1pPr>
            <a:lvl2pPr marL="171450" indent="-171450"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 marL="342900" indent="-171450"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  <a:lvl4pPr marL="514350" indent="-171450"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 marL="685800" indent="-171450"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2678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-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5" name="Rectangle 814">
            <a:extLst>
              <a:ext uri="{FF2B5EF4-FFF2-40B4-BE49-F238E27FC236}">
                <a16:creationId xmlns:a16="http://schemas.microsoft.com/office/drawing/2014/main" id="{7B16AAE1-F978-4FC7-959F-05998D9FBD85}"/>
              </a:ext>
            </a:extLst>
          </p:cNvPr>
          <p:cNvSpPr/>
          <p:nvPr/>
        </p:nvSpPr>
        <p:spPr bwMode="ltGray">
          <a:xfrm>
            <a:off x="-3443" y="6766560"/>
            <a:ext cx="12195441" cy="91440"/>
          </a:xfrm>
          <a:prstGeom prst="rect">
            <a:avLst/>
          </a:prstGeom>
          <a:gradFill flip="none" rotWithShape="1">
            <a:gsLst>
              <a:gs pos="0">
                <a:srgbClr val="AADB1E"/>
              </a:gs>
              <a:gs pos="25000">
                <a:schemeClr val="accent4"/>
              </a:gs>
              <a:gs pos="100000">
                <a:srgbClr val="003D79"/>
              </a:gs>
              <a:gs pos="50000">
                <a:schemeClr val="accent1"/>
              </a:gs>
              <a:gs pos="75000">
                <a:schemeClr val="accent3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D034FA3F-D529-4D8B-B6EC-A8341FCAF67E}"/>
              </a:ext>
            </a:extLst>
          </p:cNvPr>
          <p:cNvSpPr>
            <a:spLocks noGrp="1"/>
          </p:cNvSpPr>
          <p:nvPr>
            <p:ph sz="quarter" idx="14"/>
          </p:nvPr>
        </p:nvSpPr>
        <p:spPr bwMode="gray">
          <a:xfrm>
            <a:off x="616665" y="2515154"/>
            <a:ext cx="3347801" cy="3657600"/>
          </a:xfrm>
          <a:solidFill>
            <a:schemeClr val="bg2"/>
          </a:solidFill>
        </p:spPr>
        <p:txBody>
          <a:bodyPr lIns="182880" tIns="274320" rIns="182880"/>
          <a:lstStyle>
            <a:lvl1pPr algn="l">
              <a:spcBef>
                <a:spcPts val="1200"/>
              </a:spcBef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200"/>
            </a:lvl7pPr>
            <a:lvl8pPr>
              <a:defRPr sz="11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2" name="Content Placeholder 17">
            <a:extLst>
              <a:ext uri="{FF2B5EF4-FFF2-40B4-BE49-F238E27FC236}">
                <a16:creationId xmlns:a16="http://schemas.microsoft.com/office/drawing/2014/main" id="{A0456ED3-FDC5-4E29-B939-E35EA08477CA}"/>
              </a:ext>
            </a:extLst>
          </p:cNvPr>
          <p:cNvSpPr>
            <a:spLocks noGrp="1"/>
          </p:cNvSpPr>
          <p:nvPr>
            <p:ph sz="quarter" idx="16"/>
          </p:nvPr>
        </p:nvSpPr>
        <p:spPr bwMode="gray">
          <a:xfrm>
            <a:off x="4420828" y="2515154"/>
            <a:ext cx="3350345" cy="3657600"/>
          </a:xfrm>
          <a:solidFill>
            <a:schemeClr val="bg2"/>
          </a:solidFill>
        </p:spPr>
        <p:txBody>
          <a:bodyPr lIns="182880" tIns="274320" rIns="182880"/>
          <a:lstStyle>
            <a:lvl1pPr algn="l">
              <a:spcBef>
                <a:spcPts val="1200"/>
              </a:spcBef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200"/>
            </a:lvl7pPr>
            <a:lvl8pPr>
              <a:defRPr sz="11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3" name="Content Placeholder 17">
            <a:extLst>
              <a:ext uri="{FF2B5EF4-FFF2-40B4-BE49-F238E27FC236}">
                <a16:creationId xmlns:a16="http://schemas.microsoft.com/office/drawing/2014/main" id="{9C016467-4262-4DAA-9B43-A02E57530676}"/>
              </a:ext>
            </a:extLst>
          </p:cNvPr>
          <p:cNvSpPr>
            <a:spLocks noGrp="1"/>
          </p:cNvSpPr>
          <p:nvPr>
            <p:ph sz="quarter" idx="17"/>
          </p:nvPr>
        </p:nvSpPr>
        <p:spPr bwMode="gray">
          <a:xfrm>
            <a:off x="8238506" y="2515154"/>
            <a:ext cx="3347576" cy="3657600"/>
          </a:xfrm>
          <a:solidFill>
            <a:schemeClr val="bg2"/>
          </a:solidFill>
        </p:spPr>
        <p:txBody>
          <a:bodyPr lIns="182880" tIns="274320" rIns="182880"/>
          <a:lstStyle>
            <a:lvl1pPr algn="l">
              <a:spcBef>
                <a:spcPts val="1200"/>
              </a:spcBef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200"/>
            </a:lvl7pPr>
            <a:lvl8pPr>
              <a:defRPr sz="11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18" name="TextBox 817">
            <a:extLst>
              <a:ext uri="{FF2B5EF4-FFF2-40B4-BE49-F238E27FC236}">
                <a16:creationId xmlns:a16="http://schemas.microsoft.com/office/drawing/2014/main" id="{0B7E1504-B128-423C-AA77-E7FED5DC3B79}"/>
              </a:ext>
            </a:extLst>
          </p:cNvPr>
          <p:cNvSpPr txBox="1"/>
          <p:nvPr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3F76230-C445-499C-A0B0-95162966FD8E}"/>
              </a:ext>
            </a:extLst>
          </p:cNvPr>
          <p:cNvSpPr txBox="1"/>
          <p:nvPr/>
        </p:nvSpPr>
        <p:spPr>
          <a:xfrm>
            <a:off x="2118108" y="6510279"/>
            <a:ext cx="1966005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 dirty="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F2C94F-DA57-4BDB-8E5C-E4A0C75223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C59F98B-A991-4DEC-A409-289E778CB84A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3021" y="811831"/>
            <a:ext cx="10965543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9392189-2D4C-4618-9072-F26EE557FD0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16664" y="1600200"/>
            <a:ext cx="3347576" cy="914400"/>
          </a:xfrm>
          <a:gradFill>
            <a:gsLst>
              <a:gs pos="100000">
                <a:schemeClr val="accent6"/>
              </a:gs>
              <a:gs pos="92000">
                <a:schemeClr val="accent4"/>
              </a:gs>
              <a:gs pos="92000">
                <a:schemeClr val="accent6"/>
              </a:gs>
            </a:gsLst>
            <a:lin ang="2700000" scaled="0"/>
          </a:gradFill>
        </p:spPr>
        <p:txBody>
          <a:bodyPr lIns="182880" tIns="91440" rIns="182880" bIns="91440" anchor="ctr"/>
          <a:lstStyle>
            <a:lvl1pPr>
              <a:defRPr sz="1800">
                <a:solidFill>
                  <a:schemeClr val="bg1"/>
                </a:solidFill>
              </a:defRPr>
            </a:lvl1pPr>
            <a:lvl2pPr marL="0" indent="0">
              <a:buFont typeface="Open Sans" panose="020B0606030504020204" pitchFamily="34" charset="0"/>
              <a:buChar char="​"/>
              <a:defRPr sz="1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65955AB-F417-4DCB-8CC3-98BAC90A9AF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20827" y="1600200"/>
            <a:ext cx="3347576" cy="914400"/>
          </a:xfrm>
          <a:gradFill>
            <a:gsLst>
              <a:gs pos="92000">
                <a:schemeClr val="accent1"/>
              </a:gs>
              <a:gs pos="92000">
                <a:schemeClr val="accent3"/>
              </a:gs>
            </a:gsLst>
            <a:lin ang="2700000" scaled="0"/>
          </a:gradFill>
        </p:spPr>
        <p:txBody>
          <a:bodyPr lIns="182880" tIns="91440" rIns="182880" bIns="91440" anchor="ctr"/>
          <a:lstStyle>
            <a:lvl1pPr>
              <a:defRPr sz="1800">
                <a:solidFill>
                  <a:schemeClr val="bg1"/>
                </a:solidFill>
              </a:defRPr>
            </a:lvl1pPr>
            <a:lvl2pPr marL="0" indent="0">
              <a:buFont typeface="Open Sans" panose="020B0606030504020204" pitchFamily="34" charset="0"/>
              <a:buChar char="​"/>
              <a:defRPr sz="1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7AFB5407-642C-468A-81DB-F0C5C485F6F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38506" y="1600200"/>
            <a:ext cx="3347576" cy="914400"/>
          </a:xfrm>
          <a:gradFill>
            <a:gsLst>
              <a:gs pos="92000">
                <a:schemeClr val="accent2"/>
              </a:gs>
              <a:gs pos="92000">
                <a:schemeClr val="accent2">
                  <a:lumMod val="50000"/>
                </a:schemeClr>
              </a:gs>
            </a:gsLst>
            <a:lin ang="2700000" scaled="0"/>
          </a:gradFill>
        </p:spPr>
        <p:txBody>
          <a:bodyPr lIns="182880" tIns="91440" rIns="182880" bIns="91440" anchor="ctr"/>
          <a:lstStyle>
            <a:lvl1pPr>
              <a:defRPr sz="1800">
                <a:solidFill>
                  <a:schemeClr val="bg1"/>
                </a:solidFill>
              </a:defRPr>
            </a:lvl1pPr>
            <a:lvl2pPr marL="0" indent="0">
              <a:buFont typeface="Open Sans" panose="020B0606030504020204" pitchFamily="34" charset="0"/>
              <a:buChar char="​"/>
              <a:defRPr sz="1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93183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111049-A980-9A4B-BDCF-935BD3D35A43}" type="datetimeFigureOut">
              <a:rPr lang="en-US" smtClean="0"/>
              <a:t>24-Sep-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9C9BFC-FCFF-7247-B387-15C2934714B0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wipe dir="r"/>
      </p:transition>
    </mc:Choice>
    <mc:Fallback xmlns="">
      <p:transition xmlns:p14="http://schemas.microsoft.com/office/powerpoint/2010/main" spd="slow">
        <p:wipe dir="r"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30CD733-93DE-4793-929B-26E6DBA7592D}"/>
              </a:ext>
            </a:extLst>
          </p:cNvPr>
          <p:cNvSpPr/>
          <p:nvPr/>
        </p:nvSpPr>
        <p:spPr bwMode="ltGray">
          <a:xfrm>
            <a:off x="1" y="1600202"/>
            <a:ext cx="7925276" cy="4570946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>
              <a:solidFill>
                <a:schemeClr val="accent2"/>
              </a:solidFill>
            </a:endParaRP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D8C8783A-257B-4A50-95A0-6C7B8E51707B}"/>
              </a:ext>
            </a:extLst>
          </p:cNvPr>
          <p:cNvCxnSpPr>
            <a:cxnSpLocks/>
          </p:cNvCxnSpPr>
          <p:nvPr/>
        </p:nvCxnSpPr>
        <p:spPr>
          <a:xfrm>
            <a:off x="8382596" y="1608668"/>
            <a:ext cx="3809404" cy="0"/>
          </a:xfrm>
          <a:prstGeom prst="line">
            <a:avLst/>
          </a:prstGeom>
          <a:ln w="25400">
            <a:solidFill>
              <a:schemeClr val="accent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3A17EA1E-A574-444B-9004-45836D98DAD0}"/>
              </a:ext>
            </a:extLst>
          </p:cNvPr>
          <p:cNvSpPr txBox="1"/>
          <p:nvPr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24242A8-4032-4A28-A182-432918B4416C}"/>
              </a:ext>
            </a:extLst>
          </p:cNvPr>
          <p:cNvSpPr txBox="1"/>
          <p:nvPr/>
        </p:nvSpPr>
        <p:spPr>
          <a:xfrm>
            <a:off x="2118108" y="6510279"/>
            <a:ext cx="1966005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 dirty="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157BCD9-063B-4ED4-B68C-092EC2C342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none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F7496CC-9DD2-4299-850C-005958FB65C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82596" y="1600200"/>
            <a:ext cx="3809404" cy="4572000"/>
          </a:xfrm>
        </p:spPr>
        <p:txBody>
          <a:bodyPr tIns="457200" rIns="594360" bIns="457200"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400"/>
            </a:lvl7pPr>
            <a:lvl8pPr>
              <a:defRPr sz="12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A0D276D7-17CD-46AB-99B2-97FD34FEEFFA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3021" y="811831"/>
            <a:ext cx="10965543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5999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utcome / Benef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BB1458BF-96C1-46C6-A67F-AD0FB4B4E5C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81008" y="4347904"/>
            <a:ext cx="3202822" cy="160020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8781D19-2DDB-4D83-983D-3D159A7DE7C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81008" y="2063048"/>
            <a:ext cx="3202822" cy="160020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005EB21-86C3-42EF-BFE7-549D9EA364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2596" y="1699688"/>
            <a:ext cx="2007123" cy="298450"/>
          </a:xfrm>
        </p:spPr>
        <p:txBody>
          <a:bodyPr anchor="b"/>
          <a:lstStyle>
            <a:lvl1pPr>
              <a:defRPr sz="1600">
                <a:solidFill>
                  <a:schemeClr val="accent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Outcome</a:t>
            </a:r>
          </a:p>
        </p:txBody>
      </p: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F789B473-DDE6-4450-A111-3761F341AAE3}"/>
              </a:ext>
            </a:extLst>
          </p:cNvPr>
          <p:cNvCxnSpPr>
            <a:cxnSpLocks/>
          </p:cNvCxnSpPr>
          <p:nvPr/>
        </p:nvCxnSpPr>
        <p:spPr>
          <a:xfrm>
            <a:off x="8382596" y="3872441"/>
            <a:ext cx="3809404" cy="0"/>
          </a:xfrm>
          <a:prstGeom prst="line">
            <a:avLst/>
          </a:prstGeom>
          <a:ln w="25400">
            <a:solidFill>
              <a:schemeClr val="accent4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 Placeholder 6">
            <a:extLst>
              <a:ext uri="{FF2B5EF4-FFF2-40B4-BE49-F238E27FC236}">
                <a16:creationId xmlns:a16="http://schemas.microsoft.com/office/drawing/2014/main" id="{0D0977FA-A4CA-4F1F-8109-D7498D165ED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82596" y="3972469"/>
            <a:ext cx="2007123" cy="298450"/>
          </a:xfrm>
        </p:spPr>
        <p:txBody>
          <a:bodyPr anchor="b"/>
          <a:lstStyle>
            <a:lvl1pPr>
              <a:defRPr sz="1600">
                <a:solidFill>
                  <a:schemeClr val="accent4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Benefi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F992B4C-D72B-4160-80E2-5EE05E2DDD3F}"/>
              </a:ext>
            </a:extLst>
          </p:cNvPr>
          <p:cNvSpPr txBox="1"/>
          <p:nvPr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94AED19-1A93-4830-A01C-4FF2CFC6A0C6}"/>
              </a:ext>
            </a:extLst>
          </p:cNvPr>
          <p:cNvSpPr txBox="1"/>
          <p:nvPr/>
        </p:nvSpPr>
        <p:spPr>
          <a:xfrm>
            <a:off x="2118108" y="6510279"/>
            <a:ext cx="1966005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 dirty="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E15888C-CFB4-4BEC-9B94-46E698DFC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none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2EE86E2-0F2F-484B-8170-3AEBA1DDEB2D}"/>
              </a:ext>
            </a:extLst>
          </p:cNvPr>
          <p:cNvSpPr/>
          <p:nvPr/>
        </p:nvSpPr>
        <p:spPr bwMode="ltGray">
          <a:xfrm>
            <a:off x="1" y="1600202"/>
            <a:ext cx="7925276" cy="457094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>
              <a:solidFill>
                <a:schemeClr val="accent2"/>
              </a:solidFill>
            </a:endParaRPr>
          </a:p>
        </p:txBody>
      </p: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56D4D92B-574E-4F63-A5BA-8F7282B54C27}"/>
              </a:ext>
            </a:extLst>
          </p:cNvPr>
          <p:cNvCxnSpPr>
            <a:cxnSpLocks/>
          </p:cNvCxnSpPr>
          <p:nvPr/>
        </p:nvCxnSpPr>
        <p:spPr>
          <a:xfrm>
            <a:off x="8382596" y="1608668"/>
            <a:ext cx="3809404" cy="0"/>
          </a:xfrm>
          <a:prstGeom prst="line">
            <a:avLst/>
          </a:prstGeom>
          <a:ln w="25400">
            <a:solidFill>
              <a:schemeClr val="accent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Subtitle 2">
            <a:extLst>
              <a:ext uri="{FF2B5EF4-FFF2-40B4-BE49-F238E27FC236}">
                <a16:creationId xmlns:a16="http://schemas.microsoft.com/office/drawing/2014/main" id="{E9D6A872-88BD-4DFC-AFFD-1E9BEEB6533B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3021" y="811831"/>
            <a:ext cx="10965543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2940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er Succ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309367CD-64CE-4B7B-91B1-53B17F8F693D}"/>
              </a:ext>
            </a:extLst>
          </p:cNvPr>
          <p:cNvSpPr/>
          <p:nvPr/>
        </p:nvSpPr>
        <p:spPr bwMode="ltGray">
          <a:xfrm>
            <a:off x="1" y="1600202"/>
            <a:ext cx="7925276" cy="457094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US" sz="2800" dirty="0">
              <a:solidFill>
                <a:schemeClr val="accent2"/>
              </a:solidFill>
            </a:endParaRPr>
          </a:p>
        </p:txBody>
      </p:sp>
      <p:sp>
        <p:nvSpPr>
          <p:cNvPr id="72" name="Content Placeholder 17">
            <a:extLst>
              <a:ext uri="{FF2B5EF4-FFF2-40B4-BE49-F238E27FC236}">
                <a16:creationId xmlns:a16="http://schemas.microsoft.com/office/drawing/2014/main" id="{A0456ED3-FDC5-4E29-B939-E35EA08477CA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1804" y="2409553"/>
            <a:ext cx="3202682" cy="934931"/>
          </a:xfrm>
          <a:noFill/>
        </p:spPr>
        <p:txBody>
          <a:bodyPr vert="horz" lIns="0" tIns="0" rIns="0" bIns="45720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050" dirty="0">
                <a:solidFill>
                  <a:schemeClr val="tx2"/>
                </a:solidFill>
              </a:defRPr>
            </a:lvl1pPr>
            <a:lvl2pPr marL="114300" indent="-114300">
              <a:lnSpc>
                <a:spcPct val="100000"/>
              </a:lnSpc>
              <a:spcBef>
                <a:spcPts val="0"/>
              </a:spcBef>
              <a:defRPr lang="en-US" sz="1000" dirty="0">
                <a:solidFill>
                  <a:schemeClr val="tx2"/>
                </a:solidFill>
              </a:defRPr>
            </a:lvl2pPr>
            <a:lvl3pPr>
              <a:defRPr lang="en-US" sz="1400" dirty="0">
                <a:solidFill>
                  <a:schemeClr val="tx2"/>
                </a:solidFill>
              </a:defRPr>
            </a:lvl3pPr>
            <a:lvl4pPr>
              <a:defRPr lang="en-US" sz="1200" dirty="0">
                <a:solidFill>
                  <a:schemeClr val="tx2"/>
                </a:solidFill>
              </a:defRPr>
            </a:lvl4pPr>
            <a:lvl5pPr>
              <a:defRPr lang="en-US" sz="120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005EB21-86C3-42EF-BFE7-549D9EA364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3253" y="2079840"/>
            <a:ext cx="2007123" cy="227454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About</a:t>
            </a:r>
          </a:p>
        </p:txBody>
      </p:sp>
      <p:sp>
        <p:nvSpPr>
          <p:cNvPr id="74" name="Content Placeholder 17">
            <a:extLst>
              <a:ext uri="{FF2B5EF4-FFF2-40B4-BE49-F238E27FC236}">
                <a16:creationId xmlns:a16="http://schemas.microsoft.com/office/drawing/2014/main" id="{F00013B6-2241-400E-9E61-946C485F8D5E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11804" y="3952605"/>
            <a:ext cx="3202682" cy="847996"/>
          </a:xfrm>
          <a:noFill/>
        </p:spPr>
        <p:txBody>
          <a:bodyPr vert="horz" lIns="0" tIns="0" rIns="0" bIns="45720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050" dirty="0">
                <a:solidFill>
                  <a:schemeClr val="tx2"/>
                </a:solidFill>
              </a:defRPr>
            </a:lvl1pPr>
            <a:lvl2pPr marL="114300" indent="-114300">
              <a:lnSpc>
                <a:spcPct val="100000"/>
              </a:lnSpc>
              <a:spcBef>
                <a:spcPts val="0"/>
              </a:spcBef>
              <a:defRPr lang="en-US" sz="1000" dirty="0">
                <a:solidFill>
                  <a:schemeClr val="tx2"/>
                </a:solidFill>
              </a:defRPr>
            </a:lvl2pPr>
            <a:lvl3pPr>
              <a:defRPr lang="en-US" sz="1400" dirty="0">
                <a:solidFill>
                  <a:schemeClr val="tx2"/>
                </a:solidFill>
              </a:defRPr>
            </a:lvl3pPr>
            <a:lvl4pPr>
              <a:defRPr lang="en-US" sz="1200" dirty="0">
                <a:solidFill>
                  <a:schemeClr val="tx2"/>
                </a:solidFill>
              </a:defRPr>
            </a:lvl4pPr>
            <a:lvl5pPr>
              <a:defRPr lang="en-US" sz="120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D8C8783A-257B-4A50-95A0-6C7B8E51707B}"/>
              </a:ext>
            </a:extLst>
          </p:cNvPr>
          <p:cNvCxnSpPr>
            <a:cxnSpLocks/>
          </p:cNvCxnSpPr>
          <p:nvPr/>
        </p:nvCxnSpPr>
        <p:spPr>
          <a:xfrm>
            <a:off x="609759" y="1964843"/>
            <a:ext cx="3199645" cy="0"/>
          </a:xfrm>
          <a:prstGeom prst="line">
            <a:avLst/>
          </a:prstGeom>
          <a:ln w="25400">
            <a:solidFill>
              <a:schemeClr val="accent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F789B473-DDE6-4450-A111-3761F341AAE3}"/>
              </a:ext>
            </a:extLst>
          </p:cNvPr>
          <p:cNvCxnSpPr>
            <a:cxnSpLocks/>
          </p:cNvCxnSpPr>
          <p:nvPr/>
        </p:nvCxnSpPr>
        <p:spPr>
          <a:xfrm>
            <a:off x="609759" y="3547676"/>
            <a:ext cx="3199645" cy="0"/>
          </a:xfrm>
          <a:prstGeom prst="line">
            <a:avLst/>
          </a:prstGeom>
          <a:ln w="25400">
            <a:solidFill>
              <a:schemeClr val="accent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 Placeholder 6">
            <a:extLst>
              <a:ext uri="{FF2B5EF4-FFF2-40B4-BE49-F238E27FC236}">
                <a16:creationId xmlns:a16="http://schemas.microsoft.com/office/drawing/2014/main" id="{0D0977FA-A4CA-4F1F-8109-D7498D165ED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3253" y="3634037"/>
            <a:ext cx="2007123" cy="227454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halleng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F992B4C-D72B-4160-80E2-5EE05E2DDD3F}"/>
              </a:ext>
            </a:extLst>
          </p:cNvPr>
          <p:cNvSpPr txBox="1"/>
          <p:nvPr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100000"/>
                </a:lnSpc>
                <a:spcBef>
                  <a:spcPts val="0"/>
                </a:spcBef>
              </a:pPr>
              <a:t>‹#›</a:t>
            </a:fld>
            <a:endParaRPr lang="en-US" sz="1800" dirty="0">
              <a:latin typeface="+mj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94AED19-1A93-4830-A01C-4FF2CFC6A0C6}"/>
              </a:ext>
            </a:extLst>
          </p:cNvPr>
          <p:cNvSpPr txBox="1"/>
          <p:nvPr/>
        </p:nvSpPr>
        <p:spPr>
          <a:xfrm>
            <a:off x="2118108" y="6510279"/>
            <a:ext cx="1966005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 dirty="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8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87" name="Content Placeholder 17">
            <a:extLst>
              <a:ext uri="{FF2B5EF4-FFF2-40B4-BE49-F238E27FC236}">
                <a16:creationId xmlns:a16="http://schemas.microsoft.com/office/drawing/2014/main" id="{CB3B18B9-1B70-4F2B-86D9-C5183A845D1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270357" y="2409553"/>
            <a:ext cx="3202682" cy="934931"/>
          </a:xfrm>
          <a:noFill/>
        </p:spPr>
        <p:txBody>
          <a:bodyPr vert="horz" lIns="0" tIns="0" rIns="0" bIns="45720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050" dirty="0">
                <a:solidFill>
                  <a:schemeClr val="tx2"/>
                </a:solidFill>
              </a:defRPr>
            </a:lvl1pPr>
            <a:lvl2pPr marL="114300" indent="-114300">
              <a:lnSpc>
                <a:spcPct val="100000"/>
              </a:lnSpc>
              <a:spcBef>
                <a:spcPts val="0"/>
              </a:spcBef>
              <a:defRPr lang="en-US" sz="1000" dirty="0">
                <a:solidFill>
                  <a:schemeClr val="tx2"/>
                </a:solidFill>
              </a:defRPr>
            </a:lvl2pPr>
            <a:lvl3pPr>
              <a:defRPr lang="en-US" sz="1400" dirty="0">
                <a:solidFill>
                  <a:schemeClr val="tx2"/>
                </a:solidFill>
              </a:defRPr>
            </a:lvl3pPr>
            <a:lvl4pPr>
              <a:defRPr lang="en-US" sz="1200" dirty="0">
                <a:solidFill>
                  <a:schemeClr val="tx2"/>
                </a:solidFill>
              </a:defRPr>
            </a:lvl4pPr>
            <a:lvl5pPr>
              <a:defRPr lang="en-US" sz="120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8" name="Text Placeholder 6">
            <a:extLst>
              <a:ext uri="{FF2B5EF4-FFF2-40B4-BE49-F238E27FC236}">
                <a16:creationId xmlns:a16="http://schemas.microsoft.com/office/drawing/2014/main" id="{45C2837B-EA55-4186-A2EA-1E7FB5B122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71805" y="2079840"/>
            <a:ext cx="2007123" cy="227454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4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Solution</a:t>
            </a:r>
          </a:p>
        </p:txBody>
      </p:sp>
      <p:sp>
        <p:nvSpPr>
          <p:cNvPr id="89" name="Content Placeholder 17">
            <a:extLst>
              <a:ext uri="{FF2B5EF4-FFF2-40B4-BE49-F238E27FC236}">
                <a16:creationId xmlns:a16="http://schemas.microsoft.com/office/drawing/2014/main" id="{00A3A11C-EA43-4ACC-83B9-C4C7C1080E3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270357" y="3952605"/>
            <a:ext cx="3202682" cy="847996"/>
          </a:xfrm>
          <a:noFill/>
        </p:spPr>
        <p:txBody>
          <a:bodyPr vert="horz" lIns="0" tIns="0" rIns="0" bIns="45720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050" dirty="0">
                <a:solidFill>
                  <a:schemeClr val="tx2"/>
                </a:solidFill>
              </a:defRPr>
            </a:lvl1pPr>
            <a:lvl2pPr marL="114300" indent="-114300">
              <a:lnSpc>
                <a:spcPct val="100000"/>
              </a:lnSpc>
              <a:spcBef>
                <a:spcPts val="0"/>
              </a:spcBef>
              <a:defRPr lang="en-US" sz="1000" dirty="0">
                <a:solidFill>
                  <a:schemeClr val="tx2"/>
                </a:solidFill>
              </a:defRPr>
            </a:lvl2pPr>
            <a:lvl3pPr>
              <a:defRPr lang="en-US" sz="1400" dirty="0">
                <a:solidFill>
                  <a:schemeClr val="tx2"/>
                </a:solidFill>
              </a:defRPr>
            </a:lvl3pPr>
            <a:lvl4pPr>
              <a:defRPr lang="en-US" sz="1200" dirty="0">
                <a:solidFill>
                  <a:schemeClr val="tx2"/>
                </a:solidFill>
              </a:defRPr>
            </a:lvl4pPr>
            <a:lvl5pPr>
              <a:defRPr lang="en-US" sz="120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EAAB5B3C-AE89-4605-BB4B-0C07DE733C40}"/>
              </a:ext>
            </a:extLst>
          </p:cNvPr>
          <p:cNvCxnSpPr>
            <a:cxnSpLocks/>
          </p:cNvCxnSpPr>
          <p:nvPr/>
        </p:nvCxnSpPr>
        <p:spPr>
          <a:xfrm>
            <a:off x="4268312" y="1964843"/>
            <a:ext cx="3199645" cy="0"/>
          </a:xfrm>
          <a:prstGeom prst="line">
            <a:avLst/>
          </a:prstGeom>
          <a:ln w="25400">
            <a:solidFill>
              <a:schemeClr val="accent4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4709593A-BC10-40A3-842E-346F6E0EE30C}"/>
              </a:ext>
            </a:extLst>
          </p:cNvPr>
          <p:cNvCxnSpPr>
            <a:cxnSpLocks/>
          </p:cNvCxnSpPr>
          <p:nvPr/>
        </p:nvCxnSpPr>
        <p:spPr>
          <a:xfrm>
            <a:off x="4268312" y="3547676"/>
            <a:ext cx="3199645" cy="0"/>
          </a:xfrm>
          <a:prstGeom prst="line">
            <a:avLst/>
          </a:prstGeom>
          <a:ln w="25400">
            <a:solidFill>
              <a:schemeClr val="accent6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48CE9E08-388B-4458-B1F4-453A8413D63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71805" y="3634037"/>
            <a:ext cx="2007123" cy="227454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6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Impact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D909953-1B24-4C7D-A173-A53DF3FC7EC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384183" y="2971800"/>
            <a:ext cx="3194882" cy="18288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D0ED48B1-3A1C-41E2-BEC6-E8E6B54A07B0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8962184" y="1600201"/>
            <a:ext cx="1841980" cy="660399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defRPr/>
            </a:lvl1pPr>
          </a:lstStyle>
          <a:p>
            <a:r>
              <a:rPr lang="en-US" dirty="0"/>
              <a:t>Insert Logo he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0A78DDD-5F83-4940-98A7-CF6D7FB8140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384183" y="5022215"/>
            <a:ext cx="3201234" cy="1153795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400"/>
            </a:lvl1pPr>
            <a:lvl2pPr marL="0" indent="0" algn="ctr">
              <a:lnSpc>
                <a:spcPct val="100000"/>
              </a:lnSpc>
              <a:spcBef>
                <a:spcPts val="0"/>
              </a:spcBef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2pPr>
            <a:lvl3pPr marL="0" indent="0" algn="ctr">
              <a:buFont typeface="Open Sans" panose="020B0606030504020204" pitchFamily="34" charset="0"/>
              <a:buNone/>
              <a:defRPr sz="1200">
                <a:solidFill>
                  <a:schemeClr val="accent1"/>
                </a:solidFill>
              </a:defRPr>
            </a:lvl3pPr>
            <a:lvl4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4pPr>
            <a:lvl5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3" name="Text Placeholder 10">
            <a:extLst>
              <a:ext uri="{FF2B5EF4-FFF2-40B4-BE49-F238E27FC236}">
                <a16:creationId xmlns:a16="http://schemas.microsoft.com/office/drawing/2014/main" id="{356F2006-5264-4FEB-8EBA-8BA6A55D19B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77832" y="2347933"/>
            <a:ext cx="3207585" cy="241300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defRPr sz="1200"/>
            </a:lvl1pPr>
            <a:lvl2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2pPr>
            <a:lvl3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3pPr>
            <a:lvl4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4pPr>
            <a:lvl5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Locatio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AF7F59A-4C67-4F41-A6E0-906850EDF3F1}"/>
              </a:ext>
            </a:extLst>
          </p:cNvPr>
          <p:cNvSpPr/>
          <p:nvPr/>
        </p:nvSpPr>
        <p:spPr>
          <a:xfrm>
            <a:off x="608898" y="4978400"/>
            <a:ext cx="3205588" cy="879645"/>
          </a:xfrm>
          <a:prstGeom prst="rect">
            <a:avLst/>
          </a:prstGeom>
          <a:gradFill>
            <a:gsLst>
              <a:gs pos="0">
                <a:schemeClr val="accent4"/>
              </a:gs>
              <a:gs pos="98000">
                <a:schemeClr val="accent4"/>
              </a:gs>
            </a:gsLst>
            <a:lin ang="5400000" scaled="1"/>
          </a:gradFill>
        </p:spPr>
        <p:txBody>
          <a:bodyPr vert="horz" lIns="594360" tIns="457200" rIns="457200" bIns="45720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​"/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85779326-D874-4DC4-BA73-C7157B414B05}"/>
              </a:ext>
            </a:extLst>
          </p:cNvPr>
          <p:cNvSpPr/>
          <p:nvPr/>
        </p:nvSpPr>
        <p:spPr>
          <a:xfrm>
            <a:off x="4268311" y="4978400"/>
            <a:ext cx="3204728" cy="878840"/>
          </a:xfrm>
          <a:prstGeom prst="rect">
            <a:avLst/>
          </a:prstGeom>
          <a:gradFill>
            <a:gsLst>
              <a:gs pos="0">
                <a:schemeClr val="accent1"/>
              </a:gs>
              <a:gs pos="98000">
                <a:schemeClr val="accent1"/>
              </a:gs>
            </a:gsLst>
            <a:lin ang="5400000" scaled="1"/>
          </a:gradFill>
        </p:spPr>
        <p:txBody>
          <a:bodyPr vert="horz" lIns="457200" tIns="457200" rIns="594360" bIns="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​"/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0FD359B-DBB1-4A58-B3A5-88DBD360EF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ompany Name</a:t>
            </a:r>
          </a:p>
        </p:txBody>
      </p:sp>
      <p:sp>
        <p:nvSpPr>
          <p:cNvPr id="27" name="Subtitle 2">
            <a:extLst>
              <a:ext uri="{FF2B5EF4-FFF2-40B4-BE49-F238E27FC236}">
                <a16:creationId xmlns:a16="http://schemas.microsoft.com/office/drawing/2014/main" id="{9A29AA74-2865-4B6A-BD11-7A351A336A6C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3021" y="811831"/>
            <a:ext cx="10965543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09C7727F-F570-4AF1-856D-98544836237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77832" y="2647290"/>
            <a:ext cx="3207585" cy="241300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defRPr sz="1200"/>
            </a:lvl1pPr>
            <a:lvl2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2pPr>
            <a:lvl3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3pPr>
            <a:lvl4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4pPr>
            <a:lvl5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Industry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F13DC67D-58A2-45BD-A728-B6ECDD8B5A5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3253" y="4978400"/>
            <a:ext cx="3201234" cy="227454"/>
          </a:xfrm>
        </p:spPr>
        <p:txBody>
          <a:bodyPr anchor="b"/>
          <a:lstStyle>
            <a:lvl1pPr algn="ctr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Product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53D9F0A4-74F4-4BA6-AD21-4791EF0A20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275108" y="4978400"/>
            <a:ext cx="3201234" cy="227454"/>
          </a:xfrm>
        </p:spPr>
        <p:txBody>
          <a:bodyPr anchor="b"/>
          <a:lstStyle>
            <a:lvl1pPr algn="ctr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Strategic Priorities</a:t>
            </a:r>
          </a:p>
        </p:txBody>
      </p:sp>
    </p:spTree>
    <p:extLst>
      <p:ext uri="{BB962C8B-B14F-4D97-AF65-F5344CB8AC3E}">
        <p14:creationId xmlns:p14="http://schemas.microsoft.com/office/powerpoint/2010/main" val="3666552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-Bleed Photo">
    <p:bg>
      <p:bgPr>
        <a:blipFill dpi="0" rotWithShape="1">
          <a:blip r:embed="rId2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58CA3525-8B20-40AA-8585-C1CB9D293B68}"/>
              </a:ext>
            </a:extLst>
          </p:cNvPr>
          <p:cNvSpPr txBox="1"/>
          <p:nvPr/>
        </p:nvSpPr>
        <p:spPr bwMode="white">
          <a:xfrm>
            <a:off x="2118108" y="6510279"/>
            <a:ext cx="1966005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bg1"/>
                </a:solidFill>
                <a:latin typeface="+mj-lt"/>
              </a:rPr>
              <a:t>  ©</a:t>
            </a:r>
            <a:r>
              <a:rPr lang="is-IS" sz="800" dirty="0">
                <a:solidFill>
                  <a:schemeClr val="bg1"/>
                </a:solidFill>
                <a:latin typeface="+mj-lt"/>
              </a:rPr>
              <a:t>2018</a:t>
            </a:r>
            <a:r>
              <a:rPr lang="en-US" sz="800" dirty="0">
                <a:solidFill>
                  <a:schemeClr val="bg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045A585-C5E4-4DFF-AE3A-0EA9773E9130}"/>
              </a:ext>
            </a:extLst>
          </p:cNvPr>
          <p:cNvGrpSpPr/>
          <p:nvPr/>
        </p:nvGrpSpPr>
        <p:grpSpPr>
          <a:xfrm>
            <a:off x="618040" y="6446045"/>
            <a:ext cx="1100079" cy="173355"/>
            <a:chOff x="-84138" y="5622925"/>
            <a:chExt cx="4330701" cy="682626"/>
          </a:xfrm>
          <a:solidFill>
            <a:schemeClr val="bg1"/>
          </a:solidFill>
        </p:grpSpPr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D8FDE86E-66A8-45FE-8B59-41FB9D05B2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B7AA4155-9310-415A-B110-0BF9DA5E5D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83B3DCE9-C445-4A41-B77E-F198E3BADD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9" name="Freeform 9">
              <a:extLst>
                <a:ext uri="{FF2B5EF4-FFF2-40B4-BE49-F238E27FC236}">
                  <a16:creationId xmlns:a16="http://schemas.microsoft.com/office/drawing/2014/main" id="{E182E788-22A0-496F-849F-FCC9079CB6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371C5B7A-6EBF-488F-86A0-39A4A325FC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11" name="Freeform 11">
              <a:extLst>
                <a:ext uri="{FF2B5EF4-FFF2-40B4-BE49-F238E27FC236}">
                  <a16:creationId xmlns:a16="http://schemas.microsoft.com/office/drawing/2014/main" id="{DECC2199-8BE0-4BE3-8039-08C58860B28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12" name="Freeform 12">
              <a:extLst>
                <a:ext uri="{FF2B5EF4-FFF2-40B4-BE49-F238E27FC236}">
                  <a16:creationId xmlns:a16="http://schemas.microsoft.com/office/drawing/2014/main" id="{2A5DFC5A-1DCA-4CC1-8322-583C069B4BD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7F5379A2-B049-4A1C-A18D-79A1F237E82B}"/>
              </a:ext>
            </a:extLst>
          </p:cNvPr>
          <p:cNvSpPr txBox="1"/>
          <p:nvPr/>
        </p:nvSpPr>
        <p:spPr bwMode="white"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bg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650490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Ic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val 20">
            <a:extLst>
              <a:ext uri="{FF2B5EF4-FFF2-40B4-BE49-F238E27FC236}">
                <a16:creationId xmlns:a16="http://schemas.microsoft.com/office/drawing/2014/main" id="{B1C210DC-5DBB-4F0D-875F-CD8AAAB938CE}"/>
              </a:ext>
            </a:extLst>
          </p:cNvPr>
          <p:cNvSpPr/>
          <p:nvPr/>
        </p:nvSpPr>
        <p:spPr bwMode="gray">
          <a:xfrm>
            <a:off x="1982394" y="2055430"/>
            <a:ext cx="1829435" cy="1828959"/>
          </a:xfrm>
          <a:prstGeom prst="ellipse">
            <a:avLst/>
          </a:prstGeom>
          <a:solidFill>
            <a:schemeClr val="accent4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schemeClr val="accent4"/>
              </a:solidFill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446F04B0-7860-407F-85B7-42E38FAFE34B}"/>
              </a:ext>
            </a:extLst>
          </p:cNvPr>
          <p:cNvSpPr/>
          <p:nvPr/>
        </p:nvSpPr>
        <p:spPr bwMode="gray">
          <a:xfrm>
            <a:off x="8391487" y="2055430"/>
            <a:ext cx="1829435" cy="1828959"/>
          </a:xfrm>
          <a:prstGeom prst="ellipse">
            <a:avLst/>
          </a:prstGeom>
          <a:solidFill>
            <a:schemeClr val="accent2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6FECF9D0-D7A8-43DD-B38D-E1090C0B322F}"/>
              </a:ext>
            </a:extLst>
          </p:cNvPr>
          <p:cNvSpPr/>
          <p:nvPr/>
        </p:nvSpPr>
        <p:spPr bwMode="gray">
          <a:xfrm>
            <a:off x="5186275" y="2055430"/>
            <a:ext cx="1829435" cy="1828959"/>
          </a:xfrm>
          <a:prstGeom prst="ellipse">
            <a:avLst/>
          </a:prstGeom>
          <a:solidFill>
            <a:schemeClr val="accent1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AD23688F-2550-4740-B5D6-C78F74FDE08D}"/>
              </a:ext>
            </a:extLst>
          </p:cNvPr>
          <p:cNvSpPr txBox="1"/>
          <p:nvPr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A683A08-B3B7-4685-8917-A5E3B284CDF5}"/>
              </a:ext>
            </a:extLst>
          </p:cNvPr>
          <p:cNvSpPr txBox="1"/>
          <p:nvPr/>
        </p:nvSpPr>
        <p:spPr>
          <a:xfrm>
            <a:off x="2118108" y="6510279"/>
            <a:ext cx="1966005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 dirty="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4C5A99F-0678-4DC4-A266-1AD031E9C8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EBF1472-E940-4CC7-B5D3-349346A425A8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3021" y="811831"/>
            <a:ext cx="10965543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CC9B40-9AF4-4EF7-8384-2ACE79EA95C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526302" y="4267940"/>
            <a:ext cx="2745503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4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D69CA39A-E967-4A68-A944-35C345A456D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722455" y="4267940"/>
            <a:ext cx="2745503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1A16A22-350B-4B24-A3CD-4D5DE470DEE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925277" y="4267940"/>
            <a:ext cx="2745503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469512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Ic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val 83">
            <a:extLst>
              <a:ext uri="{FF2B5EF4-FFF2-40B4-BE49-F238E27FC236}">
                <a16:creationId xmlns:a16="http://schemas.microsoft.com/office/drawing/2014/main" id="{085441A7-EBA5-4ABB-8D29-CE4338F0F9B5}"/>
              </a:ext>
            </a:extLst>
          </p:cNvPr>
          <p:cNvSpPr/>
          <p:nvPr/>
        </p:nvSpPr>
        <p:spPr bwMode="gray">
          <a:xfrm>
            <a:off x="1066027" y="2060873"/>
            <a:ext cx="1829435" cy="1828959"/>
          </a:xfrm>
          <a:prstGeom prst="ellipse">
            <a:avLst/>
          </a:prstGeom>
          <a:solidFill>
            <a:schemeClr val="accent4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schemeClr val="accent4"/>
              </a:solidFill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3019BB56-AE7C-42CA-A8FF-432F4F176B8B}"/>
              </a:ext>
            </a:extLst>
          </p:cNvPr>
          <p:cNvSpPr/>
          <p:nvPr/>
        </p:nvSpPr>
        <p:spPr bwMode="gray">
          <a:xfrm>
            <a:off x="9304556" y="2060873"/>
            <a:ext cx="1829435" cy="1828959"/>
          </a:xfrm>
          <a:prstGeom prst="ellipse">
            <a:avLst/>
          </a:prstGeom>
          <a:solidFill>
            <a:schemeClr val="accent2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5670C03F-6336-45E3-A9F4-0CD130D80D1B}"/>
              </a:ext>
            </a:extLst>
          </p:cNvPr>
          <p:cNvSpPr/>
          <p:nvPr/>
        </p:nvSpPr>
        <p:spPr bwMode="gray">
          <a:xfrm>
            <a:off x="6563810" y="2060873"/>
            <a:ext cx="1829435" cy="1828959"/>
          </a:xfrm>
          <a:prstGeom prst="ellipse">
            <a:avLst/>
          </a:prstGeom>
          <a:solidFill>
            <a:schemeClr val="accent1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45D908EF-1F96-4808-A8DB-F55AB9E8E436}"/>
              </a:ext>
            </a:extLst>
          </p:cNvPr>
          <p:cNvSpPr/>
          <p:nvPr/>
        </p:nvSpPr>
        <p:spPr bwMode="gray">
          <a:xfrm>
            <a:off x="3807924" y="2060873"/>
            <a:ext cx="1829435" cy="1828959"/>
          </a:xfrm>
          <a:prstGeom prst="ellipse">
            <a:avLst/>
          </a:prstGeom>
          <a:solidFill>
            <a:schemeClr val="accent6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 dirty="0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0AAF357F-A1D5-401D-94D2-9C67E6AEDA09}"/>
              </a:ext>
            </a:extLst>
          </p:cNvPr>
          <p:cNvSpPr txBox="1"/>
          <p:nvPr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A272F82-E4B3-4DBD-BC4F-768FE7F95038}"/>
              </a:ext>
            </a:extLst>
          </p:cNvPr>
          <p:cNvSpPr txBox="1"/>
          <p:nvPr/>
        </p:nvSpPr>
        <p:spPr>
          <a:xfrm>
            <a:off x="2118108" y="6510279"/>
            <a:ext cx="1966005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 dirty="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A6ED71B-2619-4816-B753-5E850ED08F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B679D5C-AEFA-4052-96E3-7DF67D7C105A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3021" y="811831"/>
            <a:ext cx="10965543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83A73281-E5F0-4C3B-BE4E-A12D56CC100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42893" y="4269508"/>
            <a:ext cx="2286595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4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70078EAE-661A-4C72-917B-F0225239F68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580746" y="4269508"/>
            <a:ext cx="2286595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6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566D6B40-9CB0-4B56-A3E1-9A7F945F094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324660" y="4269508"/>
            <a:ext cx="2286595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16F5CA9C-E491-4F70-B6EE-A5064106011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068575" y="4269508"/>
            <a:ext cx="2286595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52174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Ic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Oval 21">
            <a:extLst>
              <a:ext uri="{FF2B5EF4-FFF2-40B4-BE49-F238E27FC236}">
                <a16:creationId xmlns:a16="http://schemas.microsoft.com/office/drawing/2014/main" id="{A1FDF9D3-5B68-4A75-97BF-2C5113CFAA66}"/>
              </a:ext>
            </a:extLst>
          </p:cNvPr>
          <p:cNvSpPr/>
          <p:nvPr/>
        </p:nvSpPr>
        <p:spPr bwMode="gray">
          <a:xfrm>
            <a:off x="609960" y="2064664"/>
            <a:ext cx="1829435" cy="1828959"/>
          </a:xfrm>
          <a:prstGeom prst="ellipse">
            <a:avLst/>
          </a:prstGeom>
          <a:solidFill>
            <a:schemeClr val="accent4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schemeClr val="accent4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7EAB1992-E472-4489-8A4E-A8FE45DE10CF}"/>
              </a:ext>
            </a:extLst>
          </p:cNvPr>
          <p:cNvSpPr/>
          <p:nvPr/>
        </p:nvSpPr>
        <p:spPr bwMode="gray">
          <a:xfrm>
            <a:off x="9747012" y="2064664"/>
            <a:ext cx="1829435" cy="1828959"/>
          </a:xfrm>
          <a:prstGeom prst="ellipse">
            <a:avLst/>
          </a:prstGeom>
          <a:solidFill>
            <a:schemeClr val="accent2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C551C90A-573F-4E4A-9359-5C7B0F546BF9}"/>
              </a:ext>
            </a:extLst>
          </p:cNvPr>
          <p:cNvSpPr/>
          <p:nvPr/>
        </p:nvSpPr>
        <p:spPr bwMode="gray">
          <a:xfrm>
            <a:off x="5202736" y="2064664"/>
            <a:ext cx="1829435" cy="1828959"/>
          </a:xfrm>
          <a:prstGeom prst="ellipse">
            <a:avLst/>
          </a:prstGeom>
          <a:solidFill>
            <a:schemeClr val="accent1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AF79E162-3D8F-4829-A4AD-02A03597B11A}"/>
              </a:ext>
            </a:extLst>
          </p:cNvPr>
          <p:cNvSpPr/>
          <p:nvPr/>
        </p:nvSpPr>
        <p:spPr bwMode="gray">
          <a:xfrm>
            <a:off x="2893206" y="2064664"/>
            <a:ext cx="1829435" cy="1828959"/>
          </a:xfrm>
          <a:prstGeom prst="ellipse">
            <a:avLst/>
          </a:prstGeom>
          <a:solidFill>
            <a:schemeClr val="accent6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 dirty="0"/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026B9B36-08E7-4664-970C-13123F24C793}"/>
              </a:ext>
            </a:extLst>
          </p:cNvPr>
          <p:cNvSpPr/>
          <p:nvPr/>
        </p:nvSpPr>
        <p:spPr bwMode="gray">
          <a:xfrm>
            <a:off x="7466866" y="2064664"/>
            <a:ext cx="1829435" cy="1828959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ctr"/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0E19ACAF-9401-49DF-ACFF-2BA2129506AB}"/>
              </a:ext>
            </a:extLst>
          </p:cNvPr>
          <p:cNvSpPr txBox="1"/>
          <p:nvPr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7DA61FB-62DC-49AD-9B92-29AA7966F747}"/>
              </a:ext>
            </a:extLst>
          </p:cNvPr>
          <p:cNvSpPr txBox="1"/>
          <p:nvPr/>
        </p:nvSpPr>
        <p:spPr>
          <a:xfrm>
            <a:off x="2118108" y="6510279"/>
            <a:ext cx="1966005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 dirty="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BA8A47F-2243-412F-A1A8-FA8E3475F5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EEA64E97-C31D-49B1-B8E1-20E5F404F516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93021" y="811831"/>
            <a:ext cx="10965543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2E201879-B985-4ADE-8AD6-6C3E14CE0A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11009" y="4282873"/>
            <a:ext cx="1829276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000">
                <a:solidFill>
                  <a:schemeClr val="accent4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9495BAAB-E860-4075-9DA3-ABA7C32D235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894767" y="4282873"/>
            <a:ext cx="1829276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000">
                <a:solidFill>
                  <a:schemeClr val="accent6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62D3946B-F2F1-42AF-8E89-00761A7745D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86444" y="4282873"/>
            <a:ext cx="1829276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000">
                <a:solidFill>
                  <a:schemeClr val="accent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2F84664-2E68-46AE-AE2C-E8D2B6C9A1D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471947" y="4282873"/>
            <a:ext cx="1829276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000">
                <a:solidFill>
                  <a:schemeClr val="accent3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CDC9B65E-8BAA-4676-9F32-44EC3772D34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754553" y="4282873"/>
            <a:ext cx="1829276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000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216992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D6567F8-257F-483B-B2D4-ACC66C513D8B}"/>
              </a:ext>
            </a:extLst>
          </p:cNvPr>
          <p:cNvSpPr/>
          <p:nvPr/>
        </p:nvSpPr>
        <p:spPr bwMode="gray">
          <a:xfrm>
            <a:off x="4847464" y="-27162"/>
            <a:ext cx="7376522" cy="6793722"/>
          </a:xfrm>
          <a:prstGeom prst="rect">
            <a:avLst/>
          </a:prstGeom>
          <a:solidFill>
            <a:srgbClr val="C6C6C8">
              <a:lumMod val="40000"/>
              <a:lumOff val="6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664" name="Right Triangle 663">
            <a:extLst>
              <a:ext uri="{FF2B5EF4-FFF2-40B4-BE49-F238E27FC236}">
                <a16:creationId xmlns:a16="http://schemas.microsoft.com/office/drawing/2014/main" id="{2C5A75DF-B9C1-4A5D-8693-A417E8858D63}"/>
              </a:ext>
            </a:extLst>
          </p:cNvPr>
          <p:cNvSpPr/>
          <p:nvPr/>
        </p:nvSpPr>
        <p:spPr bwMode="gray">
          <a:xfrm>
            <a:off x="6787454" y="5795356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5" name="Right Triangle 664">
            <a:extLst>
              <a:ext uri="{FF2B5EF4-FFF2-40B4-BE49-F238E27FC236}">
                <a16:creationId xmlns:a16="http://schemas.microsoft.com/office/drawing/2014/main" id="{A90A1136-1EEB-4C77-AFF4-9E0972EF13B5}"/>
              </a:ext>
            </a:extLst>
          </p:cNvPr>
          <p:cNvSpPr/>
          <p:nvPr/>
        </p:nvSpPr>
        <p:spPr bwMode="gray">
          <a:xfrm rot="10800000">
            <a:off x="6787454" y="5795356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6" name="Right Triangle 665">
            <a:extLst>
              <a:ext uri="{FF2B5EF4-FFF2-40B4-BE49-F238E27FC236}">
                <a16:creationId xmlns:a16="http://schemas.microsoft.com/office/drawing/2014/main" id="{B4FDC405-07DE-49A2-92C3-22D7CCC2B1FD}"/>
              </a:ext>
            </a:extLst>
          </p:cNvPr>
          <p:cNvSpPr/>
          <p:nvPr/>
        </p:nvSpPr>
        <p:spPr bwMode="gray">
          <a:xfrm flipV="1">
            <a:off x="6787454" y="3850990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7" name="Right Triangle 666">
            <a:extLst>
              <a:ext uri="{FF2B5EF4-FFF2-40B4-BE49-F238E27FC236}">
                <a16:creationId xmlns:a16="http://schemas.microsoft.com/office/drawing/2014/main" id="{317C1343-52C5-4AAB-A6B1-5E64545CFC16}"/>
              </a:ext>
            </a:extLst>
          </p:cNvPr>
          <p:cNvSpPr/>
          <p:nvPr/>
        </p:nvSpPr>
        <p:spPr bwMode="gray">
          <a:xfrm>
            <a:off x="6787454" y="4823070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8" name="Right Triangle 667">
            <a:extLst>
              <a:ext uri="{FF2B5EF4-FFF2-40B4-BE49-F238E27FC236}">
                <a16:creationId xmlns:a16="http://schemas.microsoft.com/office/drawing/2014/main" id="{180F82F4-4FF4-4115-A2EE-359EF0AAF35B}"/>
              </a:ext>
            </a:extLst>
          </p:cNvPr>
          <p:cNvSpPr/>
          <p:nvPr/>
        </p:nvSpPr>
        <p:spPr bwMode="gray">
          <a:xfrm rot="10800000">
            <a:off x="6787454" y="4823070"/>
            <a:ext cx="971456" cy="971203"/>
          </a:xfrm>
          <a:prstGeom prst="rtTriangle">
            <a:avLst/>
          </a:prstGeom>
          <a:solidFill>
            <a:sysClr val="window" lastClr="FFFFFF">
              <a:alpha val="10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9" name="Right Triangle 668">
            <a:extLst>
              <a:ext uri="{FF2B5EF4-FFF2-40B4-BE49-F238E27FC236}">
                <a16:creationId xmlns:a16="http://schemas.microsoft.com/office/drawing/2014/main" id="{D31F4E0E-C07A-465F-A7E0-9B67B9FBB38F}"/>
              </a:ext>
            </a:extLst>
          </p:cNvPr>
          <p:cNvSpPr/>
          <p:nvPr/>
        </p:nvSpPr>
        <p:spPr bwMode="gray">
          <a:xfrm>
            <a:off x="6787454" y="2882358"/>
            <a:ext cx="971456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0" name="Right Triangle 669">
            <a:extLst>
              <a:ext uri="{FF2B5EF4-FFF2-40B4-BE49-F238E27FC236}">
                <a16:creationId xmlns:a16="http://schemas.microsoft.com/office/drawing/2014/main" id="{9660FF54-EE5F-469D-A717-B169EBB5113A}"/>
              </a:ext>
            </a:extLst>
          </p:cNvPr>
          <p:cNvSpPr/>
          <p:nvPr/>
        </p:nvSpPr>
        <p:spPr bwMode="gray">
          <a:xfrm flipV="1">
            <a:off x="6787454" y="941663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1" name="Right Triangle 670">
            <a:extLst>
              <a:ext uri="{FF2B5EF4-FFF2-40B4-BE49-F238E27FC236}">
                <a16:creationId xmlns:a16="http://schemas.microsoft.com/office/drawing/2014/main" id="{A262CDFD-0FF1-428E-96C5-E87AE98B3FAB}"/>
              </a:ext>
            </a:extLst>
          </p:cNvPr>
          <p:cNvSpPr/>
          <p:nvPr/>
        </p:nvSpPr>
        <p:spPr bwMode="gray">
          <a:xfrm>
            <a:off x="6787454" y="1913744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2" name="Right Triangle 671">
            <a:extLst>
              <a:ext uri="{FF2B5EF4-FFF2-40B4-BE49-F238E27FC236}">
                <a16:creationId xmlns:a16="http://schemas.microsoft.com/office/drawing/2014/main" id="{9FB9B9C6-14C5-44EC-8357-E491F4166AC7}"/>
              </a:ext>
            </a:extLst>
          </p:cNvPr>
          <p:cNvSpPr/>
          <p:nvPr/>
        </p:nvSpPr>
        <p:spPr bwMode="gray">
          <a:xfrm rot="10800000">
            <a:off x="6787455" y="1913744"/>
            <a:ext cx="971456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3" name="Right Triangle 672">
            <a:extLst>
              <a:ext uri="{FF2B5EF4-FFF2-40B4-BE49-F238E27FC236}">
                <a16:creationId xmlns:a16="http://schemas.microsoft.com/office/drawing/2014/main" id="{D115A183-5DEE-4557-906C-841E8BF4AD8A}"/>
              </a:ext>
            </a:extLst>
          </p:cNvPr>
          <p:cNvSpPr/>
          <p:nvPr/>
        </p:nvSpPr>
        <p:spPr bwMode="gray">
          <a:xfrm>
            <a:off x="6787454" y="-27163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4" name="Right Triangle 673">
            <a:extLst>
              <a:ext uri="{FF2B5EF4-FFF2-40B4-BE49-F238E27FC236}">
                <a16:creationId xmlns:a16="http://schemas.microsoft.com/office/drawing/2014/main" id="{D4CB3AC0-7B72-4B5F-9C38-87217C5E0053}"/>
              </a:ext>
            </a:extLst>
          </p:cNvPr>
          <p:cNvSpPr/>
          <p:nvPr/>
        </p:nvSpPr>
        <p:spPr bwMode="gray">
          <a:xfrm rot="10800000">
            <a:off x="6787454" y="-22208"/>
            <a:ext cx="971456" cy="971203"/>
          </a:xfrm>
          <a:prstGeom prst="rtTriangle">
            <a:avLst/>
          </a:prstGeom>
          <a:solidFill>
            <a:sysClr val="window" lastClr="FFFFFF">
              <a:alpha val="1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6" name="Right Triangle 675">
            <a:extLst>
              <a:ext uri="{FF2B5EF4-FFF2-40B4-BE49-F238E27FC236}">
                <a16:creationId xmlns:a16="http://schemas.microsoft.com/office/drawing/2014/main" id="{070D0D90-434D-4A79-8FAF-A28B596E8BA5}"/>
              </a:ext>
            </a:extLst>
          </p:cNvPr>
          <p:cNvSpPr/>
          <p:nvPr/>
        </p:nvSpPr>
        <p:spPr bwMode="gray">
          <a:xfrm flipH="1">
            <a:off x="7758910" y="5795356"/>
            <a:ext cx="971456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7" name="Right Triangle 676">
            <a:extLst>
              <a:ext uri="{FF2B5EF4-FFF2-40B4-BE49-F238E27FC236}">
                <a16:creationId xmlns:a16="http://schemas.microsoft.com/office/drawing/2014/main" id="{E0272DA3-CBE0-4928-B3BE-526A7132B020}"/>
              </a:ext>
            </a:extLst>
          </p:cNvPr>
          <p:cNvSpPr/>
          <p:nvPr/>
        </p:nvSpPr>
        <p:spPr bwMode="gray">
          <a:xfrm flipH="1" flipV="1">
            <a:off x="7758910" y="3850990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8" name="Right Triangle 677">
            <a:extLst>
              <a:ext uri="{FF2B5EF4-FFF2-40B4-BE49-F238E27FC236}">
                <a16:creationId xmlns:a16="http://schemas.microsoft.com/office/drawing/2014/main" id="{2B259B49-A833-4074-9BC3-732A6ADC9E90}"/>
              </a:ext>
            </a:extLst>
          </p:cNvPr>
          <p:cNvSpPr/>
          <p:nvPr/>
        </p:nvSpPr>
        <p:spPr bwMode="gray">
          <a:xfrm rot="10800000" flipH="1" flipV="1">
            <a:off x="7758911" y="3850990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9" name="Right Triangle 678">
            <a:extLst>
              <a:ext uri="{FF2B5EF4-FFF2-40B4-BE49-F238E27FC236}">
                <a16:creationId xmlns:a16="http://schemas.microsoft.com/office/drawing/2014/main" id="{9DA52803-4D1C-4646-A426-92E685974004}"/>
              </a:ext>
            </a:extLst>
          </p:cNvPr>
          <p:cNvSpPr/>
          <p:nvPr/>
        </p:nvSpPr>
        <p:spPr bwMode="gray">
          <a:xfrm flipH="1">
            <a:off x="7758910" y="4823070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0" name="Right Triangle 679">
            <a:extLst>
              <a:ext uri="{FF2B5EF4-FFF2-40B4-BE49-F238E27FC236}">
                <a16:creationId xmlns:a16="http://schemas.microsoft.com/office/drawing/2014/main" id="{44F2694C-C7FB-42C2-A130-87A3444CDB1A}"/>
              </a:ext>
            </a:extLst>
          </p:cNvPr>
          <p:cNvSpPr/>
          <p:nvPr/>
        </p:nvSpPr>
        <p:spPr bwMode="gray">
          <a:xfrm flipH="1">
            <a:off x="7758910" y="2882358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1" name="Right Triangle 680">
            <a:extLst>
              <a:ext uri="{FF2B5EF4-FFF2-40B4-BE49-F238E27FC236}">
                <a16:creationId xmlns:a16="http://schemas.microsoft.com/office/drawing/2014/main" id="{0C0C2D22-DB2D-42C3-9C39-02B032BE37E1}"/>
              </a:ext>
            </a:extLst>
          </p:cNvPr>
          <p:cNvSpPr/>
          <p:nvPr/>
        </p:nvSpPr>
        <p:spPr bwMode="gray">
          <a:xfrm rot="10800000" flipH="1">
            <a:off x="7758911" y="2882358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2" name="Right Triangle 681">
            <a:extLst>
              <a:ext uri="{FF2B5EF4-FFF2-40B4-BE49-F238E27FC236}">
                <a16:creationId xmlns:a16="http://schemas.microsoft.com/office/drawing/2014/main" id="{2B091DFD-235A-4F82-8400-3D2D23513EED}"/>
              </a:ext>
            </a:extLst>
          </p:cNvPr>
          <p:cNvSpPr/>
          <p:nvPr/>
        </p:nvSpPr>
        <p:spPr bwMode="gray">
          <a:xfrm flipH="1" flipV="1">
            <a:off x="7758910" y="941663"/>
            <a:ext cx="971456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3" name="Right Triangle 682">
            <a:extLst>
              <a:ext uri="{FF2B5EF4-FFF2-40B4-BE49-F238E27FC236}">
                <a16:creationId xmlns:a16="http://schemas.microsoft.com/office/drawing/2014/main" id="{9F1ACCCB-E98E-4873-86E7-F06C490CFDAF}"/>
              </a:ext>
            </a:extLst>
          </p:cNvPr>
          <p:cNvSpPr/>
          <p:nvPr/>
        </p:nvSpPr>
        <p:spPr bwMode="gray">
          <a:xfrm rot="10800000" flipH="1" flipV="1">
            <a:off x="7758910" y="941664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4" name="Right Triangle 683">
            <a:extLst>
              <a:ext uri="{FF2B5EF4-FFF2-40B4-BE49-F238E27FC236}">
                <a16:creationId xmlns:a16="http://schemas.microsoft.com/office/drawing/2014/main" id="{4E5AC737-AE04-405D-9369-4528A38149C6}"/>
              </a:ext>
            </a:extLst>
          </p:cNvPr>
          <p:cNvSpPr/>
          <p:nvPr/>
        </p:nvSpPr>
        <p:spPr bwMode="gray">
          <a:xfrm flipH="1">
            <a:off x="7758910" y="1913744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5" name="Right Triangle 684">
            <a:extLst>
              <a:ext uri="{FF2B5EF4-FFF2-40B4-BE49-F238E27FC236}">
                <a16:creationId xmlns:a16="http://schemas.microsoft.com/office/drawing/2014/main" id="{5075BADC-B414-49AE-AD6B-CCF5D545CD37}"/>
              </a:ext>
            </a:extLst>
          </p:cNvPr>
          <p:cNvSpPr/>
          <p:nvPr/>
        </p:nvSpPr>
        <p:spPr bwMode="gray">
          <a:xfrm rot="10800000" flipH="1">
            <a:off x="7758911" y="1913744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6" name="Right Triangle 685">
            <a:extLst>
              <a:ext uri="{FF2B5EF4-FFF2-40B4-BE49-F238E27FC236}">
                <a16:creationId xmlns:a16="http://schemas.microsoft.com/office/drawing/2014/main" id="{14A93DDE-9D44-4F70-94E3-4445B9184CD9}"/>
              </a:ext>
            </a:extLst>
          </p:cNvPr>
          <p:cNvSpPr/>
          <p:nvPr/>
        </p:nvSpPr>
        <p:spPr bwMode="gray">
          <a:xfrm flipH="1">
            <a:off x="7758910" y="-27163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7" name="Right Triangle 686">
            <a:extLst>
              <a:ext uri="{FF2B5EF4-FFF2-40B4-BE49-F238E27FC236}">
                <a16:creationId xmlns:a16="http://schemas.microsoft.com/office/drawing/2014/main" id="{A592FFE6-CF46-4EBE-BA58-E0E350F196F9}"/>
              </a:ext>
            </a:extLst>
          </p:cNvPr>
          <p:cNvSpPr/>
          <p:nvPr/>
        </p:nvSpPr>
        <p:spPr bwMode="gray">
          <a:xfrm rot="10800000" flipH="1">
            <a:off x="7758910" y="-22208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9" name="Right Triangle 688">
            <a:extLst>
              <a:ext uri="{FF2B5EF4-FFF2-40B4-BE49-F238E27FC236}">
                <a16:creationId xmlns:a16="http://schemas.microsoft.com/office/drawing/2014/main" id="{173D5322-E331-4813-93EC-69B856F13151}"/>
              </a:ext>
            </a:extLst>
          </p:cNvPr>
          <p:cNvSpPr/>
          <p:nvPr/>
        </p:nvSpPr>
        <p:spPr bwMode="gray">
          <a:xfrm>
            <a:off x="8730365" y="5795356"/>
            <a:ext cx="971456" cy="971203"/>
          </a:xfrm>
          <a:prstGeom prst="rtTriangle">
            <a:avLst/>
          </a:prstGeom>
          <a:solidFill>
            <a:sysClr val="window" lastClr="FFFFFF">
              <a:alpha val="10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0" name="Right Triangle 689">
            <a:extLst>
              <a:ext uri="{FF2B5EF4-FFF2-40B4-BE49-F238E27FC236}">
                <a16:creationId xmlns:a16="http://schemas.microsoft.com/office/drawing/2014/main" id="{7087EB5C-B6C9-40F5-AAA9-8BF7A0F05F2D}"/>
              </a:ext>
            </a:extLst>
          </p:cNvPr>
          <p:cNvSpPr/>
          <p:nvPr/>
        </p:nvSpPr>
        <p:spPr bwMode="gray">
          <a:xfrm rot="10800000">
            <a:off x="8730365" y="5795356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1" name="Right Triangle 690">
            <a:extLst>
              <a:ext uri="{FF2B5EF4-FFF2-40B4-BE49-F238E27FC236}">
                <a16:creationId xmlns:a16="http://schemas.microsoft.com/office/drawing/2014/main" id="{6AB551A9-231E-452E-95A3-E890EF780EB2}"/>
              </a:ext>
            </a:extLst>
          </p:cNvPr>
          <p:cNvSpPr/>
          <p:nvPr/>
        </p:nvSpPr>
        <p:spPr bwMode="gray">
          <a:xfrm flipV="1">
            <a:off x="8730365" y="3850990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2" name="Right Triangle 691">
            <a:extLst>
              <a:ext uri="{FF2B5EF4-FFF2-40B4-BE49-F238E27FC236}">
                <a16:creationId xmlns:a16="http://schemas.microsoft.com/office/drawing/2014/main" id="{21F04599-4599-4390-A8BB-A75F20BA9AF8}"/>
              </a:ext>
            </a:extLst>
          </p:cNvPr>
          <p:cNvSpPr/>
          <p:nvPr/>
        </p:nvSpPr>
        <p:spPr bwMode="gray">
          <a:xfrm>
            <a:off x="8730365" y="4823070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3" name="Right Triangle 692">
            <a:extLst>
              <a:ext uri="{FF2B5EF4-FFF2-40B4-BE49-F238E27FC236}">
                <a16:creationId xmlns:a16="http://schemas.microsoft.com/office/drawing/2014/main" id="{F1BB26B7-3C77-4B97-82F4-557B9675DD69}"/>
              </a:ext>
            </a:extLst>
          </p:cNvPr>
          <p:cNvSpPr/>
          <p:nvPr/>
        </p:nvSpPr>
        <p:spPr bwMode="gray">
          <a:xfrm rot="10800000">
            <a:off x="8730366" y="4823070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4" name="Right Triangle 693">
            <a:extLst>
              <a:ext uri="{FF2B5EF4-FFF2-40B4-BE49-F238E27FC236}">
                <a16:creationId xmlns:a16="http://schemas.microsoft.com/office/drawing/2014/main" id="{0776ED34-7278-4000-8E07-3C3FCCF35AD1}"/>
              </a:ext>
            </a:extLst>
          </p:cNvPr>
          <p:cNvSpPr/>
          <p:nvPr/>
        </p:nvSpPr>
        <p:spPr bwMode="gray">
          <a:xfrm>
            <a:off x="8730365" y="2882358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5" name="Right Triangle 694">
            <a:extLst>
              <a:ext uri="{FF2B5EF4-FFF2-40B4-BE49-F238E27FC236}">
                <a16:creationId xmlns:a16="http://schemas.microsoft.com/office/drawing/2014/main" id="{86D8E87C-B42C-4B03-8D84-C3999BCAC26C}"/>
              </a:ext>
            </a:extLst>
          </p:cNvPr>
          <p:cNvSpPr/>
          <p:nvPr/>
        </p:nvSpPr>
        <p:spPr bwMode="gray">
          <a:xfrm rot="10800000">
            <a:off x="8730365" y="2882358"/>
            <a:ext cx="971456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6" name="Right Triangle 695">
            <a:extLst>
              <a:ext uri="{FF2B5EF4-FFF2-40B4-BE49-F238E27FC236}">
                <a16:creationId xmlns:a16="http://schemas.microsoft.com/office/drawing/2014/main" id="{9445DD0C-B2B3-493E-82CD-A24EF1FA983A}"/>
              </a:ext>
            </a:extLst>
          </p:cNvPr>
          <p:cNvSpPr/>
          <p:nvPr/>
        </p:nvSpPr>
        <p:spPr bwMode="gray">
          <a:xfrm flipV="1">
            <a:off x="8730365" y="941663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7" name="Right Triangle 696">
            <a:extLst>
              <a:ext uri="{FF2B5EF4-FFF2-40B4-BE49-F238E27FC236}">
                <a16:creationId xmlns:a16="http://schemas.microsoft.com/office/drawing/2014/main" id="{BC80C5D1-DF00-4032-B44A-1F21057F0197}"/>
              </a:ext>
            </a:extLst>
          </p:cNvPr>
          <p:cNvSpPr/>
          <p:nvPr/>
        </p:nvSpPr>
        <p:spPr bwMode="gray">
          <a:xfrm rot="10800000">
            <a:off x="8730365" y="1913744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8" name="Right Triangle 697">
            <a:extLst>
              <a:ext uri="{FF2B5EF4-FFF2-40B4-BE49-F238E27FC236}">
                <a16:creationId xmlns:a16="http://schemas.microsoft.com/office/drawing/2014/main" id="{C14A4699-BC04-4EE4-8BAA-34ED5DF9C577}"/>
              </a:ext>
            </a:extLst>
          </p:cNvPr>
          <p:cNvSpPr/>
          <p:nvPr/>
        </p:nvSpPr>
        <p:spPr bwMode="gray">
          <a:xfrm>
            <a:off x="8730365" y="-27163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9" name="Right Triangle 698">
            <a:extLst>
              <a:ext uri="{FF2B5EF4-FFF2-40B4-BE49-F238E27FC236}">
                <a16:creationId xmlns:a16="http://schemas.microsoft.com/office/drawing/2014/main" id="{925537A2-4317-4E47-9FE1-6B7803BBDE5F}"/>
              </a:ext>
            </a:extLst>
          </p:cNvPr>
          <p:cNvSpPr/>
          <p:nvPr/>
        </p:nvSpPr>
        <p:spPr bwMode="gray">
          <a:xfrm rot="10800000">
            <a:off x="8730365" y="-22208"/>
            <a:ext cx="971456" cy="971203"/>
          </a:xfrm>
          <a:prstGeom prst="rtTriangle">
            <a:avLst/>
          </a:prstGeom>
          <a:solidFill>
            <a:sysClr val="window" lastClr="FFFFFF">
              <a:alpha val="1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1" name="Right Triangle 700">
            <a:extLst>
              <a:ext uri="{FF2B5EF4-FFF2-40B4-BE49-F238E27FC236}">
                <a16:creationId xmlns:a16="http://schemas.microsoft.com/office/drawing/2014/main" id="{1B607426-67FE-42D5-BCD6-19FDC482EA97}"/>
              </a:ext>
            </a:extLst>
          </p:cNvPr>
          <p:cNvSpPr/>
          <p:nvPr/>
        </p:nvSpPr>
        <p:spPr bwMode="gray">
          <a:xfrm flipH="1">
            <a:off x="9701822" y="5795356"/>
            <a:ext cx="971456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2" name="Right Triangle 701">
            <a:extLst>
              <a:ext uri="{FF2B5EF4-FFF2-40B4-BE49-F238E27FC236}">
                <a16:creationId xmlns:a16="http://schemas.microsoft.com/office/drawing/2014/main" id="{3721A5D6-FDD8-486E-A763-9ECC7183A88C}"/>
              </a:ext>
            </a:extLst>
          </p:cNvPr>
          <p:cNvSpPr/>
          <p:nvPr/>
        </p:nvSpPr>
        <p:spPr bwMode="gray">
          <a:xfrm rot="10800000" flipH="1">
            <a:off x="9701823" y="5795356"/>
            <a:ext cx="971456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3" name="Right Triangle 702">
            <a:extLst>
              <a:ext uri="{FF2B5EF4-FFF2-40B4-BE49-F238E27FC236}">
                <a16:creationId xmlns:a16="http://schemas.microsoft.com/office/drawing/2014/main" id="{A205A44E-E520-43E2-8A45-05DA297D7B05}"/>
              </a:ext>
            </a:extLst>
          </p:cNvPr>
          <p:cNvSpPr/>
          <p:nvPr/>
        </p:nvSpPr>
        <p:spPr bwMode="gray">
          <a:xfrm flipH="1" flipV="1">
            <a:off x="9701822" y="3850990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4" name="Right Triangle 703">
            <a:extLst>
              <a:ext uri="{FF2B5EF4-FFF2-40B4-BE49-F238E27FC236}">
                <a16:creationId xmlns:a16="http://schemas.microsoft.com/office/drawing/2014/main" id="{0D2B5A27-66BF-44F5-9BEE-BC124D04F6EC}"/>
              </a:ext>
            </a:extLst>
          </p:cNvPr>
          <p:cNvSpPr/>
          <p:nvPr/>
        </p:nvSpPr>
        <p:spPr bwMode="gray">
          <a:xfrm rot="10800000" flipH="1" flipV="1">
            <a:off x="9701823" y="3850990"/>
            <a:ext cx="971456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5" name="Right Triangle 704">
            <a:extLst>
              <a:ext uri="{FF2B5EF4-FFF2-40B4-BE49-F238E27FC236}">
                <a16:creationId xmlns:a16="http://schemas.microsoft.com/office/drawing/2014/main" id="{9376A22E-84F0-4927-B75A-C1A44EA47339}"/>
              </a:ext>
            </a:extLst>
          </p:cNvPr>
          <p:cNvSpPr/>
          <p:nvPr/>
        </p:nvSpPr>
        <p:spPr bwMode="gray">
          <a:xfrm flipH="1">
            <a:off x="9701822" y="4823070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6" name="Right Triangle 705">
            <a:extLst>
              <a:ext uri="{FF2B5EF4-FFF2-40B4-BE49-F238E27FC236}">
                <a16:creationId xmlns:a16="http://schemas.microsoft.com/office/drawing/2014/main" id="{10F437FB-B6F2-45B7-A64E-69C77E695654}"/>
              </a:ext>
            </a:extLst>
          </p:cNvPr>
          <p:cNvSpPr/>
          <p:nvPr/>
        </p:nvSpPr>
        <p:spPr bwMode="gray">
          <a:xfrm rot="10800000" flipH="1">
            <a:off x="9701822" y="2882358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7" name="Right Triangle 706">
            <a:extLst>
              <a:ext uri="{FF2B5EF4-FFF2-40B4-BE49-F238E27FC236}">
                <a16:creationId xmlns:a16="http://schemas.microsoft.com/office/drawing/2014/main" id="{AC0CD031-0B0F-423B-97C9-EE39FA3BFA61}"/>
              </a:ext>
            </a:extLst>
          </p:cNvPr>
          <p:cNvSpPr/>
          <p:nvPr/>
        </p:nvSpPr>
        <p:spPr bwMode="gray">
          <a:xfrm flipH="1" flipV="1">
            <a:off x="9701822" y="941663"/>
            <a:ext cx="971456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8" name="Right Triangle 707">
            <a:extLst>
              <a:ext uri="{FF2B5EF4-FFF2-40B4-BE49-F238E27FC236}">
                <a16:creationId xmlns:a16="http://schemas.microsoft.com/office/drawing/2014/main" id="{EAF64B36-3319-4C74-9AB7-FEAB06B37641}"/>
              </a:ext>
            </a:extLst>
          </p:cNvPr>
          <p:cNvSpPr/>
          <p:nvPr/>
        </p:nvSpPr>
        <p:spPr bwMode="gray">
          <a:xfrm rot="10800000" flipH="1" flipV="1">
            <a:off x="9701822" y="941663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9" name="Right Triangle 708">
            <a:extLst>
              <a:ext uri="{FF2B5EF4-FFF2-40B4-BE49-F238E27FC236}">
                <a16:creationId xmlns:a16="http://schemas.microsoft.com/office/drawing/2014/main" id="{E3C54209-D8C1-426E-9A8A-A542770AD73F}"/>
              </a:ext>
            </a:extLst>
          </p:cNvPr>
          <p:cNvSpPr/>
          <p:nvPr/>
        </p:nvSpPr>
        <p:spPr bwMode="gray">
          <a:xfrm flipH="1">
            <a:off x="9701822" y="1913744"/>
            <a:ext cx="971456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10" name="Right Triangle 709">
            <a:extLst>
              <a:ext uri="{FF2B5EF4-FFF2-40B4-BE49-F238E27FC236}">
                <a16:creationId xmlns:a16="http://schemas.microsoft.com/office/drawing/2014/main" id="{CE48EDDD-15A2-4179-9723-EF0790D9AB7A}"/>
              </a:ext>
            </a:extLst>
          </p:cNvPr>
          <p:cNvSpPr/>
          <p:nvPr/>
        </p:nvSpPr>
        <p:spPr bwMode="gray">
          <a:xfrm rot="10800000" flipH="1">
            <a:off x="9701822" y="1913744"/>
            <a:ext cx="971456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11" name="Right Triangle 710">
            <a:extLst>
              <a:ext uri="{FF2B5EF4-FFF2-40B4-BE49-F238E27FC236}">
                <a16:creationId xmlns:a16="http://schemas.microsoft.com/office/drawing/2014/main" id="{AEB1B8E3-1301-4A21-AFF8-2369AF3E5025}"/>
              </a:ext>
            </a:extLst>
          </p:cNvPr>
          <p:cNvSpPr/>
          <p:nvPr/>
        </p:nvSpPr>
        <p:spPr bwMode="gray">
          <a:xfrm flipH="1">
            <a:off x="9701822" y="-27163"/>
            <a:ext cx="971456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12" name="Right Triangle 711">
            <a:extLst>
              <a:ext uri="{FF2B5EF4-FFF2-40B4-BE49-F238E27FC236}">
                <a16:creationId xmlns:a16="http://schemas.microsoft.com/office/drawing/2014/main" id="{22321A31-BBD8-4021-8D12-DD2AD359ACB7}"/>
              </a:ext>
            </a:extLst>
          </p:cNvPr>
          <p:cNvSpPr/>
          <p:nvPr/>
        </p:nvSpPr>
        <p:spPr bwMode="gray">
          <a:xfrm rot="10800000" flipH="1">
            <a:off x="9701822" y="-22208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06" name="Freeform: Shape 805">
            <a:extLst>
              <a:ext uri="{FF2B5EF4-FFF2-40B4-BE49-F238E27FC236}">
                <a16:creationId xmlns:a16="http://schemas.microsoft.com/office/drawing/2014/main" id="{1A9DA018-B052-4202-B3DD-762545F3AC9F}"/>
              </a:ext>
            </a:extLst>
          </p:cNvPr>
          <p:cNvSpPr/>
          <p:nvPr/>
        </p:nvSpPr>
        <p:spPr bwMode="gray">
          <a:xfrm flipH="1">
            <a:off x="11645638" y="942852"/>
            <a:ext cx="2378" cy="1189"/>
          </a:xfrm>
          <a:custGeom>
            <a:avLst/>
            <a:gdLst>
              <a:gd name="connsiteX0" fmla="*/ 1188 w 2377"/>
              <a:gd name="connsiteY0" fmla="*/ 0 h 1189"/>
              <a:gd name="connsiteX1" fmla="*/ 0 w 2377"/>
              <a:gd name="connsiteY1" fmla="*/ 1189 h 1189"/>
              <a:gd name="connsiteX2" fmla="*/ 2377 w 2377"/>
              <a:gd name="connsiteY2" fmla="*/ 1189 h 1189"/>
              <a:gd name="connsiteX3" fmla="*/ 1188 w 2377"/>
              <a:gd name="connsiteY3" fmla="*/ 0 h 1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77" h="1189">
                <a:moveTo>
                  <a:pt x="1188" y="0"/>
                </a:moveTo>
                <a:lnTo>
                  <a:pt x="0" y="1189"/>
                </a:lnTo>
                <a:lnTo>
                  <a:pt x="2377" y="1189"/>
                </a:lnTo>
                <a:lnTo>
                  <a:pt x="1188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05" name="Freeform: Shape 804">
            <a:extLst>
              <a:ext uri="{FF2B5EF4-FFF2-40B4-BE49-F238E27FC236}">
                <a16:creationId xmlns:a16="http://schemas.microsoft.com/office/drawing/2014/main" id="{0B30A448-CF71-4D0C-BABB-85036722715B}"/>
              </a:ext>
            </a:extLst>
          </p:cNvPr>
          <p:cNvSpPr/>
          <p:nvPr/>
        </p:nvSpPr>
        <p:spPr bwMode="gray">
          <a:xfrm flipH="1">
            <a:off x="11648016" y="944040"/>
            <a:ext cx="547160" cy="547018"/>
          </a:xfrm>
          <a:custGeom>
            <a:avLst/>
            <a:gdLst>
              <a:gd name="connsiteX0" fmla="*/ 547018 w 547018"/>
              <a:gd name="connsiteY0" fmla="*/ 0 h 547018"/>
              <a:gd name="connsiteX1" fmla="*/ 0 w 547018"/>
              <a:gd name="connsiteY1" fmla="*/ 0 h 547018"/>
              <a:gd name="connsiteX2" fmla="*/ 0 w 547018"/>
              <a:gd name="connsiteY2" fmla="*/ 547018 h 547018"/>
              <a:gd name="connsiteX3" fmla="*/ 547018 w 547018"/>
              <a:gd name="connsiteY3" fmla="*/ 0 h 547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7018" h="547018">
                <a:moveTo>
                  <a:pt x="547018" y="0"/>
                </a:moveTo>
                <a:lnTo>
                  <a:pt x="0" y="0"/>
                </a:lnTo>
                <a:lnTo>
                  <a:pt x="0" y="547018"/>
                </a:lnTo>
                <a:lnTo>
                  <a:pt x="547018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01" name="Freeform: Shape 800">
            <a:extLst>
              <a:ext uri="{FF2B5EF4-FFF2-40B4-BE49-F238E27FC236}">
                <a16:creationId xmlns:a16="http://schemas.microsoft.com/office/drawing/2014/main" id="{D9357F95-7EF6-4C2E-AA16-1B5306D68394}"/>
              </a:ext>
            </a:extLst>
          </p:cNvPr>
          <p:cNvSpPr/>
          <p:nvPr/>
        </p:nvSpPr>
        <p:spPr bwMode="gray">
          <a:xfrm flipH="1">
            <a:off x="11645639" y="3852274"/>
            <a:ext cx="2572" cy="1286"/>
          </a:xfrm>
          <a:custGeom>
            <a:avLst/>
            <a:gdLst>
              <a:gd name="connsiteX0" fmla="*/ 1286 w 2571"/>
              <a:gd name="connsiteY0" fmla="*/ 0 h 1286"/>
              <a:gd name="connsiteX1" fmla="*/ 0 w 2571"/>
              <a:gd name="connsiteY1" fmla="*/ 1286 h 1286"/>
              <a:gd name="connsiteX2" fmla="*/ 2571 w 2571"/>
              <a:gd name="connsiteY2" fmla="*/ 1286 h 1286"/>
              <a:gd name="connsiteX3" fmla="*/ 2571 w 2571"/>
              <a:gd name="connsiteY3" fmla="*/ 1285 h 1286"/>
              <a:gd name="connsiteX4" fmla="*/ 1286 w 2571"/>
              <a:gd name="connsiteY4" fmla="*/ 0 h 1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71" h="1286">
                <a:moveTo>
                  <a:pt x="1286" y="0"/>
                </a:moveTo>
                <a:lnTo>
                  <a:pt x="0" y="1286"/>
                </a:lnTo>
                <a:lnTo>
                  <a:pt x="2571" y="1286"/>
                </a:lnTo>
                <a:lnTo>
                  <a:pt x="2571" y="1285"/>
                </a:lnTo>
                <a:lnTo>
                  <a:pt x="1286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00" name="Freeform: Shape 799">
            <a:extLst>
              <a:ext uri="{FF2B5EF4-FFF2-40B4-BE49-F238E27FC236}">
                <a16:creationId xmlns:a16="http://schemas.microsoft.com/office/drawing/2014/main" id="{D3D62801-9D5B-4629-ADE5-11D828E45A92}"/>
              </a:ext>
            </a:extLst>
          </p:cNvPr>
          <p:cNvSpPr/>
          <p:nvPr/>
        </p:nvSpPr>
        <p:spPr bwMode="gray">
          <a:xfrm flipH="1">
            <a:off x="11648211" y="3853561"/>
            <a:ext cx="546965" cy="546823"/>
          </a:xfrm>
          <a:custGeom>
            <a:avLst/>
            <a:gdLst>
              <a:gd name="connsiteX0" fmla="*/ 546823 w 546823"/>
              <a:gd name="connsiteY0" fmla="*/ 0 h 546823"/>
              <a:gd name="connsiteX1" fmla="*/ 0 w 546823"/>
              <a:gd name="connsiteY1" fmla="*/ 0 h 546823"/>
              <a:gd name="connsiteX2" fmla="*/ 0 w 546823"/>
              <a:gd name="connsiteY2" fmla="*/ 546823 h 546823"/>
              <a:gd name="connsiteX3" fmla="*/ 546823 w 546823"/>
              <a:gd name="connsiteY3" fmla="*/ 0 h 5468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6823" h="546823">
                <a:moveTo>
                  <a:pt x="546823" y="0"/>
                </a:moveTo>
                <a:lnTo>
                  <a:pt x="0" y="0"/>
                </a:lnTo>
                <a:lnTo>
                  <a:pt x="0" y="546823"/>
                </a:lnTo>
                <a:lnTo>
                  <a:pt x="546823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94" name="Freeform: Shape 793">
            <a:extLst>
              <a:ext uri="{FF2B5EF4-FFF2-40B4-BE49-F238E27FC236}">
                <a16:creationId xmlns:a16="http://schemas.microsoft.com/office/drawing/2014/main" id="{8D8B5F7D-87DB-4F9D-AEEA-3B88E754EC16}"/>
              </a:ext>
            </a:extLst>
          </p:cNvPr>
          <p:cNvSpPr/>
          <p:nvPr/>
        </p:nvSpPr>
        <p:spPr bwMode="gray">
          <a:xfrm flipH="1">
            <a:off x="11646827" y="394646"/>
            <a:ext cx="548349" cy="549395"/>
          </a:xfrm>
          <a:custGeom>
            <a:avLst/>
            <a:gdLst>
              <a:gd name="connsiteX0" fmla="*/ 0 w 548206"/>
              <a:gd name="connsiteY0" fmla="*/ 0 h 549395"/>
              <a:gd name="connsiteX1" fmla="*/ 0 w 548206"/>
              <a:gd name="connsiteY1" fmla="*/ 549395 h 549395"/>
              <a:gd name="connsiteX2" fmla="*/ 547018 w 548206"/>
              <a:gd name="connsiteY2" fmla="*/ 549395 h 549395"/>
              <a:gd name="connsiteX3" fmla="*/ 548206 w 548206"/>
              <a:gd name="connsiteY3" fmla="*/ 548206 h 549395"/>
              <a:gd name="connsiteX4" fmla="*/ 0 w 548206"/>
              <a:gd name="connsiteY4" fmla="*/ 0 h 549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8206" h="549395">
                <a:moveTo>
                  <a:pt x="0" y="0"/>
                </a:moveTo>
                <a:lnTo>
                  <a:pt x="0" y="549395"/>
                </a:lnTo>
                <a:lnTo>
                  <a:pt x="547018" y="549395"/>
                </a:lnTo>
                <a:lnTo>
                  <a:pt x="548206" y="548206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93" name="Freeform: Shape 792">
            <a:extLst>
              <a:ext uri="{FF2B5EF4-FFF2-40B4-BE49-F238E27FC236}">
                <a16:creationId xmlns:a16="http://schemas.microsoft.com/office/drawing/2014/main" id="{C7A3549D-BEA0-4C50-BDBF-D6C0E332EB04}"/>
              </a:ext>
            </a:extLst>
          </p:cNvPr>
          <p:cNvSpPr/>
          <p:nvPr/>
        </p:nvSpPr>
        <p:spPr bwMode="gray">
          <a:xfrm flipH="1">
            <a:off x="11645638" y="941664"/>
            <a:ext cx="1189" cy="2377"/>
          </a:xfrm>
          <a:custGeom>
            <a:avLst/>
            <a:gdLst>
              <a:gd name="connsiteX0" fmla="*/ 1189 w 1189"/>
              <a:gd name="connsiteY0" fmla="*/ 0 h 2377"/>
              <a:gd name="connsiteX1" fmla="*/ 0 w 1189"/>
              <a:gd name="connsiteY1" fmla="*/ 1188 h 2377"/>
              <a:gd name="connsiteX2" fmla="*/ 1189 w 1189"/>
              <a:gd name="connsiteY2" fmla="*/ 2377 h 2377"/>
              <a:gd name="connsiteX3" fmla="*/ 1189 w 1189"/>
              <a:gd name="connsiteY3" fmla="*/ 0 h 2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9" h="2377">
                <a:moveTo>
                  <a:pt x="1189" y="0"/>
                </a:moveTo>
                <a:lnTo>
                  <a:pt x="0" y="1188"/>
                </a:lnTo>
                <a:lnTo>
                  <a:pt x="1189" y="2377"/>
                </a:lnTo>
                <a:lnTo>
                  <a:pt x="1189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92" name="Freeform: Shape 791">
            <a:extLst>
              <a:ext uri="{FF2B5EF4-FFF2-40B4-BE49-F238E27FC236}">
                <a16:creationId xmlns:a16="http://schemas.microsoft.com/office/drawing/2014/main" id="{0BC61484-2257-4430-87EA-EEE20C384D6C}"/>
              </a:ext>
            </a:extLst>
          </p:cNvPr>
          <p:cNvSpPr/>
          <p:nvPr/>
        </p:nvSpPr>
        <p:spPr bwMode="gray">
          <a:xfrm flipH="1">
            <a:off x="11645638" y="944040"/>
            <a:ext cx="549538" cy="968826"/>
          </a:xfrm>
          <a:custGeom>
            <a:avLst/>
            <a:gdLst>
              <a:gd name="connsiteX0" fmla="*/ 549395 w 549395"/>
              <a:gd name="connsiteY0" fmla="*/ 0 h 968826"/>
              <a:gd name="connsiteX1" fmla="*/ 547018 w 549395"/>
              <a:gd name="connsiteY1" fmla="*/ 0 h 968826"/>
              <a:gd name="connsiteX2" fmla="*/ 0 w 549395"/>
              <a:gd name="connsiteY2" fmla="*/ 547018 h 968826"/>
              <a:gd name="connsiteX3" fmla="*/ 0 w 549395"/>
              <a:gd name="connsiteY3" fmla="*/ 968826 h 968826"/>
              <a:gd name="connsiteX4" fmla="*/ 549395 w 549395"/>
              <a:gd name="connsiteY4" fmla="*/ 968826 h 968826"/>
              <a:gd name="connsiteX5" fmla="*/ 549395 w 549395"/>
              <a:gd name="connsiteY5" fmla="*/ 0 h 96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9395" h="968826">
                <a:moveTo>
                  <a:pt x="549395" y="0"/>
                </a:moveTo>
                <a:lnTo>
                  <a:pt x="547018" y="0"/>
                </a:lnTo>
                <a:lnTo>
                  <a:pt x="0" y="547018"/>
                </a:lnTo>
                <a:lnTo>
                  <a:pt x="0" y="968826"/>
                </a:lnTo>
                <a:lnTo>
                  <a:pt x="549395" y="968826"/>
                </a:lnTo>
                <a:lnTo>
                  <a:pt x="549395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91" name="Freeform: Shape 790">
            <a:extLst>
              <a:ext uri="{FF2B5EF4-FFF2-40B4-BE49-F238E27FC236}">
                <a16:creationId xmlns:a16="http://schemas.microsoft.com/office/drawing/2014/main" id="{CD105FDE-FEDD-4E5E-875E-2568BD2BC3E8}"/>
              </a:ext>
            </a:extLst>
          </p:cNvPr>
          <p:cNvSpPr/>
          <p:nvPr/>
        </p:nvSpPr>
        <p:spPr bwMode="gray">
          <a:xfrm flipH="1">
            <a:off x="11645638" y="1913744"/>
            <a:ext cx="549538" cy="971203"/>
          </a:xfrm>
          <a:custGeom>
            <a:avLst/>
            <a:gdLst>
              <a:gd name="connsiteX0" fmla="*/ 549395 w 549395"/>
              <a:gd name="connsiteY0" fmla="*/ 0 h 971203"/>
              <a:gd name="connsiteX1" fmla="*/ 0 w 549395"/>
              <a:gd name="connsiteY1" fmla="*/ 0 h 971203"/>
              <a:gd name="connsiteX2" fmla="*/ 0 w 549395"/>
              <a:gd name="connsiteY2" fmla="*/ 421808 h 971203"/>
              <a:gd name="connsiteX3" fmla="*/ 0 w 549395"/>
              <a:gd name="connsiteY3" fmla="*/ 971203 h 971203"/>
              <a:gd name="connsiteX4" fmla="*/ 549395 w 549395"/>
              <a:gd name="connsiteY4" fmla="*/ 971203 h 971203"/>
              <a:gd name="connsiteX5" fmla="*/ 549395 w 549395"/>
              <a:gd name="connsiteY5" fmla="*/ 0 h 971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9395" h="971203">
                <a:moveTo>
                  <a:pt x="549395" y="0"/>
                </a:moveTo>
                <a:lnTo>
                  <a:pt x="0" y="0"/>
                </a:lnTo>
                <a:lnTo>
                  <a:pt x="0" y="421808"/>
                </a:lnTo>
                <a:lnTo>
                  <a:pt x="0" y="971203"/>
                </a:lnTo>
                <a:lnTo>
                  <a:pt x="549395" y="971203"/>
                </a:lnTo>
                <a:lnTo>
                  <a:pt x="549395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89" name="Freeform: Shape 788">
            <a:extLst>
              <a:ext uri="{FF2B5EF4-FFF2-40B4-BE49-F238E27FC236}">
                <a16:creationId xmlns:a16="http://schemas.microsoft.com/office/drawing/2014/main" id="{A8D9DDDF-0B40-4665-9080-ECDF9D052859}"/>
              </a:ext>
            </a:extLst>
          </p:cNvPr>
          <p:cNvSpPr/>
          <p:nvPr/>
        </p:nvSpPr>
        <p:spPr bwMode="gray">
          <a:xfrm flipH="1">
            <a:off x="11646924" y="3304166"/>
            <a:ext cx="548252" cy="549395"/>
          </a:xfrm>
          <a:custGeom>
            <a:avLst/>
            <a:gdLst>
              <a:gd name="connsiteX0" fmla="*/ 0 w 548109"/>
              <a:gd name="connsiteY0" fmla="*/ 0 h 549395"/>
              <a:gd name="connsiteX1" fmla="*/ 0 w 548109"/>
              <a:gd name="connsiteY1" fmla="*/ 549395 h 549395"/>
              <a:gd name="connsiteX2" fmla="*/ 546823 w 548109"/>
              <a:gd name="connsiteY2" fmla="*/ 549395 h 549395"/>
              <a:gd name="connsiteX3" fmla="*/ 548109 w 548109"/>
              <a:gd name="connsiteY3" fmla="*/ 548109 h 549395"/>
              <a:gd name="connsiteX4" fmla="*/ 0 w 548109"/>
              <a:gd name="connsiteY4" fmla="*/ 0 h 549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8109" h="549395">
                <a:moveTo>
                  <a:pt x="0" y="0"/>
                </a:moveTo>
                <a:lnTo>
                  <a:pt x="0" y="549395"/>
                </a:lnTo>
                <a:lnTo>
                  <a:pt x="546823" y="549395"/>
                </a:lnTo>
                <a:lnTo>
                  <a:pt x="548109" y="548109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88" name="Freeform: Shape 787">
            <a:extLst>
              <a:ext uri="{FF2B5EF4-FFF2-40B4-BE49-F238E27FC236}">
                <a16:creationId xmlns:a16="http://schemas.microsoft.com/office/drawing/2014/main" id="{6E6077E7-70AA-4E3D-98F5-AD19E37C253F}"/>
              </a:ext>
            </a:extLst>
          </p:cNvPr>
          <p:cNvSpPr/>
          <p:nvPr/>
        </p:nvSpPr>
        <p:spPr bwMode="gray">
          <a:xfrm flipH="1">
            <a:off x="11645639" y="3850989"/>
            <a:ext cx="1285" cy="2570"/>
          </a:xfrm>
          <a:custGeom>
            <a:avLst/>
            <a:gdLst>
              <a:gd name="connsiteX0" fmla="*/ 1285 w 1285"/>
              <a:gd name="connsiteY0" fmla="*/ 0 h 2570"/>
              <a:gd name="connsiteX1" fmla="*/ 0 w 1285"/>
              <a:gd name="connsiteY1" fmla="*/ 1285 h 2570"/>
              <a:gd name="connsiteX2" fmla="*/ 1285 w 1285"/>
              <a:gd name="connsiteY2" fmla="*/ 2570 h 2570"/>
              <a:gd name="connsiteX3" fmla="*/ 1285 w 1285"/>
              <a:gd name="connsiteY3" fmla="*/ 0 h 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5" h="2570">
                <a:moveTo>
                  <a:pt x="1285" y="0"/>
                </a:moveTo>
                <a:lnTo>
                  <a:pt x="0" y="1285"/>
                </a:lnTo>
                <a:lnTo>
                  <a:pt x="1285" y="2570"/>
                </a:lnTo>
                <a:lnTo>
                  <a:pt x="1285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86" name="Freeform: Shape 785">
            <a:extLst>
              <a:ext uri="{FF2B5EF4-FFF2-40B4-BE49-F238E27FC236}">
                <a16:creationId xmlns:a16="http://schemas.microsoft.com/office/drawing/2014/main" id="{356C6A63-581D-4DEB-A13F-469034B75B77}"/>
              </a:ext>
            </a:extLst>
          </p:cNvPr>
          <p:cNvSpPr/>
          <p:nvPr/>
        </p:nvSpPr>
        <p:spPr bwMode="gray">
          <a:xfrm flipH="1">
            <a:off x="11645639" y="3853560"/>
            <a:ext cx="549537" cy="968632"/>
          </a:xfrm>
          <a:custGeom>
            <a:avLst/>
            <a:gdLst>
              <a:gd name="connsiteX0" fmla="*/ 549394 w 549394"/>
              <a:gd name="connsiteY0" fmla="*/ 0 h 968632"/>
              <a:gd name="connsiteX1" fmla="*/ 546823 w 549394"/>
              <a:gd name="connsiteY1" fmla="*/ 0 h 968632"/>
              <a:gd name="connsiteX2" fmla="*/ 0 w 549394"/>
              <a:gd name="connsiteY2" fmla="*/ 546823 h 968632"/>
              <a:gd name="connsiteX3" fmla="*/ 0 w 549394"/>
              <a:gd name="connsiteY3" fmla="*/ 968632 h 968632"/>
              <a:gd name="connsiteX4" fmla="*/ 549394 w 549394"/>
              <a:gd name="connsiteY4" fmla="*/ 968632 h 968632"/>
              <a:gd name="connsiteX5" fmla="*/ 549394 w 549394"/>
              <a:gd name="connsiteY5" fmla="*/ 0 h 968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9394" h="968632">
                <a:moveTo>
                  <a:pt x="549394" y="0"/>
                </a:moveTo>
                <a:lnTo>
                  <a:pt x="546823" y="0"/>
                </a:lnTo>
                <a:lnTo>
                  <a:pt x="0" y="546823"/>
                </a:lnTo>
                <a:lnTo>
                  <a:pt x="0" y="968632"/>
                </a:lnTo>
                <a:lnTo>
                  <a:pt x="549394" y="968632"/>
                </a:lnTo>
                <a:lnTo>
                  <a:pt x="549394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85" name="Freeform: Shape 784">
            <a:extLst>
              <a:ext uri="{FF2B5EF4-FFF2-40B4-BE49-F238E27FC236}">
                <a16:creationId xmlns:a16="http://schemas.microsoft.com/office/drawing/2014/main" id="{B88F2A3E-8794-4A6F-B8EC-468CF9A9C7CF}"/>
              </a:ext>
            </a:extLst>
          </p:cNvPr>
          <p:cNvSpPr/>
          <p:nvPr/>
        </p:nvSpPr>
        <p:spPr bwMode="gray">
          <a:xfrm flipH="1">
            <a:off x="11645639" y="4823070"/>
            <a:ext cx="549537" cy="971203"/>
          </a:xfrm>
          <a:custGeom>
            <a:avLst/>
            <a:gdLst>
              <a:gd name="connsiteX0" fmla="*/ 549394 w 549394"/>
              <a:gd name="connsiteY0" fmla="*/ 0 h 971203"/>
              <a:gd name="connsiteX1" fmla="*/ 0 w 549394"/>
              <a:gd name="connsiteY1" fmla="*/ 0 h 971203"/>
              <a:gd name="connsiteX2" fmla="*/ 0 w 549394"/>
              <a:gd name="connsiteY2" fmla="*/ 421809 h 971203"/>
              <a:gd name="connsiteX3" fmla="*/ 549394 w 549394"/>
              <a:gd name="connsiteY3" fmla="*/ 971203 h 971203"/>
              <a:gd name="connsiteX4" fmla="*/ 549394 w 549394"/>
              <a:gd name="connsiteY4" fmla="*/ 0 h 971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9394" h="971203">
                <a:moveTo>
                  <a:pt x="549394" y="0"/>
                </a:moveTo>
                <a:lnTo>
                  <a:pt x="0" y="0"/>
                </a:lnTo>
                <a:lnTo>
                  <a:pt x="0" y="421809"/>
                </a:lnTo>
                <a:lnTo>
                  <a:pt x="549394" y="971203"/>
                </a:lnTo>
                <a:lnTo>
                  <a:pt x="549394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84" name="Freeform: Shape 783">
            <a:extLst>
              <a:ext uri="{FF2B5EF4-FFF2-40B4-BE49-F238E27FC236}">
                <a16:creationId xmlns:a16="http://schemas.microsoft.com/office/drawing/2014/main" id="{B08AAEAD-23A2-452F-8325-9F54FD378B43}"/>
              </a:ext>
            </a:extLst>
          </p:cNvPr>
          <p:cNvSpPr/>
          <p:nvPr/>
        </p:nvSpPr>
        <p:spPr bwMode="gray">
          <a:xfrm flipH="1">
            <a:off x="11645638" y="6217164"/>
            <a:ext cx="549538" cy="549395"/>
          </a:xfrm>
          <a:custGeom>
            <a:avLst/>
            <a:gdLst>
              <a:gd name="connsiteX0" fmla="*/ 0 w 549395"/>
              <a:gd name="connsiteY0" fmla="*/ 0 h 549395"/>
              <a:gd name="connsiteX1" fmla="*/ 0 w 549395"/>
              <a:gd name="connsiteY1" fmla="*/ 549395 h 549395"/>
              <a:gd name="connsiteX2" fmla="*/ 549395 w 549395"/>
              <a:gd name="connsiteY2" fmla="*/ 549395 h 549395"/>
              <a:gd name="connsiteX3" fmla="*/ 0 w 549395"/>
              <a:gd name="connsiteY3" fmla="*/ 0 h 549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9395" h="549395">
                <a:moveTo>
                  <a:pt x="0" y="0"/>
                </a:moveTo>
                <a:lnTo>
                  <a:pt x="0" y="549395"/>
                </a:lnTo>
                <a:lnTo>
                  <a:pt x="549395" y="549395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3" name="Right Triangle 722">
            <a:extLst>
              <a:ext uri="{FF2B5EF4-FFF2-40B4-BE49-F238E27FC236}">
                <a16:creationId xmlns:a16="http://schemas.microsoft.com/office/drawing/2014/main" id="{3E22D31F-5380-4036-9107-1B9960149930}"/>
              </a:ext>
            </a:extLst>
          </p:cNvPr>
          <p:cNvSpPr/>
          <p:nvPr/>
        </p:nvSpPr>
        <p:spPr bwMode="gray">
          <a:xfrm>
            <a:off x="10673731" y="5795356"/>
            <a:ext cx="971456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4" name="Right Triangle 723">
            <a:extLst>
              <a:ext uri="{FF2B5EF4-FFF2-40B4-BE49-F238E27FC236}">
                <a16:creationId xmlns:a16="http://schemas.microsoft.com/office/drawing/2014/main" id="{B9E47E7A-CBF3-4332-A2F1-DBDD0013A86B}"/>
              </a:ext>
            </a:extLst>
          </p:cNvPr>
          <p:cNvSpPr/>
          <p:nvPr/>
        </p:nvSpPr>
        <p:spPr bwMode="gray">
          <a:xfrm rot="10800000">
            <a:off x="10673732" y="5795356"/>
            <a:ext cx="971456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5" name="Right Triangle 724">
            <a:extLst>
              <a:ext uri="{FF2B5EF4-FFF2-40B4-BE49-F238E27FC236}">
                <a16:creationId xmlns:a16="http://schemas.microsoft.com/office/drawing/2014/main" id="{46E98528-7204-4F8D-877D-54A607318DF3}"/>
              </a:ext>
            </a:extLst>
          </p:cNvPr>
          <p:cNvSpPr/>
          <p:nvPr/>
        </p:nvSpPr>
        <p:spPr bwMode="gray">
          <a:xfrm flipV="1">
            <a:off x="10673731" y="3850990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6" name="Right Triangle 725">
            <a:extLst>
              <a:ext uri="{FF2B5EF4-FFF2-40B4-BE49-F238E27FC236}">
                <a16:creationId xmlns:a16="http://schemas.microsoft.com/office/drawing/2014/main" id="{D8E6B450-C85D-4039-BF6C-FAA4C9AA3DFD}"/>
              </a:ext>
            </a:extLst>
          </p:cNvPr>
          <p:cNvSpPr/>
          <p:nvPr/>
        </p:nvSpPr>
        <p:spPr bwMode="gray">
          <a:xfrm rot="10800000" flipV="1">
            <a:off x="10673732" y="3850990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7" name="Right Triangle 726">
            <a:extLst>
              <a:ext uri="{FF2B5EF4-FFF2-40B4-BE49-F238E27FC236}">
                <a16:creationId xmlns:a16="http://schemas.microsoft.com/office/drawing/2014/main" id="{4F10CD0C-5955-4F69-BA2B-9F496ADA4C4F}"/>
              </a:ext>
            </a:extLst>
          </p:cNvPr>
          <p:cNvSpPr/>
          <p:nvPr/>
        </p:nvSpPr>
        <p:spPr bwMode="gray">
          <a:xfrm rot="10800000">
            <a:off x="10673732" y="4823070"/>
            <a:ext cx="971456" cy="971203"/>
          </a:xfrm>
          <a:prstGeom prst="rtTriangle">
            <a:avLst/>
          </a:prstGeom>
          <a:solidFill>
            <a:sysClr val="window" lastClr="FFFFFF">
              <a:alpha val="10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8" name="Right Triangle 727">
            <a:extLst>
              <a:ext uri="{FF2B5EF4-FFF2-40B4-BE49-F238E27FC236}">
                <a16:creationId xmlns:a16="http://schemas.microsoft.com/office/drawing/2014/main" id="{272E5C83-ED67-45FE-8643-CE688AB10F22}"/>
              </a:ext>
            </a:extLst>
          </p:cNvPr>
          <p:cNvSpPr/>
          <p:nvPr/>
        </p:nvSpPr>
        <p:spPr bwMode="gray">
          <a:xfrm>
            <a:off x="10673731" y="2882358"/>
            <a:ext cx="971456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9" name="Right Triangle 728">
            <a:extLst>
              <a:ext uri="{FF2B5EF4-FFF2-40B4-BE49-F238E27FC236}">
                <a16:creationId xmlns:a16="http://schemas.microsoft.com/office/drawing/2014/main" id="{F6B1467E-B931-4E40-A0C6-CC1147CC382E}"/>
              </a:ext>
            </a:extLst>
          </p:cNvPr>
          <p:cNvSpPr/>
          <p:nvPr/>
        </p:nvSpPr>
        <p:spPr bwMode="gray">
          <a:xfrm rot="10800000">
            <a:off x="10673731" y="2882358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0" name="Right Triangle 729">
            <a:extLst>
              <a:ext uri="{FF2B5EF4-FFF2-40B4-BE49-F238E27FC236}">
                <a16:creationId xmlns:a16="http://schemas.microsoft.com/office/drawing/2014/main" id="{B188300A-D890-40C0-82A2-6D5C1B3211FB}"/>
              </a:ext>
            </a:extLst>
          </p:cNvPr>
          <p:cNvSpPr/>
          <p:nvPr/>
        </p:nvSpPr>
        <p:spPr bwMode="gray">
          <a:xfrm flipV="1">
            <a:off x="10673731" y="941663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1" name="Right Triangle 730">
            <a:extLst>
              <a:ext uri="{FF2B5EF4-FFF2-40B4-BE49-F238E27FC236}">
                <a16:creationId xmlns:a16="http://schemas.microsoft.com/office/drawing/2014/main" id="{B650832F-3E4C-436F-A241-1885D9DBD00A}"/>
              </a:ext>
            </a:extLst>
          </p:cNvPr>
          <p:cNvSpPr/>
          <p:nvPr/>
        </p:nvSpPr>
        <p:spPr bwMode="gray">
          <a:xfrm>
            <a:off x="10673731" y="1913744"/>
            <a:ext cx="971456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2" name="Right Triangle 731">
            <a:extLst>
              <a:ext uri="{FF2B5EF4-FFF2-40B4-BE49-F238E27FC236}">
                <a16:creationId xmlns:a16="http://schemas.microsoft.com/office/drawing/2014/main" id="{E6BE1D67-5968-40F8-8DFC-636F0BAB83FB}"/>
              </a:ext>
            </a:extLst>
          </p:cNvPr>
          <p:cNvSpPr/>
          <p:nvPr/>
        </p:nvSpPr>
        <p:spPr bwMode="gray">
          <a:xfrm rot="10800000">
            <a:off x="10673731" y="1913744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3" name="Right Triangle 732">
            <a:extLst>
              <a:ext uri="{FF2B5EF4-FFF2-40B4-BE49-F238E27FC236}">
                <a16:creationId xmlns:a16="http://schemas.microsoft.com/office/drawing/2014/main" id="{9BEE8E88-559E-405B-AC1E-936C66C7DE89}"/>
              </a:ext>
            </a:extLst>
          </p:cNvPr>
          <p:cNvSpPr/>
          <p:nvPr/>
        </p:nvSpPr>
        <p:spPr bwMode="gray">
          <a:xfrm>
            <a:off x="10673731" y="-27163"/>
            <a:ext cx="971456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4" name="Right Triangle 733">
            <a:extLst>
              <a:ext uri="{FF2B5EF4-FFF2-40B4-BE49-F238E27FC236}">
                <a16:creationId xmlns:a16="http://schemas.microsoft.com/office/drawing/2014/main" id="{B165E6C6-C6A9-4E1E-8261-1001059E47A8}"/>
              </a:ext>
            </a:extLst>
          </p:cNvPr>
          <p:cNvSpPr/>
          <p:nvPr/>
        </p:nvSpPr>
        <p:spPr bwMode="gray">
          <a:xfrm rot="10800000">
            <a:off x="10673731" y="-22208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7" name="Right Triangle 736">
            <a:extLst>
              <a:ext uri="{FF2B5EF4-FFF2-40B4-BE49-F238E27FC236}">
                <a16:creationId xmlns:a16="http://schemas.microsoft.com/office/drawing/2014/main" id="{0C6887A0-AF09-41E0-B426-CF82BC98B0E8}"/>
              </a:ext>
            </a:extLst>
          </p:cNvPr>
          <p:cNvSpPr/>
          <p:nvPr/>
        </p:nvSpPr>
        <p:spPr bwMode="gray">
          <a:xfrm>
            <a:off x="4847463" y="5795356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8" name="Right Triangle 737">
            <a:extLst>
              <a:ext uri="{FF2B5EF4-FFF2-40B4-BE49-F238E27FC236}">
                <a16:creationId xmlns:a16="http://schemas.microsoft.com/office/drawing/2014/main" id="{A2B1D576-0511-448B-A9F8-017BFA62DCAD}"/>
              </a:ext>
            </a:extLst>
          </p:cNvPr>
          <p:cNvSpPr/>
          <p:nvPr/>
        </p:nvSpPr>
        <p:spPr bwMode="gray">
          <a:xfrm flipV="1">
            <a:off x="4847463" y="3850990"/>
            <a:ext cx="971456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9" name="Right Triangle 738">
            <a:extLst>
              <a:ext uri="{FF2B5EF4-FFF2-40B4-BE49-F238E27FC236}">
                <a16:creationId xmlns:a16="http://schemas.microsoft.com/office/drawing/2014/main" id="{66B18D9F-B012-4FC2-A44F-D8096D86070C}"/>
              </a:ext>
            </a:extLst>
          </p:cNvPr>
          <p:cNvSpPr/>
          <p:nvPr/>
        </p:nvSpPr>
        <p:spPr bwMode="gray">
          <a:xfrm rot="10800000" flipV="1">
            <a:off x="4847464" y="3850990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0" name="Right Triangle 739">
            <a:extLst>
              <a:ext uri="{FF2B5EF4-FFF2-40B4-BE49-F238E27FC236}">
                <a16:creationId xmlns:a16="http://schemas.microsoft.com/office/drawing/2014/main" id="{4C415472-B385-447B-AC0A-59F7EF1F7640}"/>
              </a:ext>
            </a:extLst>
          </p:cNvPr>
          <p:cNvSpPr/>
          <p:nvPr/>
        </p:nvSpPr>
        <p:spPr bwMode="gray">
          <a:xfrm>
            <a:off x="4847463" y="4823070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1" name="Right Triangle 740">
            <a:extLst>
              <a:ext uri="{FF2B5EF4-FFF2-40B4-BE49-F238E27FC236}">
                <a16:creationId xmlns:a16="http://schemas.microsoft.com/office/drawing/2014/main" id="{D618D2F0-5040-4487-9320-BF03512CB652}"/>
              </a:ext>
            </a:extLst>
          </p:cNvPr>
          <p:cNvSpPr/>
          <p:nvPr/>
        </p:nvSpPr>
        <p:spPr bwMode="gray">
          <a:xfrm rot="10800000">
            <a:off x="4847464" y="4823070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2" name="Right Triangle 741">
            <a:extLst>
              <a:ext uri="{FF2B5EF4-FFF2-40B4-BE49-F238E27FC236}">
                <a16:creationId xmlns:a16="http://schemas.microsoft.com/office/drawing/2014/main" id="{13EC3D77-2DA3-4DE4-B637-B6E1E9245641}"/>
              </a:ext>
            </a:extLst>
          </p:cNvPr>
          <p:cNvSpPr/>
          <p:nvPr/>
        </p:nvSpPr>
        <p:spPr bwMode="gray">
          <a:xfrm>
            <a:off x="4847463" y="2882358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3" name="Right Triangle 742">
            <a:extLst>
              <a:ext uri="{FF2B5EF4-FFF2-40B4-BE49-F238E27FC236}">
                <a16:creationId xmlns:a16="http://schemas.microsoft.com/office/drawing/2014/main" id="{22098F0C-2982-4134-A5D2-3A88C1AD8653}"/>
              </a:ext>
            </a:extLst>
          </p:cNvPr>
          <p:cNvSpPr/>
          <p:nvPr/>
        </p:nvSpPr>
        <p:spPr bwMode="gray">
          <a:xfrm rot="10800000">
            <a:off x="4847464" y="2882358"/>
            <a:ext cx="971456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4" name="Right Triangle 743">
            <a:extLst>
              <a:ext uri="{FF2B5EF4-FFF2-40B4-BE49-F238E27FC236}">
                <a16:creationId xmlns:a16="http://schemas.microsoft.com/office/drawing/2014/main" id="{CE367989-B41E-4AC6-B6A6-5E304F9566FE}"/>
              </a:ext>
            </a:extLst>
          </p:cNvPr>
          <p:cNvSpPr/>
          <p:nvPr/>
        </p:nvSpPr>
        <p:spPr bwMode="gray">
          <a:xfrm flipV="1">
            <a:off x="4847463" y="941663"/>
            <a:ext cx="971456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5" name="Right Triangle 744">
            <a:extLst>
              <a:ext uri="{FF2B5EF4-FFF2-40B4-BE49-F238E27FC236}">
                <a16:creationId xmlns:a16="http://schemas.microsoft.com/office/drawing/2014/main" id="{CA89A69F-22F4-4B64-9236-CF8BC7181072}"/>
              </a:ext>
            </a:extLst>
          </p:cNvPr>
          <p:cNvSpPr/>
          <p:nvPr/>
        </p:nvSpPr>
        <p:spPr bwMode="gray">
          <a:xfrm rot="10800000" flipV="1">
            <a:off x="4847464" y="941663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6" name="Right Triangle 745">
            <a:extLst>
              <a:ext uri="{FF2B5EF4-FFF2-40B4-BE49-F238E27FC236}">
                <a16:creationId xmlns:a16="http://schemas.microsoft.com/office/drawing/2014/main" id="{2CBB5DB4-6118-4872-9054-2F5A896E1FFC}"/>
              </a:ext>
            </a:extLst>
          </p:cNvPr>
          <p:cNvSpPr/>
          <p:nvPr/>
        </p:nvSpPr>
        <p:spPr bwMode="gray">
          <a:xfrm>
            <a:off x="4847463" y="1906999"/>
            <a:ext cx="971456" cy="971203"/>
          </a:xfrm>
          <a:prstGeom prst="rtTriangle">
            <a:avLst/>
          </a:prstGeom>
          <a:solidFill>
            <a:sysClr val="window" lastClr="FFFFFF">
              <a:alpha val="7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7" name="Right Triangle 746">
            <a:extLst>
              <a:ext uri="{FF2B5EF4-FFF2-40B4-BE49-F238E27FC236}">
                <a16:creationId xmlns:a16="http://schemas.microsoft.com/office/drawing/2014/main" id="{4E35E85A-DD92-4A15-AE9E-1039AF4B06AD}"/>
              </a:ext>
            </a:extLst>
          </p:cNvPr>
          <p:cNvSpPr/>
          <p:nvPr/>
        </p:nvSpPr>
        <p:spPr bwMode="gray">
          <a:xfrm rot="10800000">
            <a:off x="4847464" y="1913744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8" name="Right Triangle 747">
            <a:extLst>
              <a:ext uri="{FF2B5EF4-FFF2-40B4-BE49-F238E27FC236}">
                <a16:creationId xmlns:a16="http://schemas.microsoft.com/office/drawing/2014/main" id="{E3FBAB74-79E7-4890-B1D2-5DD21B297B7D}"/>
              </a:ext>
            </a:extLst>
          </p:cNvPr>
          <p:cNvSpPr/>
          <p:nvPr/>
        </p:nvSpPr>
        <p:spPr bwMode="gray">
          <a:xfrm>
            <a:off x="4847463" y="-27163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9" name="Right Triangle 748">
            <a:extLst>
              <a:ext uri="{FF2B5EF4-FFF2-40B4-BE49-F238E27FC236}">
                <a16:creationId xmlns:a16="http://schemas.microsoft.com/office/drawing/2014/main" id="{4061B251-6E80-4362-89D2-7324515AC2B4}"/>
              </a:ext>
            </a:extLst>
          </p:cNvPr>
          <p:cNvSpPr/>
          <p:nvPr/>
        </p:nvSpPr>
        <p:spPr bwMode="gray">
          <a:xfrm rot="10800000">
            <a:off x="4847464" y="-22208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1" name="Right Triangle 750">
            <a:extLst>
              <a:ext uri="{FF2B5EF4-FFF2-40B4-BE49-F238E27FC236}">
                <a16:creationId xmlns:a16="http://schemas.microsoft.com/office/drawing/2014/main" id="{81605547-D2F9-4FED-8C34-F1FE73878546}"/>
              </a:ext>
            </a:extLst>
          </p:cNvPr>
          <p:cNvSpPr/>
          <p:nvPr/>
        </p:nvSpPr>
        <p:spPr bwMode="gray">
          <a:xfrm flipH="1">
            <a:off x="5815875" y="5795356"/>
            <a:ext cx="971456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2" name="Right Triangle 751">
            <a:extLst>
              <a:ext uri="{FF2B5EF4-FFF2-40B4-BE49-F238E27FC236}">
                <a16:creationId xmlns:a16="http://schemas.microsoft.com/office/drawing/2014/main" id="{1DD05993-48BF-4BF0-A9C2-AC47240F4908}"/>
              </a:ext>
            </a:extLst>
          </p:cNvPr>
          <p:cNvSpPr/>
          <p:nvPr/>
        </p:nvSpPr>
        <p:spPr bwMode="gray">
          <a:xfrm rot="10800000" flipH="1">
            <a:off x="5815875" y="5795356"/>
            <a:ext cx="971456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3" name="Right Triangle 752">
            <a:extLst>
              <a:ext uri="{FF2B5EF4-FFF2-40B4-BE49-F238E27FC236}">
                <a16:creationId xmlns:a16="http://schemas.microsoft.com/office/drawing/2014/main" id="{AFAA0356-99BA-4C4D-AE54-6D41F5F6342C}"/>
              </a:ext>
            </a:extLst>
          </p:cNvPr>
          <p:cNvSpPr/>
          <p:nvPr/>
        </p:nvSpPr>
        <p:spPr bwMode="gray">
          <a:xfrm flipH="1" flipV="1">
            <a:off x="5815875" y="3850990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4" name="Right Triangle 753">
            <a:extLst>
              <a:ext uri="{FF2B5EF4-FFF2-40B4-BE49-F238E27FC236}">
                <a16:creationId xmlns:a16="http://schemas.microsoft.com/office/drawing/2014/main" id="{FEB49CD0-624F-4EFF-BB66-50522379056E}"/>
              </a:ext>
            </a:extLst>
          </p:cNvPr>
          <p:cNvSpPr/>
          <p:nvPr/>
        </p:nvSpPr>
        <p:spPr bwMode="gray">
          <a:xfrm rot="10800000" flipH="1">
            <a:off x="5815875" y="4823070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5" name="Right Triangle 754">
            <a:extLst>
              <a:ext uri="{FF2B5EF4-FFF2-40B4-BE49-F238E27FC236}">
                <a16:creationId xmlns:a16="http://schemas.microsoft.com/office/drawing/2014/main" id="{ABB47E31-296D-449A-9434-91EB835C1BDC}"/>
              </a:ext>
            </a:extLst>
          </p:cNvPr>
          <p:cNvSpPr/>
          <p:nvPr/>
        </p:nvSpPr>
        <p:spPr bwMode="gray">
          <a:xfrm flipH="1">
            <a:off x="5815875" y="2882358"/>
            <a:ext cx="971456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6" name="Right Triangle 755">
            <a:extLst>
              <a:ext uri="{FF2B5EF4-FFF2-40B4-BE49-F238E27FC236}">
                <a16:creationId xmlns:a16="http://schemas.microsoft.com/office/drawing/2014/main" id="{784EA560-CDD0-4FE9-99D1-F442AAEAAA07}"/>
              </a:ext>
            </a:extLst>
          </p:cNvPr>
          <p:cNvSpPr/>
          <p:nvPr/>
        </p:nvSpPr>
        <p:spPr bwMode="gray">
          <a:xfrm rot="10800000" flipH="1">
            <a:off x="5815875" y="2882358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7" name="Right Triangle 756">
            <a:extLst>
              <a:ext uri="{FF2B5EF4-FFF2-40B4-BE49-F238E27FC236}">
                <a16:creationId xmlns:a16="http://schemas.microsoft.com/office/drawing/2014/main" id="{CA1EEF65-B6C8-492C-8986-AA06DD0ECF0F}"/>
              </a:ext>
            </a:extLst>
          </p:cNvPr>
          <p:cNvSpPr/>
          <p:nvPr/>
        </p:nvSpPr>
        <p:spPr bwMode="gray">
          <a:xfrm flipH="1" flipV="1">
            <a:off x="5815875" y="941663"/>
            <a:ext cx="971456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8" name="Right Triangle 757">
            <a:extLst>
              <a:ext uri="{FF2B5EF4-FFF2-40B4-BE49-F238E27FC236}">
                <a16:creationId xmlns:a16="http://schemas.microsoft.com/office/drawing/2014/main" id="{C9A9CF9C-19E8-404A-B473-E5BE50486F39}"/>
              </a:ext>
            </a:extLst>
          </p:cNvPr>
          <p:cNvSpPr/>
          <p:nvPr/>
        </p:nvSpPr>
        <p:spPr bwMode="gray">
          <a:xfrm flipH="1">
            <a:off x="5815875" y="1913744"/>
            <a:ext cx="971456" cy="971203"/>
          </a:xfrm>
          <a:prstGeom prst="rtTriangle">
            <a:avLst/>
          </a:prstGeom>
          <a:solidFill>
            <a:sysClr val="window" lastClr="FFFFFF">
              <a:alpha val="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9" name="Right Triangle 758">
            <a:extLst>
              <a:ext uri="{FF2B5EF4-FFF2-40B4-BE49-F238E27FC236}">
                <a16:creationId xmlns:a16="http://schemas.microsoft.com/office/drawing/2014/main" id="{16B57B36-B749-411E-8280-ED23ACD33E7B}"/>
              </a:ext>
            </a:extLst>
          </p:cNvPr>
          <p:cNvSpPr/>
          <p:nvPr/>
        </p:nvSpPr>
        <p:spPr bwMode="gray">
          <a:xfrm rot="10800000" flipH="1">
            <a:off x="5815876" y="1913744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0" name="Right Triangle 759">
            <a:extLst>
              <a:ext uri="{FF2B5EF4-FFF2-40B4-BE49-F238E27FC236}">
                <a16:creationId xmlns:a16="http://schemas.microsoft.com/office/drawing/2014/main" id="{6D770A62-A527-4B7D-BB9D-B46CACB9F370}"/>
              </a:ext>
            </a:extLst>
          </p:cNvPr>
          <p:cNvSpPr/>
          <p:nvPr/>
        </p:nvSpPr>
        <p:spPr bwMode="gray">
          <a:xfrm flipH="1">
            <a:off x="5815875" y="-27163"/>
            <a:ext cx="971456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1" name="Right Triangle 760">
            <a:extLst>
              <a:ext uri="{FF2B5EF4-FFF2-40B4-BE49-F238E27FC236}">
                <a16:creationId xmlns:a16="http://schemas.microsoft.com/office/drawing/2014/main" id="{B15B1A1A-39C0-4529-A83A-437B5EEA4CD0}"/>
              </a:ext>
            </a:extLst>
          </p:cNvPr>
          <p:cNvSpPr/>
          <p:nvPr/>
        </p:nvSpPr>
        <p:spPr bwMode="gray">
          <a:xfrm rot="10800000" flipH="1">
            <a:off x="5815875" y="-22208"/>
            <a:ext cx="971456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5" name="Right Triangle 564">
            <a:extLst>
              <a:ext uri="{FF2B5EF4-FFF2-40B4-BE49-F238E27FC236}">
                <a16:creationId xmlns:a16="http://schemas.microsoft.com/office/drawing/2014/main" id="{5A4E746D-3C3B-4D53-959F-C836AF227DE2}"/>
              </a:ext>
            </a:extLst>
          </p:cNvPr>
          <p:cNvSpPr/>
          <p:nvPr/>
        </p:nvSpPr>
        <p:spPr bwMode="gray">
          <a:xfrm>
            <a:off x="6787454" y="5795356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6" name="Right Triangle 565">
            <a:extLst>
              <a:ext uri="{FF2B5EF4-FFF2-40B4-BE49-F238E27FC236}">
                <a16:creationId xmlns:a16="http://schemas.microsoft.com/office/drawing/2014/main" id="{8C99A34E-1530-4A70-BEA6-13365FBFCF62}"/>
              </a:ext>
            </a:extLst>
          </p:cNvPr>
          <p:cNvSpPr/>
          <p:nvPr/>
        </p:nvSpPr>
        <p:spPr bwMode="gray">
          <a:xfrm rot="10800000">
            <a:off x="6787454" y="5795356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7" name="Right Triangle 566">
            <a:extLst>
              <a:ext uri="{FF2B5EF4-FFF2-40B4-BE49-F238E27FC236}">
                <a16:creationId xmlns:a16="http://schemas.microsoft.com/office/drawing/2014/main" id="{6C86787E-4B1E-4795-8F01-302C1EAA7C5E}"/>
              </a:ext>
            </a:extLst>
          </p:cNvPr>
          <p:cNvSpPr/>
          <p:nvPr/>
        </p:nvSpPr>
        <p:spPr bwMode="gray">
          <a:xfrm flipV="1">
            <a:off x="6787454" y="3850990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8" name="Right Triangle 567">
            <a:extLst>
              <a:ext uri="{FF2B5EF4-FFF2-40B4-BE49-F238E27FC236}">
                <a16:creationId xmlns:a16="http://schemas.microsoft.com/office/drawing/2014/main" id="{0557DA40-0B50-4571-ADB7-E92D5ED30F3C}"/>
              </a:ext>
            </a:extLst>
          </p:cNvPr>
          <p:cNvSpPr/>
          <p:nvPr/>
        </p:nvSpPr>
        <p:spPr bwMode="gray">
          <a:xfrm>
            <a:off x="6787454" y="4823070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9" name="Right Triangle 568">
            <a:extLst>
              <a:ext uri="{FF2B5EF4-FFF2-40B4-BE49-F238E27FC236}">
                <a16:creationId xmlns:a16="http://schemas.microsoft.com/office/drawing/2014/main" id="{4BAB721F-0FF5-4B2B-AEE5-E236A274AAA8}"/>
              </a:ext>
            </a:extLst>
          </p:cNvPr>
          <p:cNvSpPr/>
          <p:nvPr/>
        </p:nvSpPr>
        <p:spPr bwMode="gray">
          <a:xfrm rot="10800000">
            <a:off x="6787454" y="4823070"/>
            <a:ext cx="971456" cy="971203"/>
          </a:xfrm>
          <a:prstGeom prst="rtTriangle">
            <a:avLst/>
          </a:prstGeom>
          <a:solidFill>
            <a:sysClr val="window" lastClr="FFFFFF">
              <a:alpha val="10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0" name="Right Triangle 569">
            <a:extLst>
              <a:ext uri="{FF2B5EF4-FFF2-40B4-BE49-F238E27FC236}">
                <a16:creationId xmlns:a16="http://schemas.microsoft.com/office/drawing/2014/main" id="{5FCB2851-552E-4894-923D-149F0F822D81}"/>
              </a:ext>
            </a:extLst>
          </p:cNvPr>
          <p:cNvSpPr/>
          <p:nvPr/>
        </p:nvSpPr>
        <p:spPr bwMode="gray">
          <a:xfrm>
            <a:off x="6787454" y="2882358"/>
            <a:ext cx="971456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1" name="Right Triangle 570">
            <a:extLst>
              <a:ext uri="{FF2B5EF4-FFF2-40B4-BE49-F238E27FC236}">
                <a16:creationId xmlns:a16="http://schemas.microsoft.com/office/drawing/2014/main" id="{C07F9D48-01DA-475D-A1E1-D985899851A9}"/>
              </a:ext>
            </a:extLst>
          </p:cNvPr>
          <p:cNvSpPr/>
          <p:nvPr/>
        </p:nvSpPr>
        <p:spPr bwMode="gray">
          <a:xfrm flipV="1">
            <a:off x="6787454" y="941663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2" name="Right Triangle 571">
            <a:extLst>
              <a:ext uri="{FF2B5EF4-FFF2-40B4-BE49-F238E27FC236}">
                <a16:creationId xmlns:a16="http://schemas.microsoft.com/office/drawing/2014/main" id="{5F7940E6-B49A-4E60-80BF-DDE5F67A6B36}"/>
              </a:ext>
            </a:extLst>
          </p:cNvPr>
          <p:cNvSpPr/>
          <p:nvPr/>
        </p:nvSpPr>
        <p:spPr bwMode="gray">
          <a:xfrm>
            <a:off x="6787454" y="1913744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3" name="Right Triangle 572">
            <a:extLst>
              <a:ext uri="{FF2B5EF4-FFF2-40B4-BE49-F238E27FC236}">
                <a16:creationId xmlns:a16="http://schemas.microsoft.com/office/drawing/2014/main" id="{3A51084D-A503-43F3-8B18-24A6F76FFCCF}"/>
              </a:ext>
            </a:extLst>
          </p:cNvPr>
          <p:cNvSpPr/>
          <p:nvPr/>
        </p:nvSpPr>
        <p:spPr bwMode="gray">
          <a:xfrm rot="10800000">
            <a:off x="6787455" y="1913744"/>
            <a:ext cx="971456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4" name="Right Triangle 573">
            <a:extLst>
              <a:ext uri="{FF2B5EF4-FFF2-40B4-BE49-F238E27FC236}">
                <a16:creationId xmlns:a16="http://schemas.microsoft.com/office/drawing/2014/main" id="{C829B06F-934B-4B81-8FEA-32B7C2215111}"/>
              </a:ext>
            </a:extLst>
          </p:cNvPr>
          <p:cNvSpPr/>
          <p:nvPr/>
        </p:nvSpPr>
        <p:spPr bwMode="gray">
          <a:xfrm>
            <a:off x="6787454" y="-27163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5" name="Right Triangle 574">
            <a:extLst>
              <a:ext uri="{FF2B5EF4-FFF2-40B4-BE49-F238E27FC236}">
                <a16:creationId xmlns:a16="http://schemas.microsoft.com/office/drawing/2014/main" id="{7E1BDC98-52A0-4FD1-8421-75555F93D09B}"/>
              </a:ext>
            </a:extLst>
          </p:cNvPr>
          <p:cNvSpPr/>
          <p:nvPr/>
        </p:nvSpPr>
        <p:spPr bwMode="gray">
          <a:xfrm rot="10800000">
            <a:off x="6787454" y="-22208"/>
            <a:ext cx="971456" cy="971203"/>
          </a:xfrm>
          <a:prstGeom prst="rtTriangle">
            <a:avLst/>
          </a:prstGeom>
          <a:solidFill>
            <a:sysClr val="window" lastClr="FFFFFF">
              <a:alpha val="1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7" name="Right Triangle 576">
            <a:extLst>
              <a:ext uri="{FF2B5EF4-FFF2-40B4-BE49-F238E27FC236}">
                <a16:creationId xmlns:a16="http://schemas.microsoft.com/office/drawing/2014/main" id="{ACC2949E-3286-486B-8D95-976F7FBB128F}"/>
              </a:ext>
            </a:extLst>
          </p:cNvPr>
          <p:cNvSpPr/>
          <p:nvPr/>
        </p:nvSpPr>
        <p:spPr bwMode="gray">
          <a:xfrm flipH="1">
            <a:off x="7758910" y="5795356"/>
            <a:ext cx="971456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8" name="Right Triangle 577">
            <a:extLst>
              <a:ext uri="{FF2B5EF4-FFF2-40B4-BE49-F238E27FC236}">
                <a16:creationId xmlns:a16="http://schemas.microsoft.com/office/drawing/2014/main" id="{F5C5469C-7098-4CB6-B030-6646E4D1375B}"/>
              </a:ext>
            </a:extLst>
          </p:cNvPr>
          <p:cNvSpPr/>
          <p:nvPr/>
        </p:nvSpPr>
        <p:spPr bwMode="gray">
          <a:xfrm flipH="1" flipV="1">
            <a:off x="7758910" y="3850990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9" name="Right Triangle 578">
            <a:extLst>
              <a:ext uri="{FF2B5EF4-FFF2-40B4-BE49-F238E27FC236}">
                <a16:creationId xmlns:a16="http://schemas.microsoft.com/office/drawing/2014/main" id="{5A8390C4-7D9D-46DB-91DF-DBD8210FE02A}"/>
              </a:ext>
            </a:extLst>
          </p:cNvPr>
          <p:cNvSpPr/>
          <p:nvPr/>
        </p:nvSpPr>
        <p:spPr bwMode="gray">
          <a:xfrm rot="10800000" flipH="1" flipV="1">
            <a:off x="7758911" y="3850990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0" name="Right Triangle 579">
            <a:extLst>
              <a:ext uri="{FF2B5EF4-FFF2-40B4-BE49-F238E27FC236}">
                <a16:creationId xmlns:a16="http://schemas.microsoft.com/office/drawing/2014/main" id="{9BE8B15B-B597-415C-A142-DF74AF30D270}"/>
              </a:ext>
            </a:extLst>
          </p:cNvPr>
          <p:cNvSpPr/>
          <p:nvPr/>
        </p:nvSpPr>
        <p:spPr bwMode="gray">
          <a:xfrm flipH="1">
            <a:off x="7758910" y="4823070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1" name="Right Triangle 580">
            <a:extLst>
              <a:ext uri="{FF2B5EF4-FFF2-40B4-BE49-F238E27FC236}">
                <a16:creationId xmlns:a16="http://schemas.microsoft.com/office/drawing/2014/main" id="{014BFE1E-1C83-488E-AB5A-C86F60E83A3C}"/>
              </a:ext>
            </a:extLst>
          </p:cNvPr>
          <p:cNvSpPr/>
          <p:nvPr/>
        </p:nvSpPr>
        <p:spPr bwMode="gray">
          <a:xfrm flipH="1">
            <a:off x="7758910" y="2882358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2" name="Right Triangle 581">
            <a:extLst>
              <a:ext uri="{FF2B5EF4-FFF2-40B4-BE49-F238E27FC236}">
                <a16:creationId xmlns:a16="http://schemas.microsoft.com/office/drawing/2014/main" id="{B645A53D-B562-4695-8BE3-743EC71DCD51}"/>
              </a:ext>
            </a:extLst>
          </p:cNvPr>
          <p:cNvSpPr/>
          <p:nvPr/>
        </p:nvSpPr>
        <p:spPr bwMode="gray">
          <a:xfrm rot="10800000" flipH="1">
            <a:off x="7758911" y="2882358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3" name="Right Triangle 582">
            <a:extLst>
              <a:ext uri="{FF2B5EF4-FFF2-40B4-BE49-F238E27FC236}">
                <a16:creationId xmlns:a16="http://schemas.microsoft.com/office/drawing/2014/main" id="{26B694A6-38A4-4A66-B185-881741507569}"/>
              </a:ext>
            </a:extLst>
          </p:cNvPr>
          <p:cNvSpPr/>
          <p:nvPr/>
        </p:nvSpPr>
        <p:spPr bwMode="gray">
          <a:xfrm flipH="1" flipV="1">
            <a:off x="7758910" y="941663"/>
            <a:ext cx="971456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4" name="Right Triangle 583">
            <a:extLst>
              <a:ext uri="{FF2B5EF4-FFF2-40B4-BE49-F238E27FC236}">
                <a16:creationId xmlns:a16="http://schemas.microsoft.com/office/drawing/2014/main" id="{19790F5C-E85E-4C2A-9603-F6D7F4DB5048}"/>
              </a:ext>
            </a:extLst>
          </p:cNvPr>
          <p:cNvSpPr/>
          <p:nvPr/>
        </p:nvSpPr>
        <p:spPr bwMode="gray">
          <a:xfrm rot="10800000" flipH="1" flipV="1">
            <a:off x="7758910" y="941664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5" name="Right Triangle 584">
            <a:extLst>
              <a:ext uri="{FF2B5EF4-FFF2-40B4-BE49-F238E27FC236}">
                <a16:creationId xmlns:a16="http://schemas.microsoft.com/office/drawing/2014/main" id="{FDA733CF-B68A-4988-A22A-19CA08EEC040}"/>
              </a:ext>
            </a:extLst>
          </p:cNvPr>
          <p:cNvSpPr/>
          <p:nvPr/>
        </p:nvSpPr>
        <p:spPr bwMode="gray">
          <a:xfrm flipH="1">
            <a:off x="7758910" y="1913744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6" name="Right Triangle 585">
            <a:extLst>
              <a:ext uri="{FF2B5EF4-FFF2-40B4-BE49-F238E27FC236}">
                <a16:creationId xmlns:a16="http://schemas.microsoft.com/office/drawing/2014/main" id="{863AEBA4-A4D5-483D-9761-26EDD8E2A3FF}"/>
              </a:ext>
            </a:extLst>
          </p:cNvPr>
          <p:cNvSpPr/>
          <p:nvPr/>
        </p:nvSpPr>
        <p:spPr bwMode="gray">
          <a:xfrm rot="10800000" flipH="1">
            <a:off x="7758911" y="1913744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7" name="Right Triangle 586">
            <a:extLst>
              <a:ext uri="{FF2B5EF4-FFF2-40B4-BE49-F238E27FC236}">
                <a16:creationId xmlns:a16="http://schemas.microsoft.com/office/drawing/2014/main" id="{969145DD-B3E4-41B3-8A07-3897749C603F}"/>
              </a:ext>
            </a:extLst>
          </p:cNvPr>
          <p:cNvSpPr/>
          <p:nvPr/>
        </p:nvSpPr>
        <p:spPr bwMode="gray">
          <a:xfrm flipH="1">
            <a:off x="7758910" y="-27163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8" name="Right Triangle 587">
            <a:extLst>
              <a:ext uri="{FF2B5EF4-FFF2-40B4-BE49-F238E27FC236}">
                <a16:creationId xmlns:a16="http://schemas.microsoft.com/office/drawing/2014/main" id="{2F2E4CE1-A94F-469A-9822-1A2BAC9250D2}"/>
              </a:ext>
            </a:extLst>
          </p:cNvPr>
          <p:cNvSpPr/>
          <p:nvPr/>
        </p:nvSpPr>
        <p:spPr bwMode="gray">
          <a:xfrm rot="10800000" flipH="1">
            <a:off x="7758910" y="-22208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0" name="Right Triangle 589">
            <a:extLst>
              <a:ext uri="{FF2B5EF4-FFF2-40B4-BE49-F238E27FC236}">
                <a16:creationId xmlns:a16="http://schemas.microsoft.com/office/drawing/2014/main" id="{3D349ECB-4D4E-4674-89A7-3371E74A6B88}"/>
              </a:ext>
            </a:extLst>
          </p:cNvPr>
          <p:cNvSpPr/>
          <p:nvPr/>
        </p:nvSpPr>
        <p:spPr bwMode="gray">
          <a:xfrm>
            <a:off x="8730365" y="5795356"/>
            <a:ext cx="971456" cy="971203"/>
          </a:xfrm>
          <a:prstGeom prst="rtTriangle">
            <a:avLst/>
          </a:prstGeom>
          <a:solidFill>
            <a:sysClr val="window" lastClr="FFFFFF">
              <a:alpha val="10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1" name="Right Triangle 590">
            <a:extLst>
              <a:ext uri="{FF2B5EF4-FFF2-40B4-BE49-F238E27FC236}">
                <a16:creationId xmlns:a16="http://schemas.microsoft.com/office/drawing/2014/main" id="{38A51940-A5AB-4D31-88AA-13A45187A635}"/>
              </a:ext>
            </a:extLst>
          </p:cNvPr>
          <p:cNvSpPr/>
          <p:nvPr/>
        </p:nvSpPr>
        <p:spPr bwMode="gray">
          <a:xfrm rot="10800000">
            <a:off x="8730365" y="5795356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2" name="Right Triangle 591">
            <a:extLst>
              <a:ext uri="{FF2B5EF4-FFF2-40B4-BE49-F238E27FC236}">
                <a16:creationId xmlns:a16="http://schemas.microsoft.com/office/drawing/2014/main" id="{3F8D1F62-2A9C-441E-B6D5-05E44562485B}"/>
              </a:ext>
            </a:extLst>
          </p:cNvPr>
          <p:cNvSpPr/>
          <p:nvPr/>
        </p:nvSpPr>
        <p:spPr bwMode="gray">
          <a:xfrm flipV="1">
            <a:off x="8730365" y="3850990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3" name="Right Triangle 592">
            <a:extLst>
              <a:ext uri="{FF2B5EF4-FFF2-40B4-BE49-F238E27FC236}">
                <a16:creationId xmlns:a16="http://schemas.microsoft.com/office/drawing/2014/main" id="{114C1A95-27CA-4FFE-B58E-B536C9EDF6AD}"/>
              </a:ext>
            </a:extLst>
          </p:cNvPr>
          <p:cNvSpPr/>
          <p:nvPr/>
        </p:nvSpPr>
        <p:spPr bwMode="gray">
          <a:xfrm>
            <a:off x="8730365" y="4823070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4" name="Right Triangle 593">
            <a:extLst>
              <a:ext uri="{FF2B5EF4-FFF2-40B4-BE49-F238E27FC236}">
                <a16:creationId xmlns:a16="http://schemas.microsoft.com/office/drawing/2014/main" id="{D6FD7AED-8728-49AC-94C2-C029A2F9638E}"/>
              </a:ext>
            </a:extLst>
          </p:cNvPr>
          <p:cNvSpPr/>
          <p:nvPr/>
        </p:nvSpPr>
        <p:spPr bwMode="gray">
          <a:xfrm rot="10800000">
            <a:off x="8730366" y="4823070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5" name="Right Triangle 594">
            <a:extLst>
              <a:ext uri="{FF2B5EF4-FFF2-40B4-BE49-F238E27FC236}">
                <a16:creationId xmlns:a16="http://schemas.microsoft.com/office/drawing/2014/main" id="{0606A9DF-ACC9-4A4C-B675-12B943DC9FCB}"/>
              </a:ext>
            </a:extLst>
          </p:cNvPr>
          <p:cNvSpPr/>
          <p:nvPr/>
        </p:nvSpPr>
        <p:spPr bwMode="gray">
          <a:xfrm>
            <a:off x="8730365" y="2882358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6" name="Right Triangle 595">
            <a:extLst>
              <a:ext uri="{FF2B5EF4-FFF2-40B4-BE49-F238E27FC236}">
                <a16:creationId xmlns:a16="http://schemas.microsoft.com/office/drawing/2014/main" id="{7088B477-E571-4EC6-9B97-7EBBE23A71CA}"/>
              </a:ext>
            </a:extLst>
          </p:cNvPr>
          <p:cNvSpPr/>
          <p:nvPr/>
        </p:nvSpPr>
        <p:spPr bwMode="gray">
          <a:xfrm rot="10800000">
            <a:off x="8730365" y="2882358"/>
            <a:ext cx="971456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7" name="Right Triangle 596">
            <a:extLst>
              <a:ext uri="{FF2B5EF4-FFF2-40B4-BE49-F238E27FC236}">
                <a16:creationId xmlns:a16="http://schemas.microsoft.com/office/drawing/2014/main" id="{FF332D33-D87E-48D6-81F9-B58461D0FAC0}"/>
              </a:ext>
            </a:extLst>
          </p:cNvPr>
          <p:cNvSpPr/>
          <p:nvPr/>
        </p:nvSpPr>
        <p:spPr bwMode="gray">
          <a:xfrm flipV="1">
            <a:off x="8730365" y="941663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8" name="Right Triangle 597">
            <a:extLst>
              <a:ext uri="{FF2B5EF4-FFF2-40B4-BE49-F238E27FC236}">
                <a16:creationId xmlns:a16="http://schemas.microsoft.com/office/drawing/2014/main" id="{10A4BEDF-822E-493D-8C68-D93DC3A59A95}"/>
              </a:ext>
            </a:extLst>
          </p:cNvPr>
          <p:cNvSpPr/>
          <p:nvPr/>
        </p:nvSpPr>
        <p:spPr bwMode="gray">
          <a:xfrm rot="10800000">
            <a:off x="8730365" y="1913744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9" name="Right Triangle 598">
            <a:extLst>
              <a:ext uri="{FF2B5EF4-FFF2-40B4-BE49-F238E27FC236}">
                <a16:creationId xmlns:a16="http://schemas.microsoft.com/office/drawing/2014/main" id="{721158A8-0A83-4839-AFE5-A2FB46C65CD2}"/>
              </a:ext>
            </a:extLst>
          </p:cNvPr>
          <p:cNvSpPr/>
          <p:nvPr/>
        </p:nvSpPr>
        <p:spPr bwMode="gray">
          <a:xfrm>
            <a:off x="8730365" y="-27163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0" name="Right Triangle 599">
            <a:extLst>
              <a:ext uri="{FF2B5EF4-FFF2-40B4-BE49-F238E27FC236}">
                <a16:creationId xmlns:a16="http://schemas.microsoft.com/office/drawing/2014/main" id="{FCFF0ED6-8CEE-4916-94EA-58287DA44637}"/>
              </a:ext>
            </a:extLst>
          </p:cNvPr>
          <p:cNvSpPr/>
          <p:nvPr/>
        </p:nvSpPr>
        <p:spPr bwMode="gray">
          <a:xfrm rot="10800000">
            <a:off x="8730365" y="-22208"/>
            <a:ext cx="971456" cy="971203"/>
          </a:xfrm>
          <a:prstGeom prst="rtTriangle">
            <a:avLst/>
          </a:prstGeom>
          <a:solidFill>
            <a:sysClr val="window" lastClr="FFFFFF">
              <a:alpha val="1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2" name="Right Triangle 601">
            <a:extLst>
              <a:ext uri="{FF2B5EF4-FFF2-40B4-BE49-F238E27FC236}">
                <a16:creationId xmlns:a16="http://schemas.microsoft.com/office/drawing/2014/main" id="{D4A3D2C0-19E0-484B-A18A-7CF98583F1DA}"/>
              </a:ext>
            </a:extLst>
          </p:cNvPr>
          <p:cNvSpPr/>
          <p:nvPr/>
        </p:nvSpPr>
        <p:spPr bwMode="gray">
          <a:xfrm flipH="1">
            <a:off x="9701822" y="5795356"/>
            <a:ext cx="971456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3" name="Right Triangle 602">
            <a:extLst>
              <a:ext uri="{FF2B5EF4-FFF2-40B4-BE49-F238E27FC236}">
                <a16:creationId xmlns:a16="http://schemas.microsoft.com/office/drawing/2014/main" id="{3DF88E98-26D2-4302-A744-DDA542D17B20}"/>
              </a:ext>
            </a:extLst>
          </p:cNvPr>
          <p:cNvSpPr/>
          <p:nvPr/>
        </p:nvSpPr>
        <p:spPr bwMode="gray">
          <a:xfrm rot="10800000" flipH="1">
            <a:off x="9701823" y="5795356"/>
            <a:ext cx="971456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4" name="Right Triangle 603">
            <a:extLst>
              <a:ext uri="{FF2B5EF4-FFF2-40B4-BE49-F238E27FC236}">
                <a16:creationId xmlns:a16="http://schemas.microsoft.com/office/drawing/2014/main" id="{93C48F64-3482-4BDB-A108-68D4378FEBEB}"/>
              </a:ext>
            </a:extLst>
          </p:cNvPr>
          <p:cNvSpPr/>
          <p:nvPr/>
        </p:nvSpPr>
        <p:spPr bwMode="gray">
          <a:xfrm flipH="1" flipV="1">
            <a:off x="9701822" y="3850990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5" name="Right Triangle 604">
            <a:extLst>
              <a:ext uri="{FF2B5EF4-FFF2-40B4-BE49-F238E27FC236}">
                <a16:creationId xmlns:a16="http://schemas.microsoft.com/office/drawing/2014/main" id="{ABB07820-1CE7-42A8-9BBE-63EDD698AB21}"/>
              </a:ext>
            </a:extLst>
          </p:cNvPr>
          <p:cNvSpPr/>
          <p:nvPr/>
        </p:nvSpPr>
        <p:spPr bwMode="gray">
          <a:xfrm rot="10800000" flipH="1" flipV="1">
            <a:off x="9701823" y="3850990"/>
            <a:ext cx="971456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6" name="Right Triangle 605">
            <a:extLst>
              <a:ext uri="{FF2B5EF4-FFF2-40B4-BE49-F238E27FC236}">
                <a16:creationId xmlns:a16="http://schemas.microsoft.com/office/drawing/2014/main" id="{6CEBF25F-D078-409C-878D-434CDD99CD5D}"/>
              </a:ext>
            </a:extLst>
          </p:cNvPr>
          <p:cNvSpPr/>
          <p:nvPr/>
        </p:nvSpPr>
        <p:spPr bwMode="gray">
          <a:xfrm flipH="1">
            <a:off x="9701822" y="4823070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7" name="Right Triangle 606">
            <a:extLst>
              <a:ext uri="{FF2B5EF4-FFF2-40B4-BE49-F238E27FC236}">
                <a16:creationId xmlns:a16="http://schemas.microsoft.com/office/drawing/2014/main" id="{173257F4-F956-4D4B-A1CB-9E6C42F3E7DF}"/>
              </a:ext>
            </a:extLst>
          </p:cNvPr>
          <p:cNvSpPr/>
          <p:nvPr/>
        </p:nvSpPr>
        <p:spPr bwMode="gray">
          <a:xfrm rot="10800000" flipH="1">
            <a:off x="9701822" y="2882358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8" name="Right Triangle 607">
            <a:extLst>
              <a:ext uri="{FF2B5EF4-FFF2-40B4-BE49-F238E27FC236}">
                <a16:creationId xmlns:a16="http://schemas.microsoft.com/office/drawing/2014/main" id="{FCA80B17-8EF0-4269-A5DC-65FC994A07D6}"/>
              </a:ext>
            </a:extLst>
          </p:cNvPr>
          <p:cNvSpPr/>
          <p:nvPr/>
        </p:nvSpPr>
        <p:spPr bwMode="gray">
          <a:xfrm flipH="1" flipV="1">
            <a:off x="9701822" y="941663"/>
            <a:ext cx="971456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9" name="Right Triangle 608">
            <a:extLst>
              <a:ext uri="{FF2B5EF4-FFF2-40B4-BE49-F238E27FC236}">
                <a16:creationId xmlns:a16="http://schemas.microsoft.com/office/drawing/2014/main" id="{BA93F188-C05D-49BB-9FD7-44F3728C6E90}"/>
              </a:ext>
            </a:extLst>
          </p:cNvPr>
          <p:cNvSpPr/>
          <p:nvPr/>
        </p:nvSpPr>
        <p:spPr bwMode="gray">
          <a:xfrm rot="10800000" flipH="1" flipV="1">
            <a:off x="9701822" y="941663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10" name="Right Triangle 609">
            <a:extLst>
              <a:ext uri="{FF2B5EF4-FFF2-40B4-BE49-F238E27FC236}">
                <a16:creationId xmlns:a16="http://schemas.microsoft.com/office/drawing/2014/main" id="{9710117D-F93E-47A3-8EFB-5CEB246728A9}"/>
              </a:ext>
            </a:extLst>
          </p:cNvPr>
          <p:cNvSpPr/>
          <p:nvPr/>
        </p:nvSpPr>
        <p:spPr bwMode="gray">
          <a:xfrm flipH="1">
            <a:off x="9701822" y="1913744"/>
            <a:ext cx="971456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11" name="Right Triangle 610">
            <a:extLst>
              <a:ext uri="{FF2B5EF4-FFF2-40B4-BE49-F238E27FC236}">
                <a16:creationId xmlns:a16="http://schemas.microsoft.com/office/drawing/2014/main" id="{672F5F86-9AA5-48AC-BD91-3F43EBC6D04F}"/>
              </a:ext>
            </a:extLst>
          </p:cNvPr>
          <p:cNvSpPr/>
          <p:nvPr/>
        </p:nvSpPr>
        <p:spPr bwMode="gray">
          <a:xfrm rot="10800000" flipH="1">
            <a:off x="9701822" y="1913744"/>
            <a:ext cx="971456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12" name="Right Triangle 611">
            <a:extLst>
              <a:ext uri="{FF2B5EF4-FFF2-40B4-BE49-F238E27FC236}">
                <a16:creationId xmlns:a16="http://schemas.microsoft.com/office/drawing/2014/main" id="{76A36320-41F0-4B98-A447-B0C52DC91416}"/>
              </a:ext>
            </a:extLst>
          </p:cNvPr>
          <p:cNvSpPr/>
          <p:nvPr/>
        </p:nvSpPr>
        <p:spPr bwMode="gray">
          <a:xfrm flipH="1">
            <a:off x="9701822" y="-27163"/>
            <a:ext cx="971456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13" name="Right Triangle 612">
            <a:extLst>
              <a:ext uri="{FF2B5EF4-FFF2-40B4-BE49-F238E27FC236}">
                <a16:creationId xmlns:a16="http://schemas.microsoft.com/office/drawing/2014/main" id="{54040EA7-3181-4C0F-AFA5-EE70CCF6B9E3}"/>
              </a:ext>
            </a:extLst>
          </p:cNvPr>
          <p:cNvSpPr/>
          <p:nvPr/>
        </p:nvSpPr>
        <p:spPr bwMode="gray">
          <a:xfrm rot="10800000" flipH="1">
            <a:off x="9701822" y="-22208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82" name="Freeform: Shape 781">
            <a:extLst>
              <a:ext uri="{FF2B5EF4-FFF2-40B4-BE49-F238E27FC236}">
                <a16:creationId xmlns:a16="http://schemas.microsoft.com/office/drawing/2014/main" id="{B12F08D0-D5A0-4DFF-89E5-169FC6D31EE9}"/>
              </a:ext>
            </a:extLst>
          </p:cNvPr>
          <p:cNvSpPr/>
          <p:nvPr/>
        </p:nvSpPr>
        <p:spPr bwMode="gray">
          <a:xfrm flipH="1">
            <a:off x="11645638" y="942852"/>
            <a:ext cx="2378" cy="1189"/>
          </a:xfrm>
          <a:custGeom>
            <a:avLst/>
            <a:gdLst>
              <a:gd name="connsiteX0" fmla="*/ 1188 w 2377"/>
              <a:gd name="connsiteY0" fmla="*/ 0 h 1189"/>
              <a:gd name="connsiteX1" fmla="*/ 0 w 2377"/>
              <a:gd name="connsiteY1" fmla="*/ 1189 h 1189"/>
              <a:gd name="connsiteX2" fmla="*/ 2377 w 2377"/>
              <a:gd name="connsiteY2" fmla="*/ 1189 h 1189"/>
              <a:gd name="connsiteX3" fmla="*/ 1188 w 2377"/>
              <a:gd name="connsiteY3" fmla="*/ 0 h 1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77" h="1189">
                <a:moveTo>
                  <a:pt x="1188" y="0"/>
                </a:moveTo>
                <a:lnTo>
                  <a:pt x="0" y="1189"/>
                </a:lnTo>
                <a:lnTo>
                  <a:pt x="2377" y="1189"/>
                </a:lnTo>
                <a:lnTo>
                  <a:pt x="1188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81" name="Freeform: Shape 780">
            <a:extLst>
              <a:ext uri="{FF2B5EF4-FFF2-40B4-BE49-F238E27FC236}">
                <a16:creationId xmlns:a16="http://schemas.microsoft.com/office/drawing/2014/main" id="{3AB2B29B-B849-46BF-97FE-3C163CD81959}"/>
              </a:ext>
            </a:extLst>
          </p:cNvPr>
          <p:cNvSpPr/>
          <p:nvPr/>
        </p:nvSpPr>
        <p:spPr bwMode="gray">
          <a:xfrm flipH="1">
            <a:off x="11648016" y="944041"/>
            <a:ext cx="550336" cy="550193"/>
          </a:xfrm>
          <a:custGeom>
            <a:avLst/>
            <a:gdLst>
              <a:gd name="connsiteX0" fmla="*/ 550193 w 550193"/>
              <a:gd name="connsiteY0" fmla="*/ 0 h 550193"/>
              <a:gd name="connsiteX1" fmla="*/ 0 w 550193"/>
              <a:gd name="connsiteY1" fmla="*/ 0 h 550193"/>
              <a:gd name="connsiteX2" fmla="*/ 0 w 550193"/>
              <a:gd name="connsiteY2" fmla="*/ 550193 h 550193"/>
              <a:gd name="connsiteX3" fmla="*/ 550193 w 550193"/>
              <a:gd name="connsiteY3" fmla="*/ 0 h 550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0193" h="550193">
                <a:moveTo>
                  <a:pt x="550193" y="0"/>
                </a:moveTo>
                <a:lnTo>
                  <a:pt x="0" y="0"/>
                </a:lnTo>
                <a:lnTo>
                  <a:pt x="0" y="550193"/>
                </a:lnTo>
                <a:lnTo>
                  <a:pt x="550193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77" name="Freeform: Shape 776">
            <a:extLst>
              <a:ext uri="{FF2B5EF4-FFF2-40B4-BE49-F238E27FC236}">
                <a16:creationId xmlns:a16="http://schemas.microsoft.com/office/drawing/2014/main" id="{A7B22A32-000A-4BAB-B5C4-7CAF40CF0F0F}"/>
              </a:ext>
            </a:extLst>
          </p:cNvPr>
          <p:cNvSpPr/>
          <p:nvPr/>
        </p:nvSpPr>
        <p:spPr bwMode="gray">
          <a:xfrm flipH="1">
            <a:off x="11645639" y="3852274"/>
            <a:ext cx="2572" cy="1286"/>
          </a:xfrm>
          <a:custGeom>
            <a:avLst/>
            <a:gdLst>
              <a:gd name="connsiteX0" fmla="*/ 1286 w 2571"/>
              <a:gd name="connsiteY0" fmla="*/ 0 h 1286"/>
              <a:gd name="connsiteX1" fmla="*/ 0 w 2571"/>
              <a:gd name="connsiteY1" fmla="*/ 1286 h 1286"/>
              <a:gd name="connsiteX2" fmla="*/ 2571 w 2571"/>
              <a:gd name="connsiteY2" fmla="*/ 1286 h 1286"/>
              <a:gd name="connsiteX3" fmla="*/ 2571 w 2571"/>
              <a:gd name="connsiteY3" fmla="*/ 1285 h 1286"/>
              <a:gd name="connsiteX4" fmla="*/ 1286 w 2571"/>
              <a:gd name="connsiteY4" fmla="*/ 0 h 1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71" h="1286">
                <a:moveTo>
                  <a:pt x="1286" y="0"/>
                </a:moveTo>
                <a:lnTo>
                  <a:pt x="0" y="1286"/>
                </a:lnTo>
                <a:lnTo>
                  <a:pt x="2571" y="1286"/>
                </a:lnTo>
                <a:lnTo>
                  <a:pt x="2571" y="1285"/>
                </a:lnTo>
                <a:lnTo>
                  <a:pt x="1286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76" name="Freeform: Shape 775">
            <a:extLst>
              <a:ext uri="{FF2B5EF4-FFF2-40B4-BE49-F238E27FC236}">
                <a16:creationId xmlns:a16="http://schemas.microsoft.com/office/drawing/2014/main" id="{D27DEB13-3665-4799-ADF6-AB82FB081509}"/>
              </a:ext>
            </a:extLst>
          </p:cNvPr>
          <p:cNvSpPr/>
          <p:nvPr/>
        </p:nvSpPr>
        <p:spPr bwMode="gray">
          <a:xfrm flipH="1">
            <a:off x="11648211" y="3853560"/>
            <a:ext cx="550141" cy="549998"/>
          </a:xfrm>
          <a:custGeom>
            <a:avLst/>
            <a:gdLst>
              <a:gd name="connsiteX0" fmla="*/ 549998 w 549998"/>
              <a:gd name="connsiteY0" fmla="*/ 0 h 549998"/>
              <a:gd name="connsiteX1" fmla="*/ 0 w 549998"/>
              <a:gd name="connsiteY1" fmla="*/ 0 h 549998"/>
              <a:gd name="connsiteX2" fmla="*/ 0 w 549998"/>
              <a:gd name="connsiteY2" fmla="*/ 549998 h 549998"/>
              <a:gd name="connsiteX3" fmla="*/ 549998 w 549998"/>
              <a:gd name="connsiteY3" fmla="*/ 0 h 549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9998" h="549998">
                <a:moveTo>
                  <a:pt x="549998" y="0"/>
                </a:moveTo>
                <a:lnTo>
                  <a:pt x="0" y="0"/>
                </a:lnTo>
                <a:lnTo>
                  <a:pt x="0" y="549998"/>
                </a:lnTo>
                <a:lnTo>
                  <a:pt x="549998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70" name="Freeform: Shape 769">
            <a:extLst>
              <a:ext uri="{FF2B5EF4-FFF2-40B4-BE49-F238E27FC236}">
                <a16:creationId xmlns:a16="http://schemas.microsoft.com/office/drawing/2014/main" id="{65B04691-30CF-421C-831C-67C2B03EAB1A}"/>
              </a:ext>
            </a:extLst>
          </p:cNvPr>
          <p:cNvSpPr/>
          <p:nvPr/>
        </p:nvSpPr>
        <p:spPr bwMode="gray">
          <a:xfrm flipH="1">
            <a:off x="11646827" y="391470"/>
            <a:ext cx="551525" cy="552570"/>
          </a:xfrm>
          <a:custGeom>
            <a:avLst/>
            <a:gdLst>
              <a:gd name="connsiteX0" fmla="*/ 0 w 551381"/>
              <a:gd name="connsiteY0" fmla="*/ 0 h 552570"/>
              <a:gd name="connsiteX1" fmla="*/ 0 w 551381"/>
              <a:gd name="connsiteY1" fmla="*/ 552570 h 552570"/>
              <a:gd name="connsiteX2" fmla="*/ 550193 w 551381"/>
              <a:gd name="connsiteY2" fmla="*/ 552570 h 552570"/>
              <a:gd name="connsiteX3" fmla="*/ 551381 w 551381"/>
              <a:gd name="connsiteY3" fmla="*/ 551381 h 552570"/>
              <a:gd name="connsiteX4" fmla="*/ 0 w 551381"/>
              <a:gd name="connsiteY4" fmla="*/ 0 h 55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1381" h="552570">
                <a:moveTo>
                  <a:pt x="0" y="0"/>
                </a:moveTo>
                <a:lnTo>
                  <a:pt x="0" y="552570"/>
                </a:lnTo>
                <a:lnTo>
                  <a:pt x="550193" y="552570"/>
                </a:lnTo>
                <a:lnTo>
                  <a:pt x="551381" y="551381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9" name="Freeform: Shape 768">
            <a:extLst>
              <a:ext uri="{FF2B5EF4-FFF2-40B4-BE49-F238E27FC236}">
                <a16:creationId xmlns:a16="http://schemas.microsoft.com/office/drawing/2014/main" id="{6DB3C075-8135-4F90-AA2E-6FB264F5FD17}"/>
              </a:ext>
            </a:extLst>
          </p:cNvPr>
          <p:cNvSpPr/>
          <p:nvPr/>
        </p:nvSpPr>
        <p:spPr bwMode="gray">
          <a:xfrm flipH="1">
            <a:off x="11645638" y="941664"/>
            <a:ext cx="1189" cy="2377"/>
          </a:xfrm>
          <a:custGeom>
            <a:avLst/>
            <a:gdLst>
              <a:gd name="connsiteX0" fmla="*/ 1189 w 1189"/>
              <a:gd name="connsiteY0" fmla="*/ 0 h 2377"/>
              <a:gd name="connsiteX1" fmla="*/ 0 w 1189"/>
              <a:gd name="connsiteY1" fmla="*/ 1188 h 2377"/>
              <a:gd name="connsiteX2" fmla="*/ 1189 w 1189"/>
              <a:gd name="connsiteY2" fmla="*/ 2377 h 2377"/>
              <a:gd name="connsiteX3" fmla="*/ 1189 w 1189"/>
              <a:gd name="connsiteY3" fmla="*/ 0 h 2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9" h="2377">
                <a:moveTo>
                  <a:pt x="1189" y="0"/>
                </a:moveTo>
                <a:lnTo>
                  <a:pt x="0" y="1188"/>
                </a:lnTo>
                <a:lnTo>
                  <a:pt x="1189" y="2377"/>
                </a:lnTo>
                <a:lnTo>
                  <a:pt x="1189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8" name="Freeform: Shape 767">
            <a:extLst>
              <a:ext uri="{FF2B5EF4-FFF2-40B4-BE49-F238E27FC236}">
                <a16:creationId xmlns:a16="http://schemas.microsoft.com/office/drawing/2014/main" id="{ED1D2DE8-6CA3-450B-A264-9A1A84AB0BBD}"/>
              </a:ext>
            </a:extLst>
          </p:cNvPr>
          <p:cNvSpPr/>
          <p:nvPr/>
        </p:nvSpPr>
        <p:spPr bwMode="gray">
          <a:xfrm flipH="1">
            <a:off x="11645638" y="944040"/>
            <a:ext cx="552714" cy="968826"/>
          </a:xfrm>
          <a:custGeom>
            <a:avLst/>
            <a:gdLst>
              <a:gd name="connsiteX0" fmla="*/ 552570 w 552570"/>
              <a:gd name="connsiteY0" fmla="*/ 0 h 968826"/>
              <a:gd name="connsiteX1" fmla="*/ 550193 w 552570"/>
              <a:gd name="connsiteY1" fmla="*/ 0 h 968826"/>
              <a:gd name="connsiteX2" fmla="*/ 0 w 552570"/>
              <a:gd name="connsiteY2" fmla="*/ 550193 h 968826"/>
              <a:gd name="connsiteX3" fmla="*/ 0 w 552570"/>
              <a:gd name="connsiteY3" fmla="*/ 968826 h 968826"/>
              <a:gd name="connsiteX4" fmla="*/ 552570 w 552570"/>
              <a:gd name="connsiteY4" fmla="*/ 968826 h 968826"/>
              <a:gd name="connsiteX5" fmla="*/ 552570 w 552570"/>
              <a:gd name="connsiteY5" fmla="*/ 0 h 96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2570" h="968826">
                <a:moveTo>
                  <a:pt x="552570" y="0"/>
                </a:moveTo>
                <a:lnTo>
                  <a:pt x="550193" y="0"/>
                </a:lnTo>
                <a:lnTo>
                  <a:pt x="0" y="550193"/>
                </a:lnTo>
                <a:lnTo>
                  <a:pt x="0" y="968826"/>
                </a:lnTo>
                <a:lnTo>
                  <a:pt x="552570" y="968826"/>
                </a:lnTo>
                <a:lnTo>
                  <a:pt x="552570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7" name="Freeform: Shape 766">
            <a:extLst>
              <a:ext uri="{FF2B5EF4-FFF2-40B4-BE49-F238E27FC236}">
                <a16:creationId xmlns:a16="http://schemas.microsoft.com/office/drawing/2014/main" id="{CB2C237D-07A4-45F6-BC8A-33DCB72C3FD5}"/>
              </a:ext>
            </a:extLst>
          </p:cNvPr>
          <p:cNvSpPr/>
          <p:nvPr/>
        </p:nvSpPr>
        <p:spPr bwMode="gray">
          <a:xfrm flipH="1">
            <a:off x="11645638" y="2332376"/>
            <a:ext cx="552714" cy="552570"/>
          </a:xfrm>
          <a:custGeom>
            <a:avLst/>
            <a:gdLst>
              <a:gd name="connsiteX0" fmla="*/ 0 w 552570"/>
              <a:gd name="connsiteY0" fmla="*/ 0 h 552570"/>
              <a:gd name="connsiteX1" fmla="*/ 0 w 552570"/>
              <a:gd name="connsiteY1" fmla="*/ 552570 h 552570"/>
              <a:gd name="connsiteX2" fmla="*/ 552570 w 552570"/>
              <a:gd name="connsiteY2" fmla="*/ 552570 h 552570"/>
              <a:gd name="connsiteX3" fmla="*/ 0 w 552570"/>
              <a:gd name="connsiteY3" fmla="*/ 0 h 55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570" h="552570">
                <a:moveTo>
                  <a:pt x="0" y="0"/>
                </a:moveTo>
                <a:lnTo>
                  <a:pt x="0" y="552570"/>
                </a:lnTo>
                <a:lnTo>
                  <a:pt x="552570" y="552570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5" name="Freeform: Shape 764">
            <a:extLst>
              <a:ext uri="{FF2B5EF4-FFF2-40B4-BE49-F238E27FC236}">
                <a16:creationId xmlns:a16="http://schemas.microsoft.com/office/drawing/2014/main" id="{F832255B-5F23-40E1-91D2-B0B51FA45EAE}"/>
              </a:ext>
            </a:extLst>
          </p:cNvPr>
          <p:cNvSpPr/>
          <p:nvPr/>
        </p:nvSpPr>
        <p:spPr bwMode="gray">
          <a:xfrm flipH="1">
            <a:off x="11646924" y="3300990"/>
            <a:ext cx="551428" cy="552570"/>
          </a:xfrm>
          <a:custGeom>
            <a:avLst/>
            <a:gdLst>
              <a:gd name="connsiteX0" fmla="*/ 0 w 551284"/>
              <a:gd name="connsiteY0" fmla="*/ 0 h 552570"/>
              <a:gd name="connsiteX1" fmla="*/ 0 w 551284"/>
              <a:gd name="connsiteY1" fmla="*/ 552570 h 552570"/>
              <a:gd name="connsiteX2" fmla="*/ 549998 w 551284"/>
              <a:gd name="connsiteY2" fmla="*/ 552570 h 552570"/>
              <a:gd name="connsiteX3" fmla="*/ 551284 w 551284"/>
              <a:gd name="connsiteY3" fmla="*/ 551284 h 552570"/>
              <a:gd name="connsiteX4" fmla="*/ 0 w 551284"/>
              <a:gd name="connsiteY4" fmla="*/ 0 h 55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1284" h="552570">
                <a:moveTo>
                  <a:pt x="0" y="0"/>
                </a:moveTo>
                <a:lnTo>
                  <a:pt x="0" y="552570"/>
                </a:lnTo>
                <a:lnTo>
                  <a:pt x="549998" y="552570"/>
                </a:lnTo>
                <a:lnTo>
                  <a:pt x="551284" y="551284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4" name="Freeform: Shape 763">
            <a:extLst>
              <a:ext uri="{FF2B5EF4-FFF2-40B4-BE49-F238E27FC236}">
                <a16:creationId xmlns:a16="http://schemas.microsoft.com/office/drawing/2014/main" id="{9EDE2D83-2AB6-4E22-AB2E-EC0582BCCA8B}"/>
              </a:ext>
            </a:extLst>
          </p:cNvPr>
          <p:cNvSpPr/>
          <p:nvPr/>
        </p:nvSpPr>
        <p:spPr bwMode="gray">
          <a:xfrm flipH="1">
            <a:off x="11645639" y="3850989"/>
            <a:ext cx="1285" cy="2570"/>
          </a:xfrm>
          <a:custGeom>
            <a:avLst/>
            <a:gdLst>
              <a:gd name="connsiteX0" fmla="*/ 1285 w 1285"/>
              <a:gd name="connsiteY0" fmla="*/ 0 h 2570"/>
              <a:gd name="connsiteX1" fmla="*/ 0 w 1285"/>
              <a:gd name="connsiteY1" fmla="*/ 1285 h 2570"/>
              <a:gd name="connsiteX2" fmla="*/ 1285 w 1285"/>
              <a:gd name="connsiteY2" fmla="*/ 2570 h 2570"/>
              <a:gd name="connsiteX3" fmla="*/ 1285 w 1285"/>
              <a:gd name="connsiteY3" fmla="*/ 0 h 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5" h="2570">
                <a:moveTo>
                  <a:pt x="1285" y="0"/>
                </a:moveTo>
                <a:lnTo>
                  <a:pt x="0" y="1285"/>
                </a:lnTo>
                <a:lnTo>
                  <a:pt x="1285" y="2570"/>
                </a:lnTo>
                <a:lnTo>
                  <a:pt x="1285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3" name="Freeform: Shape 762">
            <a:extLst>
              <a:ext uri="{FF2B5EF4-FFF2-40B4-BE49-F238E27FC236}">
                <a16:creationId xmlns:a16="http://schemas.microsoft.com/office/drawing/2014/main" id="{B116261A-C69F-45CE-B83B-F7707BB0F65C}"/>
              </a:ext>
            </a:extLst>
          </p:cNvPr>
          <p:cNvSpPr/>
          <p:nvPr/>
        </p:nvSpPr>
        <p:spPr bwMode="gray">
          <a:xfrm flipH="1">
            <a:off x="11645639" y="3853560"/>
            <a:ext cx="552713" cy="968632"/>
          </a:xfrm>
          <a:custGeom>
            <a:avLst/>
            <a:gdLst>
              <a:gd name="connsiteX0" fmla="*/ 552569 w 552569"/>
              <a:gd name="connsiteY0" fmla="*/ 0 h 968632"/>
              <a:gd name="connsiteX1" fmla="*/ 549998 w 552569"/>
              <a:gd name="connsiteY1" fmla="*/ 0 h 968632"/>
              <a:gd name="connsiteX2" fmla="*/ 0 w 552569"/>
              <a:gd name="connsiteY2" fmla="*/ 549998 h 968632"/>
              <a:gd name="connsiteX3" fmla="*/ 0 w 552569"/>
              <a:gd name="connsiteY3" fmla="*/ 968632 h 968632"/>
              <a:gd name="connsiteX4" fmla="*/ 552569 w 552569"/>
              <a:gd name="connsiteY4" fmla="*/ 968632 h 968632"/>
              <a:gd name="connsiteX5" fmla="*/ 552569 w 552569"/>
              <a:gd name="connsiteY5" fmla="*/ 0 h 968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2569" h="968632">
                <a:moveTo>
                  <a:pt x="552569" y="0"/>
                </a:moveTo>
                <a:lnTo>
                  <a:pt x="549998" y="0"/>
                </a:lnTo>
                <a:lnTo>
                  <a:pt x="0" y="549998"/>
                </a:lnTo>
                <a:lnTo>
                  <a:pt x="0" y="968632"/>
                </a:lnTo>
                <a:lnTo>
                  <a:pt x="552569" y="968632"/>
                </a:lnTo>
                <a:lnTo>
                  <a:pt x="552569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0" name="Freeform: Shape 749">
            <a:extLst>
              <a:ext uri="{FF2B5EF4-FFF2-40B4-BE49-F238E27FC236}">
                <a16:creationId xmlns:a16="http://schemas.microsoft.com/office/drawing/2014/main" id="{69E776B9-D5C7-4DEC-8498-132F5041A4C3}"/>
              </a:ext>
            </a:extLst>
          </p:cNvPr>
          <p:cNvSpPr/>
          <p:nvPr/>
        </p:nvSpPr>
        <p:spPr bwMode="gray">
          <a:xfrm flipH="1">
            <a:off x="11645639" y="4823070"/>
            <a:ext cx="552713" cy="971203"/>
          </a:xfrm>
          <a:custGeom>
            <a:avLst/>
            <a:gdLst>
              <a:gd name="connsiteX0" fmla="*/ 552569 w 552569"/>
              <a:gd name="connsiteY0" fmla="*/ 0 h 971203"/>
              <a:gd name="connsiteX1" fmla="*/ 0 w 552569"/>
              <a:gd name="connsiteY1" fmla="*/ 0 h 971203"/>
              <a:gd name="connsiteX2" fmla="*/ 0 w 552569"/>
              <a:gd name="connsiteY2" fmla="*/ 418634 h 971203"/>
              <a:gd name="connsiteX3" fmla="*/ 552569 w 552569"/>
              <a:gd name="connsiteY3" fmla="*/ 971203 h 971203"/>
              <a:gd name="connsiteX4" fmla="*/ 552569 w 552569"/>
              <a:gd name="connsiteY4" fmla="*/ 0 h 971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2569" h="971203">
                <a:moveTo>
                  <a:pt x="552569" y="0"/>
                </a:moveTo>
                <a:lnTo>
                  <a:pt x="0" y="0"/>
                </a:lnTo>
                <a:lnTo>
                  <a:pt x="0" y="418634"/>
                </a:lnTo>
                <a:lnTo>
                  <a:pt x="552569" y="971203"/>
                </a:lnTo>
                <a:lnTo>
                  <a:pt x="552569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6" name="Freeform: Shape 735">
            <a:extLst>
              <a:ext uri="{FF2B5EF4-FFF2-40B4-BE49-F238E27FC236}">
                <a16:creationId xmlns:a16="http://schemas.microsoft.com/office/drawing/2014/main" id="{9E3F8C95-F194-43DA-AE72-267A2A96A623}"/>
              </a:ext>
            </a:extLst>
          </p:cNvPr>
          <p:cNvSpPr/>
          <p:nvPr/>
        </p:nvSpPr>
        <p:spPr bwMode="gray">
          <a:xfrm flipH="1">
            <a:off x="11645638" y="6213988"/>
            <a:ext cx="552714" cy="552570"/>
          </a:xfrm>
          <a:custGeom>
            <a:avLst/>
            <a:gdLst>
              <a:gd name="connsiteX0" fmla="*/ 0 w 552570"/>
              <a:gd name="connsiteY0" fmla="*/ 0 h 552570"/>
              <a:gd name="connsiteX1" fmla="*/ 0 w 552570"/>
              <a:gd name="connsiteY1" fmla="*/ 552570 h 552570"/>
              <a:gd name="connsiteX2" fmla="*/ 552570 w 552570"/>
              <a:gd name="connsiteY2" fmla="*/ 552570 h 552570"/>
              <a:gd name="connsiteX3" fmla="*/ 0 w 552570"/>
              <a:gd name="connsiteY3" fmla="*/ 0 h 55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570" h="552570">
                <a:moveTo>
                  <a:pt x="0" y="0"/>
                </a:moveTo>
                <a:lnTo>
                  <a:pt x="0" y="552570"/>
                </a:lnTo>
                <a:lnTo>
                  <a:pt x="552570" y="552570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24" name="Right Triangle 623">
            <a:extLst>
              <a:ext uri="{FF2B5EF4-FFF2-40B4-BE49-F238E27FC236}">
                <a16:creationId xmlns:a16="http://schemas.microsoft.com/office/drawing/2014/main" id="{D190A99F-1AD8-4B1A-A77B-A6C1192D9C83}"/>
              </a:ext>
            </a:extLst>
          </p:cNvPr>
          <p:cNvSpPr/>
          <p:nvPr/>
        </p:nvSpPr>
        <p:spPr bwMode="gray">
          <a:xfrm>
            <a:off x="10673731" y="5795356"/>
            <a:ext cx="971456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25" name="Right Triangle 624">
            <a:extLst>
              <a:ext uri="{FF2B5EF4-FFF2-40B4-BE49-F238E27FC236}">
                <a16:creationId xmlns:a16="http://schemas.microsoft.com/office/drawing/2014/main" id="{B7D5D60B-1736-4EA6-BD19-2A34EAC3633E}"/>
              </a:ext>
            </a:extLst>
          </p:cNvPr>
          <p:cNvSpPr/>
          <p:nvPr/>
        </p:nvSpPr>
        <p:spPr bwMode="gray">
          <a:xfrm rot="10800000">
            <a:off x="10673732" y="5795356"/>
            <a:ext cx="971456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26" name="Right Triangle 625">
            <a:extLst>
              <a:ext uri="{FF2B5EF4-FFF2-40B4-BE49-F238E27FC236}">
                <a16:creationId xmlns:a16="http://schemas.microsoft.com/office/drawing/2014/main" id="{C0B21947-8356-4D27-86FE-A3FAF15B9A8F}"/>
              </a:ext>
            </a:extLst>
          </p:cNvPr>
          <p:cNvSpPr/>
          <p:nvPr/>
        </p:nvSpPr>
        <p:spPr bwMode="gray">
          <a:xfrm flipV="1">
            <a:off x="10673731" y="3850990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27" name="Right Triangle 626">
            <a:extLst>
              <a:ext uri="{FF2B5EF4-FFF2-40B4-BE49-F238E27FC236}">
                <a16:creationId xmlns:a16="http://schemas.microsoft.com/office/drawing/2014/main" id="{2A3D7ECB-5C74-4571-81EF-FF06BB6BDF32}"/>
              </a:ext>
            </a:extLst>
          </p:cNvPr>
          <p:cNvSpPr/>
          <p:nvPr/>
        </p:nvSpPr>
        <p:spPr bwMode="gray">
          <a:xfrm rot="10800000" flipV="1">
            <a:off x="10673732" y="3850990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28" name="Right Triangle 627">
            <a:extLst>
              <a:ext uri="{FF2B5EF4-FFF2-40B4-BE49-F238E27FC236}">
                <a16:creationId xmlns:a16="http://schemas.microsoft.com/office/drawing/2014/main" id="{4DAAA567-2CC2-4524-BEBA-277A36E5E0A4}"/>
              </a:ext>
            </a:extLst>
          </p:cNvPr>
          <p:cNvSpPr/>
          <p:nvPr/>
        </p:nvSpPr>
        <p:spPr bwMode="gray">
          <a:xfrm rot="10800000">
            <a:off x="10673732" y="4823070"/>
            <a:ext cx="971456" cy="971203"/>
          </a:xfrm>
          <a:prstGeom prst="rtTriangle">
            <a:avLst/>
          </a:prstGeom>
          <a:solidFill>
            <a:sysClr val="window" lastClr="FFFFFF">
              <a:alpha val="10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29" name="Right Triangle 628">
            <a:extLst>
              <a:ext uri="{FF2B5EF4-FFF2-40B4-BE49-F238E27FC236}">
                <a16:creationId xmlns:a16="http://schemas.microsoft.com/office/drawing/2014/main" id="{4D18EDF7-15D0-4830-95A5-56E121645B88}"/>
              </a:ext>
            </a:extLst>
          </p:cNvPr>
          <p:cNvSpPr/>
          <p:nvPr/>
        </p:nvSpPr>
        <p:spPr bwMode="gray">
          <a:xfrm>
            <a:off x="10673731" y="2882358"/>
            <a:ext cx="971456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0" name="Right Triangle 629">
            <a:extLst>
              <a:ext uri="{FF2B5EF4-FFF2-40B4-BE49-F238E27FC236}">
                <a16:creationId xmlns:a16="http://schemas.microsoft.com/office/drawing/2014/main" id="{C1709A9A-D5FA-428D-B46E-9207AE56C3D4}"/>
              </a:ext>
            </a:extLst>
          </p:cNvPr>
          <p:cNvSpPr/>
          <p:nvPr/>
        </p:nvSpPr>
        <p:spPr bwMode="gray">
          <a:xfrm rot="10800000">
            <a:off x="10673731" y="2882358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1" name="Right Triangle 630">
            <a:extLst>
              <a:ext uri="{FF2B5EF4-FFF2-40B4-BE49-F238E27FC236}">
                <a16:creationId xmlns:a16="http://schemas.microsoft.com/office/drawing/2014/main" id="{31AD2623-245F-4492-B275-854D3C61A6B9}"/>
              </a:ext>
            </a:extLst>
          </p:cNvPr>
          <p:cNvSpPr/>
          <p:nvPr/>
        </p:nvSpPr>
        <p:spPr bwMode="gray">
          <a:xfrm flipV="1">
            <a:off x="10673731" y="941663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2" name="Right Triangle 631">
            <a:extLst>
              <a:ext uri="{FF2B5EF4-FFF2-40B4-BE49-F238E27FC236}">
                <a16:creationId xmlns:a16="http://schemas.microsoft.com/office/drawing/2014/main" id="{EFEA176B-48A7-4A95-B09A-4B02456802B6}"/>
              </a:ext>
            </a:extLst>
          </p:cNvPr>
          <p:cNvSpPr/>
          <p:nvPr/>
        </p:nvSpPr>
        <p:spPr bwMode="gray">
          <a:xfrm>
            <a:off x="10673731" y="1913744"/>
            <a:ext cx="971456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3" name="Right Triangle 632">
            <a:extLst>
              <a:ext uri="{FF2B5EF4-FFF2-40B4-BE49-F238E27FC236}">
                <a16:creationId xmlns:a16="http://schemas.microsoft.com/office/drawing/2014/main" id="{ADED2148-7B15-4EFC-AB88-C0CED1BD7797}"/>
              </a:ext>
            </a:extLst>
          </p:cNvPr>
          <p:cNvSpPr/>
          <p:nvPr/>
        </p:nvSpPr>
        <p:spPr bwMode="gray">
          <a:xfrm rot="10800000">
            <a:off x="10673731" y="1913744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4" name="Right Triangle 633">
            <a:extLst>
              <a:ext uri="{FF2B5EF4-FFF2-40B4-BE49-F238E27FC236}">
                <a16:creationId xmlns:a16="http://schemas.microsoft.com/office/drawing/2014/main" id="{4ECC73D2-A19A-462D-A54B-86E9BFCCCD4F}"/>
              </a:ext>
            </a:extLst>
          </p:cNvPr>
          <p:cNvSpPr/>
          <p:nvPr/>
        </p:nvSpPr>
        <p:spPr bwMode="gray">
          <a:xfrm>
            <a:off x="10673731" y="-27163"/>
            <a:ext cx="971456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5" name="Right Triangle 634">
            <a:extLst>
              <a:ext uri="{FF2B5EF4-FFF2-40B4-BE49-F238E27FC236}">
                <a16:creationId xmlns:a16="http://schemas.microsoft.com/office/drawing/2014/main" id="{8A39A062-7C83-4669-9226-B79D9454814F}"/>
              </a:ext>
            </a:extLst>
          </p:cNvPr>
          <p:cNvSpPr/>
          <p:nvPr/>
        </p:nvSpPr>
        <p:spPr bwMode="gray">
          <a:xfrm rot="10800000">
            <a:off x="10673731" y="-22208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8" name="Right Triangle 637">
            <a:extLst>
              <a:ext uri="{FF2B5EF4-FFF2-40B4-BE49-F238E27FC236}">
                <a16:creationId xmlns:a16="http://schemas.microsoft.com/office/drawing/2014/main" id="{72F437B1-A514-4D17-B127-40A1008E6944}"/>
              </a:ext>
            </a:extLst>
          </p:cNvPr>
          <p:cNvSpPr/>
          <p:nvPr/>
        </p:nvSpPr>
        <p:spPr bwMode="gray">
          <a:xfrm>
            <a:off x="4847463" y="5795356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9" name="Right Triangle 638">
            <a:extLst>
              <a:ext uri="{FF2B5EF4-FFF2-40B4-BE49-F238E27FC236}">
                <a16:creationId xmlns:a16="http://schemas.microsoft.com/office/drawing/2014/main" id="{BAFE1D2F-C9E7-4490-B98B-E242819B4E88}"/>
              </a:ext>
            </a:extLst>
          </p:cNvPr>
          <p:cNvSpPr/>
          <p:nvPr/>
        </p:nvSpPr>
        <p:spPr bwMode="gray">
          <a:xfrm flipV="1">
            <a:off x="4847463" y="3850990"/>
            <a:ext cx="971456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0" name="Right Triangle 639">
            <a:extLst>
              <a:ext uri="{FF2B5EF4-FFF2-40B4-BE49-F238E27FC236}">
                <a16:creationId xmlns:a16="http://schemas.microsoft.com/office/drawing/2014/main" id="{3E10EC6E-EC05-4F5F-8706-CD496181FAB9}"/>
              </a:ext>
            </a:extLst>
          </p:cNvPr>
          <p:cNvSpPr/>
          <p:nvPr/>
        </p:nvSpPr>
        <p:spPr bwMode="gray">
          <a:xfrm rot="10800000" flipV="1">
            <a:off x="4847464" y="3850990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1" name="Right Triangle 640">
            <a:extLst>
              <a:ext uri="{FF2B5EF4-FFF2-40B4-BE49-F238E27FC236}">
                <a16:creationId xmlns:a16="http://schemas.microsoft.com/office/drawing/2014/main" id="{65338E3E-121C-405A-A343-75BE2348336F}"/>
              </a:ext>
            </a:extLst>
          </p:cNvPr>
          <p:cNvSpPr/>
          <p:nvPr/>
        </p:nvSpPr>
        <p:spPr bwMode="gray">
          <a:xfrm>
            <a:off x="4847463" y="4823070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2" name="Right Triangle 641">
            <a:extLst>
              <a:ext uri="{FF2B5EF4-FFF2-40B4-BE49-F238E27FC236}">
                <a16:creationId xmlns:a16="http://schemas.microsoft.com/office/drawing/2014/main" id="{7B25D828-A849-4581-936F-B83B8C62D7FD}"/>
              </a:ext>
            </a:extLst>
          </p:cNvPr>
          <p:cNvSpPr/>
          <p:nvPr/>
        </p:nvSpPr>
        <p:spPr bwMode="gray">
          <a:xfrm rot="10800000">
            <a:off x="4847464" y="4823070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3" name="Right Triangle 642">
            <a:extLst>
              <a:ext uri="{FF2B5EF4-FFF2-40B4-BE49-F238E27FC236}">
                <a16:creationId xmlns:a16="http://schemas.microsoft.com/office/drawing/2014/main" id="{6AFF7020-037C-45BB-973B-A869544DAFA3}"/>
              </a:ext>
            </a:extLst>
          </p:cNvPr>
          <p:cNvSpPr/>
          <p:nvPr/>
        </p:nvSpPr>
        <p:spPr bwMode="gray">
          <a:xfrm>
            <a:off x="4847463" y="2882358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4" name="Right Triangle 643">
            <a:extLst>
              <a:ext uri="{FF2B5EF4-FFF2-40B4-BE49-F238E27FC236}">
                <a16:creationId xmlns:a16="http://schemas.microsoft.com/office/drawing/2014/main" id="{93CC3375-7EE1-4993-A427-3BDBF9554C7E}"/>
              </a:ext>
            </a:extLst>
          </p:cNvPr>
          <p:cNvSpPr/>
          <p:nvPr/>
        </p:nvSpPr>
        <p:spPr bwMode="gray">
          <a:xfrm rot="10800000">
            <a:off x="4847464" y="2882358"/>
            <a:ext cx="971456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5" name="Right Triangle 644">
            <a:extLst>
              <a:ext uri="{FF2B5EF4-FFF2-40B4-BE49-F238E27FC236}">
                <a16:creationId xmlns:a16="http://schemas.microsoft.com/office/drawing/2014/main" id="{73360317-2D5C-42CA-9E6C-6AE0275B244D}"/>
              </a:ext>
            </a:extLst>
          </p:cNvPr>
          <p:cNvSpPr/>
          <p:nvPr/>
        </p:nvSpPr>
        <p:spPr bwMode="gray">
          <a:xfrm flipV="1">
            <a:off x="4847463" y="941663"/>
            <a:ext cx="971456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6" name="Right Triangle 645">
            <a:extLst>
              <a:ext uri="{FF2B5EF4-FFF2-40B4-BE49-F238E27FC236}">
                <a16:creationId xmlns:a16="http://schemas.microsoft.com/office/drawing/2014/main" id="{0F6D717C-C3A4-4884-B059-962B2F6A2412}"/>
              </a:ext>
            </a:extLst>
          </p:cNvPr>
          <p:cNvSpPr/>
          <p:nvPr/>
        </p:nvSpPr>
        <p:spPr bwMode="gray">
          <a:xfrm rot="10800000" flipV="1">
            <a:off x="4847464" y="941663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7" name="Right Triangle 646">
            <a:extLst>
              <a:ext uri="{FF2B5EF4-FFF2-40B4-BE49-F238E27FC236}">
                <a16:creationId xmlns:a16="http://schemas.microsoft.com/office/drawing/2014/main" id="{29ED4F58-E0F8-45D3-92C8-DE4BFA539A27}"/>
              </a:ext>
            </a:extLst>
          </p:cNvPr>
          <p:cNvSpPr/>
          <p:nvPr/>
        </p:nvSpPr>
        <p:spPr bwMode="gray">
          <a:xfrm>
            <a:off x="4847463" y="1906999"/>
            <a:ext cx="971456" cy="971203"/>
          </a:xfrm>
          <a:prstGeom prst="rtTriangle">
            <a:avLst/>
          </a:prstGeom>
          <a:solidFill>
            <a:sysClr val="window" lastClr="FFFFFF">
              <a:alpha val="7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8" name="Right Triangle 647">
            <a:extLst>
              <a:ext uri="{FF2B5EF4-FFF2-40B4-BE49-F238E27FC236}">
                <a16:creationId xmlns:a16="http://schemas.microsoft.com/office/drawing/2014/main" id="{EF0EF565-B25C-4643-8A60-5DC726700987}"/>
              </a:ext>
            </a:extLst>
          </p:cNvPr>
          <p:cNvSpPr/>
          <p:nvPr/>
        </p:nvSpPr>
        <p:spPr bwMode="gray">
          <a:xfrm rot="10800000">
            <a:off x="4847464" y="1913744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9" name="Right Triangle 648">
            <a:extLst>
              <a:ext uri="{FF2B5EF4-FFF2-40B4-BE49-F238E27FC236}">
                <a16:creationId xmlns:a16="http://schemas.microsoft.com/office/drawing/2014/main" id="{59E2DBCC-6CB4-49B1-B2E1-46BB3BAD1FC8}"/>
              </a:ext>
            </a:extLst>
          </p:cNvPr>
          <p:cNvSpPr/>
          <p:nvPr/>
        </p:nvSpPr>
        <p:spPr bwMode="gray">
          <a:xfrm>
            <a:off x="4847463" y="-27163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0" name="Right Triangle 649">
            <a:extLst>
              <a:ext uri="{FF2B5EF4-FFF2-40B4-BE49-F238E27FC236}">
                <a16:creationId xmlns:a16="http://schemas.microsoft.com/office/drawing/2014/main" id="{E1AEC6AA-86AB-461B-974D-E4D852A68BF9}"/>
              </a:ext>
            </a:extLst>
          </p:cNvPr>
          <p:cNvSpPr/>
          <p:nvPr/>
        </p:nvSpPr>
        <p:spPr bwMode="gray">
          <a:xfrm rot="10800000">
            <a:off x="4847464" y="-22208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2" name="Right Triangle 651">
            <a:extLst>
              <a:ext uri="{FF2B5EF4-FFF2-40B4-BE49-F238E27FC236}">
                <a16:creationId xmlns:a16="http://schemas.microsoft.com/office/drawing/2014/main" id="{3FFE64C0-FEBD-4FC2-92D7-8B830CB41491}"/>
              </a:ext>
            </a:extLst>
          </p:cNvPr>
          <p:cNvSpPr/>
          <p:nvPr/>
        </p:nvSpPr>
        <p:spPr bwMode="gray">
          <a:xfrm flipH="1">
            <a:off x="5815875" y="5795356"/>
            <a:ext cx="971456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3" name="Right Triangle 652">
            <a:extLst>
              <a:ext uri="{FF2B5EF4-FFF2-40B4-BE49-F238E27FC236}">
                <a16:creationId xmlns:a16="http://schemas.microsoft.com/office/drawing/2014/main" id="{BA3ED428-0457-4134-98E9-2701F05B7D4D}"/>
              </a:ext>
            </a:extLst>
          </p:cNvPr>
          <p:cNvSpPr/>
          <p:nvPr/>
        </p:nvSpPr>
        <p:spPr bwMode="gray">
          <a:xfrm rot="10800000" flipH="1">
            <a:off x="5815875" y="5795356"/>
            <a:ext cx="971456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4" name="Right Triangle 653">
            <a:extLst>
              <a:ext uri="{FF2B5EF4-FFF2-40B4-BE49-F238E27FC236}">
                <a16:creationId xmlns:a16="http://schemas.microsoft.com/office/drawing/2014/main" id="{E5A94D6A-F77C-40AE-B299-3AAAB1B39A88}"/>
              </a:ext>
            </a:extLst>
          </p:cNvPr>
          <p:cNvSpPr/>
          <p:nvPr/>
        </p:nvSpPr>
        <p:spPr bwMode="gray">
          <a:xfrm flipH="1" flipV="1">
            <a:off x="5815875" y="3850990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5" name="Right Triangle 654">
            <a:extLst>
              <a:ext uri="{FF2B5EF4-FFF2-40B4-BE49-F238E27FC236}">
                <a16:creationId xmlns:a16="http://schemas.microsoft.com/office/drawing/2014/main" id="{7AE041BD-6F07-45D1-929E-03EE78ECDC36}"/>
              </a:ext>
            </a:extLst>
          </p:cNvPr>
          <p:cNvSpPr/>
          <p:nvPr/>
        </p:nvSpPr>
        <p:spPr bwMode="gray">
          <a:xfrm rot="10800000" flipH="1">
            <a:off x="5815875" y="4823070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6" name="Right Triangle 655">
            <a:extLst>
              <a:ext uri="{FF2B5EF4-FFF2-40B4-BE49-F238E27FC236}">
                <a16:creationId xmlns:a16="http://schemas.microsoft.com/office/drawing/2014/main" id="{3E161EBE-EC1C-4907-8136-1E8A9F813450}"/>
              </a:ext>
            </a:extLst>
          </p:cNvPr>
          <p:cNvSpPr/>
          <p:nvPr/>
        </p:nvSpPr>
        <p:spPr bwMode="gray">
          <a:xfrm flipH="1">
            <a:off x="5815875" y="2882358"/>
            <a:ext cx="971456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7" name="Right Triangle 656">
            <a:extLst>
              <a:ext uri="{FF2B5EF4-FFF2-40B4-BE49-F238E27FC236}">
                <a16:creationId xmlns:a16="http://schemas.microsoft.com/office/drawing/2014/main" id="{21E9AD26-26BD-43C4-9A92-63BEF2BC3C31}"/>
              </a:ext>
            </a:extLst>
          </p:cNvPr>
          <p:cNvSpPr/>
          <p:nvPr/>
        </p:nvSpPr>
        <p:spPr bwMode="gray">
          <a:xfrm rot="10800000" flipH="1">
            <a:off x="5815875" y="2882358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8" name="Right Triangle 657">
            <a:extLst>
              <a:ext uri="{FF2B5EF4-FFF2-40B4-BE49-F238E27FC236}">
                <a16:creationId xmlns:a16="http://schemas.microsoft.com/office/drawing/2014/main" id="{BE7402AB-16E0-4435-AD9F-5FC8744C54EA}"/>
              </a:ext>
            </a:extLst>
          </p:cNvPr>
          <p:cNvSpPr/>
          <p:nvPr/>
        </p:nvSpPr>
        <p:spPr bwMode="gray">
          <a:xfrm flipH="1" flipV="1">
            <a:off x="5815875" y="941663"/>
            <a:ext cx="971456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9" name="Right Triangle 658">
            <a:extLst>
              <a:ext uri="{FF2B5EF4-FFF2-40B4-BE49-F238E27FC236}">
                <a16:creationId xmlns:a16="http://schemas.microsoft.com/office/drawing/2014/main" id="{E0555B24-989B-442B-AE5F-75CD46CF5F01}"/>
              </a:ext>
            </a:extLst>
          </p:cNvPr>
          <p:cNvSpPr/>
          <p:nvPr/>
        </p:nvSpPr>
        <p:spPr bwMode="gray">
          <a:xfrm flipH="1">
            <a:off x="5815875" y="1913744"/>
            <a:ext cx="971456" cy="971203"/>
          </a:xfrm>
          <a:prstGeom prst="rtTriangle">
            <a:avLst/>
          </a:prstGeom>
          <a:solidFill>
            <a:sysClr val="window" lastClr="FFFFFF">
              <a:alpha val="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0" name="Right Triangle 659">
            <a:extLst>
              <a:ext uri="{FF2B5EF4-FFF2-40B4-BE49-F238E27FC236}">
                <a16:creationId xmlns:a16="http://schemas.microsoft.com/office/drawing/2014/main" id="{145F9134-A35E-478C-8716-3A569DA90807}"/>
              </a:ext>
            </a:extLst>
          </p:cNvPr>
          <p:cNvSpPr/>
          <p:nvPr/>
        </p:nvSpPr>
        <p:spPr bwMode="gray">
          <a:xfrm rot="10800000" flipH="1">
            <a:off x="5815876" y="1913744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1" name="Right Triangle 660">
            <a:extLst>
              <a:ext uri="{FF2B5EF4-FFF2-40B4-BE49-F238E27FC236}">
                <a16:creationId xmlns:a16="http://schemas.microsoft.com/office/drawing/2014/main" id="{A20D862C-EB68-4AA6-864F-4D8538E8FF6B}"/>
              </a:ext>
            </a:extLst>
          </p:cNvPr>
          <p:cNvSpPr/>
          <p:nvPr/>
        </p:nvSpPr>
        <p:spPr bwMode="gray">
          <a:xfrm flipH="1">
            <a:off x="5815875" y="-27163"/>
            <a:ext cx="971456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2" name="Right Triangle 661">
            <a:extLst>
              <a:ext uri="{FF2B5EF4-FFF2-40B4-BE49-F238E27FC236}">
                <a16:creationId xmlns:a16="http://schemas.microsoft.com/office/drawing/2014/main" id="{EB19E814-72CA-47E4-B527-7685D8128EF9}"/>
              </a:ext>
            </a:extLst>
          </p:cNvPr>
          <p:cNvSpPr/>
          <p:nvPr/>
        </p:nvSpPr>
        <p:spPr bwMode="gray">
          <a:xfrm rot="10800000" flipH="1">
            <a:off x="5815875" y="-22208"/>
            <a:ext cx="971456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66" name="Right Triangle 465">
            <a:extLst>
              <a:ext uri="{FF2B5EF4-FFF2-40B4-BE49-F238E27FC236}">
                <a16:creationId xmlns:a16="http://schemas.microsoft.com/office/drawing/2014/main" id="{9D036190-EC9A-4840-852D-0BC2A23BEA38}"/>
              </a:ext>
            </a:extLst>
          </p:cNvPr>
          <p:cNvSpPr/>
          <p:nvPr/>
        </p:nvSpPr>
        <p:spPr bwMode="gray">
          <a:xfrm>
            <a:off x="6787454" y="5795356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67" name="Right Triangle 466">
            <a:extLst>
              <a:ext uri="{FF2B5EF4-FFF2-40B4-BE49-F238E27FC236}">
                <a16:creationId xmlns:a16="http://schemas.microsoft.com/office/drawing/2014/main" id="{C17CDE12-8EE2-4013-8ED1-101BB4623B1D}"/>
              </a:ext>
            </a:extLst>
          </p:cNvPr>
          <p:cNvSpPr/>
          <p:nvPr/>
        </p:nvSpPr>
        <p:spPr bwMode="gray">
          <a:xfrm rot="10800000">
            <a:off x="6787454" y="5795356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68" name="Right Triangle 467">
            <a:extLst>
              <a:ext uri="{FF2B5EF4-FFF2-40B4-BE49-F238E27FC236}">
                <a16:creationId xmlns:a16="http://schemas.microsoft.com/office/drawing/2014/main" id="{5A27562C-3468-4E72-B14F-2E407B9845E9}"/>
              </a:ext>
            </a:extLst>
          </p:cNvPr>
          <p:cNvSpPr/>
          <p:nvPr/>
        </p:nvSpPr>
        <p:spPr bwMode="gray">
          <a:xfrm flipV="1">
            <a:off x="6787454" y="3850990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69" name="Right Triangle 468">
            <a:extLst>
              <a:ext uri="{FF2B5EF4-FFF2-40B4-BE49-F238E27FC236}">
                <a16:creationId xmlns:a16="http://schemas.microsoft.com/office/drawing/2014/main" id="{9686A891-3AED-4911-B7B9-B9617BDE0702}"/>
              </a:ext>
            </a:extLst>
          </p:cNvPr>
          <p:cNvSpPr/>
          <p:nvPr/>
        </p:nvSpPr>
        <p:spPr bwMode="gray">
          <a:xfrm>
            <a:off x="6787454" y="4823070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0" name="Right Triangle 469">
            <a:extLst>
              <a:ext uri="{FF2B5EF4-FFF2-40B4-BE49-F238E27FC236}">
                <a16:creationId xmlns:a16="http://schemas.microsoft.com/office/drawing/2014/main" id="{DE40A533-1471-49E8-8B6B-A959B2DDA663}"/>
              </a:ext>
            </a:extLst>
          </p:cNvPr>
          <p:cNvSpPr/>
          <p:nvPr/>
        </p:nvSpPr>
        <p:spPr bwMode="gray">
          <a:xfrm rot="10800000">
            <a:off x="6787454" y="4823070"/>
            <a:ext cx="971456" cy="971203"/>
          </a:xfrm>
          <a:prstGeom prst="rtTriangle">
            <a:avLst/>
          </a:prstGeom>
          <a:solidFill>
            <a:sysClr val="window" lastClr="FFFFFF">
              <a:alpha val="10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1" name="Right Triangle 470">
            <a:extLst>
              <a:ext uri="{FF2B5EF4-FFF2-40B4-BE49-F238E27FC236}">
                <a16:creationId xmlns:a16="http://schemas.microsoft.com/office/drawing/2014/main" id="{DB32AA39-EB38-4306-9195-841B647BAD5C}"/>
              </a:ext>
            </a:extLst>
          </p:cNvPr>
          <p:cNvSpPr/>
          <p:nvPr/>
        </p:nvSpPr>
        <p:spPr bwMode="gray">
          <a:xfrm>
            <a:off x="6787454" y="2882358"/>
            <a:ext cx="971456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2" name="Right Triangle 471">
            <a:extLst>
              <a:ext uri="{FF2B5EF4-FFF2-40B4-BE49-F238E27FC236}">
                <a16:creationId xmlns:a16="http://schemas.microsoft.com/office/drawing/2014/main" id="{CA409C7F-AA0D-4E1C-B891-C436EE6C1C30}"/>
              </a:ext>
            </a:extLst>
          </p:cNvPr>
          <p:cNvSpPr/>
          <p:nvPr/>
        </p:nvSpPr>
        <p:spPr bwMode="gray">
          <a:xfrm flipV="1">
            <a:off x="6787454" y="941663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3" name="Right Triangle 472">
            <a:extLst>
              <a:ext uri="{FF2B5EF4-FFF2-40B4-BE49-F238E27FC236}">
                <a16:creationId xmlns:a16="http://schemas.microsoft.com/office/drawing/2014/main" id="{FB146815-B2F1-46AB-87F7-711A9254586A}"/>
              </a:ext>
            </a:extLst>
          </p:cNvPr>
          <p:cNvSpPr/>
          <p:nvPr/>
        </p:nvSpPr>
        <p:spPr bwMode="gray">
          <a:xfrm>
            <a:off x="6787454" y="1913744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4" name="Right Triangle 473">
            <a:extLst>
              <a:ext uri="{FF2B5EF4-FFF2-40B4-BE49-F238E27FC236}">
                <a16:creationId xmlns:a16="http://schemas.microsoft.com/office/drawing/2014/main" id="{D31C6409-E63A-4DD4-96F5-56CFCE038A2A}"/>
              </a:ext>
            </a:extLst>
          </p:cNvPr>
          <p:cNvSpPr/>
          <p:nvPr/>
        </p:nvSpPr>
        <p:spPr bwMode="gray">
          <a:xfrm rot="10800000">
            <a:off x="6787455" y="1913744"/>
            <a:ext cx="971456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5" name="Right Triangle 474">
            <a:extLst>
              <a:ext uri="{FF2B5EF4-FFF2-40B4-BE49-F238E27FC236}">
                <a16:creationId xmlns:a16="http://schemas.microsoft.com/office/drawing/2014/main" id="{FDF7B0C4-6C78-48FA-A7AE-C266ED8F4F63}"/>
              </a:ext>
            </a:extLst>
          </p:cNvPr>
          <p:cNvSpPr/>
          <p:nvPr/>
        </p:nvSpPr>
        <p:spPr bwMode="gray">
          <a:xfrm>
            <a:off x="6787454" y="-27163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6" name="Right Triangle 475">
            <a:extLst>
              <a:ext uri="{FF2B5EF4-FFF2-40B4-BE49-F238E27FC236}">
                <a16:creationId xmlns:a16="http://schemas.microsoft.com/office/drawing/2014/main" id="{B65282C9-A8EC-4391-A520-F8D6DFCB6FAD}"/>
              </a:ext>
            </a:extLst>
          </p:cNvPr>
          <p:cNvSpPr/>
          <p:nvPr/>
        </p:nvSpPr>
        <p:spPr bwMode="gray">
          <a:xfrm rot="10800000">
            <a:off x="6787454" y="-22209"/>
            <a:ext cx="971456" cy="971203"/>
          </a:xfrm>
          <a:prstGeom prst="rtTriangle">
            <a:avLst/>
          </a:prstGeom>
          <a:solidFill>
            <a:sysClr val="window" lastClr="FFFFFF">
              <a:alpha val="1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8" name="Right Triangle 477">
            <a:extLst>
              <a:ext uri="{FF2B5EF4-FFF2-40B4-BE49-F238E27FC236}">
                <a16:creationId xmlns:a16="http://schemas.microsoft.com/office/drawing/2014/main" id="{D18ED821-4CC1-48D7-9D13-F74299966B2F}"/>
              </a:ext>
            </a:extLst>
          </p:cNvPr>
          <p:cNvSpPr/>
          <p:nvPr/>
        </p:nvSpPr>
        <p:spPr bwMode="gray">
          <a:xfrm flipH="1">
            <a:off x="7758910" y="5795356"/>
            <a:ext cx="971456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9" name="Right Triangle 478">
            <a:extLst>
              <a:ext uri="{FF2B5EF4-FFF2-40B4-BE49-F238E27FC236}">
                <a16:creationId xmlns:a16="http://schemas.microsoft.com/office/drawing/2014/main" id="{6F5AC38F-5EC9-465D-B0C7-2267CA284F61}"/>
              </a:ext>
            </a:extLst>
          </p:cNvPr>
          <p:cNvSpPr/>
          <p:nvPr/>
        </p:nvSpPr>
        <p:spPr bwMode="gray">
          <a:xfrm flipH="1" flipV="1">
            <a:off x="7758910" y="3850990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0" name="Right Triangle 479">
            <a:extLst>
              <a:ext uri="{FF2B5EF4-FFF2-40B4-BE49-F238E27FC236}">
                <a16:creationId xmlns:a16="http://schemas.microsoft.com/office/drawing/2014/main" id="{5E1430A1-84F0-4F77-99F3-ECA368425298}"/>
              </a:ext>
            </a:extLst>
          </p:cNvPr>
          <p:cNvSpPr/>
          <p:nvPr/>
        </p:nvSpPr>
        <p:spPr bwMode="gray">
          <a:xfrm rot="10800000" flipH="1" flipV="1">
            <a:off x="7758911" y="3850990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1" name="Right Triangle 480">
            <a:extLst>
              <a:ext uri="{FF2B5EF4-FFF2-40B4-BE49-F238E27FC236}">
                <a16:creationId xmlns:a16="http://schemas.microsoft.com/office/drawing/2014/main" id="{5E5019BA-9FCC-4C2F-8754-6196BD95997F}"/>
              </a:ext>
            </a:extLst>
          </p:cNvPr>
          <p:cNvSpPr/>
          <p:nvPr/>
        </p:nvSpPr>
        <p:spPr bwMode="gray">
          <a:xfrm flipH="1">
            <a:off x="7758910" y="4823070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2" name="Right Triangle 481">
            <a:extLst>
              <a:ext uri="{FF2B5EF4-FFF2-40B4-BE49-F238E27FC236}">
                <a16:creationId xmlns:a16="http://schemas.microsoft.com/office/drawing/2014/main" id="{C3F5F68C-A0C5-4E20-AE37-C80BCCB2FEC3}"/>
              </a:ext>
            </a:extLst>
          </p:cNvPr>
          <p:cNvSpPr/>
          <p:nvPr/>
        </p:nvSpPr>
        <p:spPr bwMode="gray">
          <a:xfrm flipH="1">
            <a:off x="7758910" y="2882358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3" name="Right Triangle 482">
            <a:extLst>
              <a:ext uri="{FF2B5EF4-FFF2-40B4-BE49-F238E27FC236}">
                <a16:creationId xmlns:a16="http://schemas.microsoft.com/office/drawing/2014/main" id="{A493FDDB-C1AD-417F-8CFF-3000FB6BC37E}"/>
              </a:ext>
            </a:extLst>
          </p:cNvPr>
          <p:cNvSpPr/>
          <p:nvPr/>
        </p:nvSpPr>
        <p:spPr bwMode="gray">
          <a:xfrm rot="10800000" flipH="1">
            <a:off x="7758911" y="2882358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4" name="Right Triangle 483">
            <a:extLst>
              <a:ext uri="{FF2B5EF4-FFF2-40B4-BE49-F238E27FC236}">
                <a16:creationId xmlns:a16="http://schemas.microsoft.com/office/drawing/2014/main" id="{AD32C4F5-7244-44EE-AC85-87542D44C7E3}"/>
              </a:ext>
            </a:extLst>
          </p:cNvPr>
          <p:cNvSpPr/>
          <p:nvPr/>
        </p:nvSpPr>
        <p:spPr bwMode="gray">
          <a:xfrm flipH="1" flipV="1">
            <a:off x="7758910" y="941663"/>
            <a:ext cx="971456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5" name="Right Triangle 484">
            <a:extLst>
              <a:ext uri="{FF2B5EF4-FFF2-40B4-BE49-F238E27FC236}">
                <a16:creationId xmlns:a16="http://schemas.microsoft.com/office/drawing/2014/main" id="{62D211CD-72BE-4103-8828-3D09CAF071F3}"/>
              </a:ext>
            </a:extLst>
          </p:cNvPr>
          <p:cNvSpPr/>
          <p:nvPr/>
        </p:nvSpPr>
        <p:spPr bwMode="gray">
          <a:xfrm rot="10800000" flipH="1" flipV="1">
            <a:off x="7758910" y="941664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6" name="Right Triangle 485">
            <a:extLst>
              <a:ext uri="{FF2B5EF4-FFF2-40B4-BE49-F238E27FC236}">
                <a16:creationId xmlns:a16="http://schemas.microsoft.com/office/drawing/2014/main" id="{E1548013-0BBF-42F9-B6A6-F8A390F676CB}"/>
              </a:ext>
            </a:extLst>
          </p:cNvPr>
          <p:cNvSpPr/>
          <p:nvPr/>
        </p:nvSpPr>
        <p:spPr bwMode="gray">
          <a:xfrm flipH="1">
            <a:off x="7758910" y="1913744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7" name="Right Triangle 486">
            <a:extLst>
              <a:ext uri="{FF2B5EF4-FFF2-40B4-BE49-F238E27FC236}">
                <a16:creationId xmlns:a16="http://schemas.microsoft.com/office/drawing/2014/main" id="{0CE4FFC6-CB2F-4F51-A0AE-DE64B5C975B2}"/>
              </a:ext>
            </a:extLst>
          </p:cNvPr>
          <p:cNvSpPr/>
          <p:nvPr/>
        </p:nvSpPr>
        <p:spPr bwMode="gray">
          <a:xfrm rot="10800000" flipH="1">
            <a:off x="7758911" y="1913744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8" name="Right Triangle 487">
            <a:extLst>
              <a:ext uri="{FF2B5EF4-FFF2-40B4-BE49-F238E27FC236}">
                <a16:creationId xmlns:a16="http://schemas.microsoft.com/office/drawing/2014/main" id="{369D0442-7DEB-4488-8042-B8E7E70FFA5D}"/>
              </a:ext>
            </a:extLst>
          </p:cNvPr>
          <p:cNvSpPr/>
          <p:nvPr/>
        </p:nvSpPr>
        <p:spPr bwMode="gray">
          <a:xfrm flipH="1">
            <a:off x="7758910" y="-27163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9" name="Right Triangle 488">
            <a:extLst>
              <a:ext uri="{FF2B5EF4-FFF2-40B4-BE49-F238E27FC236}">
                <a16:creationId xmlns:a16="http://schemas.microsoft.com/office/drawing/2014/main" id="{4943D2F9-551F-4E96-ACE3-96173DC11611}"/>
              </a:ext>
            </a:extLst>
          </p:cNvPr>
          <p:cNvSpPr/>
          <p:nvPr/>
        </p:nvSpPr>
        <p:spPr bwMode="gray">
          <a:xfrm rot="10800000" flipH="1">
            <a:off x="7758910" y="-22209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1" name="Right Triangle 490">
            <a:extLst>
              <a:ext uri="{FF2B5EF4-FFF2-40B4-BE49-F238E27FC236}">
                <a16:creationId xmlns:a16="http://schemas.microsoft.com/office/drawing/2014/main" id="{D1EEA76D-EF09-4732-9152-3A8CEE5FD779}"/>
              </a:ext>
            </a:extLst>
          </p:cNvPr>
          <p:cNvSpPr/>
          <p:nvPr/>
        </p:nvSpPr>
        <p:spPr bwMode="gray">
          <a:xfrm>
            <a:off x="8730365" y="5795356"/>
            <a:ext cx="971456" cy="971203"/>
          </a:xfrm>
          <a:prstGeom prst="rtTriangle">
            <a:avLst/>
          </a:prstGeom>
          <a:solidFill>
            <a:sysClr val="window" lastClr="FFFFFF">
              <a:alpha val="10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2" name="Right Triangle 491">
            <a:extLst>
              <a:ext uri="{FF2B5EF4-FFF2-40B4-BE49-F238E27FC236}">
                <a16:creationId xmlns:a16="http://schemas.microsoft.com/office/drawing/2014/main" id="{03BADBBF-37CE-45DC-87B7-4B075CDFB0A0}"/>
              </a:ext>
            </a:extLst>
          </p:cNvPr>
          <p:cNvSpPr/>
          <p:nvPr/>
        </p:nvSpPr>
        <p:spPr bwMode="gray">
          <a:xfrm rot="10800000">
            <a:off x="8730365" y="5795356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3" name="Right Triangle 492">
            <a:extLst>
              <a:ext uri="{FF2B5EF4-FFF2-40B4-BE49-F238E27FC236}">
                <a16:creationId xmlns:a16="http://schemas.microsoft.com/office/drawing/2014/main" id="{0CE4B2D2-CC16-4CDC-B260-C513C351588E}"/>
              </a:ext>
            </a:extLst>
          </p:cNvPr>
          <p:cNvSpPr/>
          <p:nvPr/>
        </p:nvSpPr>
        <p:spPr bwMode="gray">
          <a:xfrm flipV="1">
            <a:off x="8730365" y="3850990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4" name="Right Triangle 493">
            <a:extLst>
              <a:ext uri="{FF2B5EF4-FFF2-40B4-BE49-F238E27FC236}">
                <a16:creationId xmlns:a16="http://schemas.microsoft.com/office/drawing/2014/main" id="{F196A658-B530-40AA-9B08-7330371C1F67}"/>
              </a:ext>
            </a:extLst>
          </p:cNvPr>
          <p:cNvSpPr/>
          <p:nvPr/>
        </p:nvSpPr>
        <p:spPr bwMode="gray">
          <a:xfrm>
            <a:off x="8730365" y="4823070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5" name="Right Triangle 494">
            <a:extLst>
              <a:ext uri="{FF2B5EF4-FFF2-40B4-BE49-F238E27FC236}">
                <a16:creationId xmlns:a16="http://schemas.microsoft.com/office/drawing/2014/main" id="{8D0A37C8-3C4D-4FF8-A4DE-36AA95A7BBC2}"/>
              </a:ext>
            </a:extLst>
          </p:cNvPr>
          <p:cNvSpPr/>
          <p:nvPr/>
        </p:nvSpPr>
        <p:spPr bwMode="gray">
          <a:xfrm rot="10800000">
            <a:off x="8730366" y="4823070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6" name="Right Triangle 495">
            <a:extLst>
              <a:ext uri="{FF2B5EF4-FFF2-40B4-BE49-F238E27FC236}">
                <a16:creationId xmlns:a16="http://schemas.microsoft.com/office/drawing/2014/main" id="{AFBC321F-0A27-4928-875E-0038CD529FEF}"/>
              </a:ext>
            </a:extLst>
          </p:cNvPr>
          <p:cNvSpPr/>
          <p:nvPr/>
        </p:nvSpPr>
        <p:spPr bwMode="gray">
          <a:xfrm>
            <a:off x="8730365" y="2882358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7" name="Right Triangle 496">
            <a:extLst>
              <a:ext uri="{FF2B5EF4-FFF2-40B4-BE49-F238E27FC236}">
                <a16:creationId xmlns:a16="http://schemas.microsoft.com/office/drawing/2014/main" id="{98D2FA77-B3F2-44F0-8395-8DEA89579ADE}"/>
              </a:ext>
            </a:extLst>
          </p:cNvPr>
          <p:cNvSpPr/>
          <p:nvPr/>
        </p:nvSpPr>
        <p:spPr bwMode="gray">
          <a:xfrm rot="10800000">
            <a:off x="8730365" y="2882358"/>
            <a:ext cx="971456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8" name="Right Triangle 497">
            <a:extLst>
              <a:ext uri="{FF2B5EF4-FFF2-40B4-BE49-F238E27FC236}">
                <a16:creationId xmlns:a16="http://schemas.microsoft.com/office/drawing/2014/main" id="{A90026DE-8D5D-4E90-A62B-0601F0AA8C54}"/>
              </a:ext>
            </a:extLst>
          </p:cNvPr>
          <p:cNvSpPr/>
          <p:nvPr/>
        </p:nvSpPr>
        <p:spPr bwMode="gray">
          <a:xfrm flipV="1">
            <a:off x="8730365" y="941663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9" name="Right Triangle 498">
            <a:extLst>
              <a:ext uri="{FF2B5EF4-FFF2-40B4-BE49-F238E27FC236}">
                <a16:creationId xmlns:a16="http://schemas.microsoft.com/office/drawing/2014/main" id="{0D52872E-7204-45F1-98F0-B0B7099B7A8C}"/>
              </a:ext>
            </a:extLst>
          </p:cNvPr>
          <p:cNvSpPr/>
          <p:nvPr/>
        </p:nvSpPr>
        <p:spPr bwMode="gray">
          <a:xfrm rot="10800000">
            <a:off x="8730365" y="1913744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0" name="Right Triangle 499">
            <a:extLst>
              <a:ext uri="{FF2B5EF4-FFF2-40B4-BE49-F238E27FC236}">
                <a16:creationId xmlns:a16="http://schemas.microsoft.com/office/drawing/2014/main" id="{3337BD41-983C-432C-A5F0-68EC85129B53}"/>
              </a:ext>
            </a:extLst>
          </p:cNvPr>
          <p:cNvSpPr/>
          <p:nvPr/>
        </p:nvSpPr>
        <p:spPr bwMode="gray">
          <a:xfrm>
            <a:off x="8730365" y="-27163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1" name="Right Triangle 500">
            <a:extLst>
              <a:ext uri="{FF2B5EF4-FFF2-40B4-BE49-F238E27FC236}">
                <a16:creationId xmlns:a16="http://schemas.microsoft.com/office/drawing/2014/main" id="{B32B1C8E-E88D-484F-A139-FDC87FA181EB}"/>
              </a:ext>
            </a:extLst>
          </p:cNvPr>
          <p:cNvSpPr/>
          <p:nvPr/>
        </p:nvSpPr>
        <p:spPr bwMode="gray">
          <a:xfrm rot="10800000">
            <a:off x="8730365" y="-22209"/>
            <a:ext cx="971456" cy="971203"/>
          </a:xfrm>
          <a:prstGeom prst="rtTriangle">
            <a:avLst/>
          </a:prstGeom>
          <a:solidFill>
            <a:sysClr val="window" lastClr="FFFFFF">
              <a:alpha val="1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3" name="Right Triangle 502">
            <a:extLst>
              <a:ext uri="{FF2B5EF4-FFF2-40B4-BE49-F238E27FC236}">
                <a16:creationId xmlns:a16="http://schemas.microsoft.com/office/drawing/2014/main" id="{85233584-A686-4DE8-A0A9-5D98438510E4}"/>
              </a:ext>
            </a:extLst>
          </p:cNvPr>
          <p:cNvSpPr/>
          <p:nvPr/>
        </p:nvSpPr>
        <p:spPr bwMode="gray">
          <a:xfrm flipH="1">
            <a:off x="9701823" y="5795356"/>
            <a:ext cx="971456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4" name="Right Triangle 503">
            <a:extLst>
              <a:ext uri="{FF2B5EF4-FFF2-40B4-BE49-F238E27FC236}">
                <a16:creationId xmlns:a16="http://schemas.microsoft.com/office/drawing/2014/main" id="{718AEFD1-A4DB-47BD-8051-F4227844127D}"/>
              </a:ext>
            </a:extLst>
          </p:cNvPr>
          <p:cNvSpPr/>
          <p:nvPr/>
        </p:nvSpPr>
        <p:spPr bwMode="gray">
          <a:xfrm rot="10800000" flipH="1">
            <a:off x="9701824" y="5795356"/>
            <a:ext cx="971456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5" name="Right Triangle 504">
            <a:extLst>
              <a:ext uri="{FF2B5EF4-FFF2-40B4-BE49-F238E27FC236}">
                <a16:creationId xmlns:a16="http://schemas.microsoft.com/office/drawing/2014/main" id="{8C5AECE4-3490-4893-BE9E-D7EA3A1631F1}"/>
              </a:ext>
            </a:extLst>
          </p:cNvPr>
          <p:cNvSpPr/>
          <p:nvPr/>
        </p:nvSpPr>
        <p:spPr bwMode="gray">
          <a:xfrm flipH="1" flipV="1">
            <a:off x="9701823" y="3850990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6" name="Right Triangle 505">
            <a:extLst>
              <a:ext uri="{FF2B5EF4-FFF2-40B4-BE49-F238E27FC236}">
                <a16:creationId xmlns:a16="http://schemas.microsoft.com/office/drawing/2014/main" id="{3977C785-5133-4646-8D8C-5F83AE5365BD}"/>
              </a:ext>
            </a:extLst>
          </p:cNvPr>
          <p:cNvSpPr/>
          <p:nvPr/>
        </p:nvSpPr>
        <p:spPr bwMode="gray">
          <a:xfrm rot="10800000" flipH="1" flipV="1">
            <a:off x="9701824" y="3850990"/>
            <a:ext cx="971456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7" name="Right Triangle 506">
            <a:extLst>
              <a:ext uri="{FF2B5EF4-FFF2-40B4-BE49-F238E27FC236}">
                <a16:creationId xmlns:a16="http://schemas.microsoft.com/office/drawing/2014/main" id="{D085CF7B-38E7-4DC1-B92D-AE58F6E90A44}"/>
              </a:ext>
            </a:extLst>
          </p:cNvPr>
          <p:cNvSpPr/>
          <p:nvPr/>
        </p:nvSpPr>
        <p:spPr bwMode="gray">
          <a:xfrm flipH="1">
            <a:off x="9701823" y="4823070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8" name="Right Triangle 507">
            <a:extLst>
              <a:ext uri="{FF2B5EF4-FFF2-40B4-BE49-F238E27FC236}">
                <a16:creationId xmlns:a16="http://schemas.microsoft.com/office/drawing/2014/main" id="{E16F5105-C3A3-4C9B-B19D-C0F42159BC22}"/>
              </a:ext>
            </a:extLst>
          </p:cNvPr>
          <p:cNvSpPr/>
          <p:nvPr/>
        </p:nvSpPr>
        <p:spPr bwMode="gray">
          <a:xfrm rot="10800000" flipH="1">
            <a:off x="9701823" y="2882358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9" name="Right Triangle 508">
            <a:extLst>
              <a:ext uri="{FF2B5EF4-FFF2-40B4-BE49-F238E27FC236}">
                <a16:creationId xmlns:a16="http://schemas.microsoft.com/office/drawing/2014/main" id="{7D3BEC77-902F-470C-A6BB-511DE99DC7B9}"/>
              </a:ext>
            </a:extLst>
          </p:cNvPr>
          <p:cNvSpPr/>
          <p:nvPr/>
        </p:nvSpPr>
        <p:spPr bwMode="gray">
          <a:xfrm flipH="1" flipV="1">
            <a:off x="9701823" y="941663"/>
            <a:ext cx="971456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10" name="Right Triangle 509">
            <a:extLst>
              <a:ext uri="{FF2B5EF4-FFF2-40B4-BE49-F238E27FC236}">
                <a16:creationId xmlns:a16="http://schemas.microsoft.com/office/drawing/2014/main" id="{10556604-5E02-42B8-AAAE-2F74EE41B568}"/>
              </a:ext>
            </a:extLst>
          </p:cNvPr>
          <p:cNvSpPr/>
          <p:nvPr/>
        </p:nvSpPr>
        <p:spPr bwMode="gray">
          <a:xfrm rot="10800000" flipH="1" flipV="1">
            <a:off x="9701823" y="941663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11" name="Right Triangle 510">
            <a:extLst>
              <a:ext uri="{FF2B5EF4-FFF2-40B4-BE49-F238E27FC236}">
                <a16:creationId xmlns:a16="http://schemas.microsoft.com/office/drawing/2014/main" id="{51C49778-A679-45B6-AEF1-4197C4A6298B}"/>
              </a:ext>
            </a:extLst>
          </p:cNvPr>
          <p:cNvSpPr/>
          <p:nvPr/>
        </p:nvSpPr>
        <p:spPr bwMode="gray">
          <a:xfrm flipH="1">
            <a:off x="9701823" y="1913744"/>
            <a:ext cx="971456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12" name="Right Triangle 511">
            <a:extLst>
              <a:ext uri="{FF2B5EF4-FFF2-40B4-BE49-F238E27FC236}">
                <a16:creationId xmlns:a16="http://schemas.microsoft.com/office/drawing/2014/main" id="{E3465415-18F7-41F4-A4FB-EC38C5651A27}"/>
              </a:ext>
            </a:extLst>
          </p:cNvPr>
          <p:cNvSpPr/>
          <p:nvPr/>
        </p:nvSpPr>
        <p:spPr bwMode="gray">
          <a:xfrm rot="10800000" flipH="1">
            <a:off x="9701823" y="1913744"/>
            <a:ext cx="971456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13" name="Right Triangle 512">
            <a:extLst>
              <a:ext uri="{FF2B5EF4-FFF2-40B4-BE49-F238E27FC236}">
                <a16:creationId xmlns:a16="http://schemas.microsoft.com/office/drawing/2014/main" id="{EB4244E3-9048-429D-92A5-2A742CD6FB00}"/>
              </a:ext>
            </a:extLst>
          </p:cNvPr>
          <p:cNvSpPr/>
          <p:nvPr/>
        </p:nvSpPr>
        <p:spPr bwMode="gray">
          <a:xfrm flipH="1">
            <a:off x="9701823" y="-27163"/>
            <a:ext cx="971456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14" name="Right Triangle 513">
            <a:extLst>
              <a:ext uri="{FF2B5EF4-FFF2-40B4-BE49-F238E27FC236}">
                <a16:creationId xmlns:a16="http://schemas.microsoft.com/office/drawing/2014/main" id="{64B212AA-0CC4-4ED4-897F-0B36BD05C02B}"/>
              </a:ext>
            </a:extLst>
          </p:cNvPr>
          <p:cNvSpPr/>
          <p:nvPr/>
        </p:nvSpPr>
        <p:spPr bwMode="gray">
          <a:xfrm rot="10800000" flipH="1">
            <a:off x="9701823" y="-22209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2" name="Freeform: Shape 721">
            <a:extLst>
              <a:ext uri="{FF2B5EF4-FFF2-40B4-BE49-F238E27FC236}">
                <a16:creationId xmlns:a16="http://schemas.microsoft.com/office/drawing/2014/main" id="{4198A3AE-B4AF-4107-AF2C-FFF36D289601}"/>
              </a:ext>
            </a:extLst>
          </p:cNvPr>
          <p:cNvSpPr/>
          <p:nvPr/>
        </p:nvSpPr>
        <p:spPr bwMode="gray">
          <a:xfrm flipH="1">
            <a:off x="11645638" y="942852"/>
            <a:ext cx="2378" cy="1188"/>
          </a:xfrm>
          <a:custGeom>
            <a:avLst/>
            <a:gdLst>
              <a:gd name="connsiteX0" fmla="*/ 1188 w 2377"/>
              <a:gd name="connsiteY0" fmla="*/ 0 h 1188"/>
              <a:gd name="connsiteX1" fmla="*/ 0 w 2377"/>
              <a:gd name="connsiteY1" fmla="*/ 1188 h 1188"/>
              <a:gd name="connsiteX2" fmla="*/ 2377 w 2377"/>
              <a:gd name="connsiteY2" fmla="*/ 1188 h 1188"/>
              <a:gd name="connsiteX3" fmla="*/ 1188 w 2377"/>
              <a:gd name="connsiteY3" fmla="*/ 0 h 1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77" h="1188">
                <a:moveTo>
                  <a:pt x="1188" y="0"/>
                </a:moveTo>
                <a:lnTo>
                  <a:pt x="0" y="1188"/>
                </a:lnTo>
                <a:lnTo>
                  <a:pt x="2377" y="1188"/>
                </a:lnTo>
                <a:lnTo>
                  <a:pt x="1188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13" name="Freeform: Shape 712">
            <a:extLst>
              <a:ext uri="{FF2B5EF4-FFF2-40B4-BE49-F238E27FC236}">
                <a16:creationId xmlns:a16="http://schemas.microsoft.com/office/drawing/2014/main" id="{716868FE-718E-49A7-B810-29C70CC03FED}"/>
              </a:ext>
            </a:extLst>
          </p:cNvPr>
          <p:cNvSpPr/>
          <p:nvPr/>
        </p:nvSpPr>
        <p:spPr bwMode="gray">
          <a:xfrm flipH="1">
            <a:off x="11648016" y="944041"/>
            <a:ext cx="550336" cy="550193"/>
          </a:xfrm>
          <a:custGeom>
            <a:avLst/>
            <a:gdLst>
              <a:gd name="connsiteX0" fmla="*/ 550193 w 550193"/>
              <a:gd name="connsiteY0" fmla="*/ 0 h 550193"/>
              <a:gd name="connsiteX1" fmla="*/ 0 w 550193"/>
              <a:gd name="connsiteY1" fmla="*/ 0 h 550193"/>
              <a:gd name="connsiteX2" fmla="*/ 0 w 550193"/>
              <a:gd name="connsiteY2" fmla="*/ 550193 h 550193"/>
              <a:gd name="connsiteX3" fmla="*/ 550193 w 550193"/>
              <a:gd name="connsiteY3" fmla="*/ 0 h 550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0193" h="550193">
                <a:moveTo>
                  <a:pt x="550193" y="0"/>
                </a:moveTo>
                <a:lnTo>
                  <a:pt x="0" y="0"/>
                </a:lnTo>
                <a:lnTo>
                  <a:pt x="0" y="550193"/>
                </a:lnTo>
                <a:lnTo>
                  <a:pt x="550193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3" name="Freeform: Shape 662">
            <a:extLst>
              <a:ext uri="{FF2B5EF4-FFF2-40B4-BE49-F238E27FC236}">
                <a16:creationId xmlns:a16="http://schemas.microsoft.com/office/drawing/2014/main" id="{F9B80112-4219-4A1E-BFEE-722CE3FBED53}"/>
              </a:ext>
            </a:extLst>
          </p:cNvPr>
          <p:cNvSpPr/>
          <p:nvPr/>
        </p:nvSpPr>
        <p:spPr bwMode="gray">
          <a:xfrm flipH="1">
            <a:off x="11645639" y="3852274"/>
            <a:ext cx="2572" cy="1286"/>
          </a:xfrm>
          <a:custGeom>
            <a:avLst/>
            <a:gdLst>
              <a:gd name="connsiteX0" fmla="*/ 1286 w 2571"/>
              <a:gd name="connsiteY0" fmla="*/ 0 h 1286"/>
              <a:gd name="connsiteX1" fmla="*/ 0 w 2571"/>
              <a:gd name="connsiteY1" fmla="*/ 1286 h 1286"/>
              <a:gd name="connsiteX2" fmla="*/ 2571 w 2571"/>
              <a:gd name="connsiteY2" fmla="*/ 1286 h 1286"/>
              <a:gd name="connsiteX3" fmla="*/ 2571 w 2571"/>
              <a:gd name="connsiteY3" fmla="*/ 1285 h 1286"/>
              <a:gd name="connsiteX4" fmla="*/ 1286 w 2571"/>
              <a:gd name="connsiteY4" fmla="*/ 0 h 1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71" h="1286">
                <a:moveTo>
                  <a:pt x="1286" y="0"/>
                </a:moveTo>
                <a:lnTo>
                  <a:pt x="0" y="1286"/>
                </a:lnTo>
                <a:lnTo>
                  <a:pt x="2571" y="1286"/>
                </a:lnTo>
                <a:lnTo>
                  <a:pt x="2571" y="1285"/>
                </a:lnTo>
                <a:lnTo>
                  <a:pt x="1286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1" name="Freeform: Shape 650">
            <a:extLst>
              <a:ext uri="{FF2B5EF4-FFF2-40B4-BE49-F238E27FC236}">
                <a16:creationId xmlns:a16="http://schemas.microsoft.com/office/drawing/2014/main" id="{5B2FB309-968E-427E-B41F-D2F8E9A0A206}"/>
              </a:ext>
            </a:extLst>
          </p:cNvPr>
          <p:cNvSpPr/>
          <p:nvPr/>
        </p:nvSpPr>
        <p:spPr bwMode="gray">
          <a:xfrm flipH="1">
            <a:off x="11648211" y="3853560"/>
            <a:ext cx="550141" cy="549998"/>
          </a:xfrm>
          <a:custGeom>
            <a:avLst/>
            <a:gdLst>
              <a:gd name="connsiteX0" fmla="*/ 549998 w 549998"/>
              <a:gd name="connsiteY0" fmla="*/ 0 h 549998"/>
              <a:gd name="connsiteX1" fmla="*/ 0 w 549998"/>
              <a:gd name="connsiteY1" fmla="*/ 0 h 549998"/>
              <a:gd name="connsiteX2" fmla="*/ 0 w 549998"/>
              <a:gd name="connsiteY2" fmla="*/ 549998 h 549998"/>
              <a:gd name="connsiteX3" fmla="*/ 549998 w 549998"/>
              <a:gd name="connsiteY3" fmla="*/ 0 h 549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9998" h="549998">
                <a:moveTo>
                  <a:pt x="549998" y="0"/>
                </a:moveTo>
                <a:lnTo>
                  <a:pt x="0" y="0"/>
                </a:lnTo>
                <a:lnTo>
                  <a:pt x="0" y="549998"/>
                </a:lnTo>
                <a:lnTo>
                  <a:pt x="549998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1" name="Freeform: Shape 600">
            <a:extLst>
              <a:ext uri="{FF2B5EF4-FFF2-40B4-BE49-F238E27FC236}">
                <a16:creationId xmlns:a16="http://schemas.microsoft.com/office/drawing/2014/main" id="{8237A2FE-B049-43D0-A73A-EF754A18E06D}"/>
              </a:ext>
            </a:extLst>
          </p:cNvPr>
          <p:cNvSpPr/>
          <p:nvPr/>
        </p:nvSpPr>
        <p:spPr bwMode="gray">
          <a:xfrm flipH="1">
            <a:off x="11646827" y="391470"/>
            <a:ext cx="551525" cy="552570"/>
          </a:xfrm>
          <a:custGeom>
            <a:avLst/>
            <a:gdLst>
              <a:gd name="connsiteX0" fmla="*/ 0 w 551381"/>
              <a:gd name="connsiteY0" fmla="*/ 0 h 552570"/>
              <a:gd name="connsiteX1" fmla="*/ 0 w 551381"/>
              <a:gd name="connsiteY1" fmla="*/ 552570 h 552570"/>
              <a:gd name="connsiteX2" fmla="*/ 550193 w 551381"/>
              <a:gd name="connsiteY2" fmla="*/ 552570 h 552570"/>
              <a:gd name="connsiteX3" fmla="*/ 551381 w 551381"/>
              <a:gd name="connsiteY3" fmla="*/ 551382 h 552570"/>
              <a:gd name="connsiteX4" fmla="*/ 0 w 551381"/>
              <a:gd name="connsiteY4" fmla="*/ 0 h 55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1381" h="552570">
                <a:moveTo>
                  <a:pt x="0" y="0"/>
                </a:moveTo>
                <a:lnTo>
                  <a:pt x="0" y="552570"/>
                </a:lnTo>
                <a:lnTo>
                  <a:pt x="550193" y="552570"/>
                </a:lnTo>
                <a:lnTo>
                  <a:pt x="551381" y="551382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9" name="Freeform: Shape 588">
            <a:extLst>
              <a:ext uri="{FF2B5EF4-FFF2-40B4-BE49-F238E27FC236}">
                <a16:creationId xmlns:a16="http://schemas.microsoft.com/office/drawing/2014/main" id="{58F9A3E8-2445-4760-A551-C57A3F8ECCB5}"/>
              </a:ext>
            </a:extLst>
          </p:cNvPr>
          <p:cNvSpPr/>
          <p:nvPr/>
        </p:nvSpPr>
        <p:spPr bwMode="gray">
          <a:xfrm flipH="1">
            <a:off x="11645638" y="941664"/>
            <a:ext cx="1189" cy="2377"/>
          </a:xfrm>
          <a:custGeom>
            <a:avLst/>
            <a:gdLst>
              <a:gd name="connsiteX0" fmla="*/ 1189 w 1189"/>
              <a:gd name="connsiteY0" fmla="*/ 0 h 2377"/>
              <a:gd name="connsiteX1" fmla="*/ 0 w 1189"/>
              <a:gd name="connsiteY1" fmla="*/ 1189 h 2377"/>
              <a:gd name="connsiteX2" fmla="*/ 1189 w 1189"/>
              <a:gd name="connsiteY2" fmla="*/ 2377 h 2377"/>
              <a:gd name="connsiteX3" fmla="*/ 1189 w 1189"/>
              <a:gd name="connsiteY3" fmla="*/ 0 h 2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9" h="2377">
                <a:moveTo>
                  <a:pt x="1189" y="0"/>
                </a:moveTo>
                <a:lnTo>
                  <a:pt x="0" y="1189"/>
                </a:lnTo>
                <a:lnTo>
                  <a:pt x="1189" y="2377"/>
                </a:lnTo>
                <a:lnTo>
                  <a:pt x="1189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6" name="Freeform: Shape 575">
            <a:extLst>
              <a:ext uri="{FF2B5EF4-FFF2-40B4-BE49-F238E27FC236}">
                <a16:creationId xmlns:a16="http://schemas.microsoft.com/office/drawing/2014/main" id="{B1A19561-228C-49C5-9A36-376AFDEF6933}"/>
              </a:ext>
            </a:extLst>
          </p:cNvPr>
          <p:cNvSpPr/>
          <p:nvPr/>
        </p:nvSpPr>
        <p:spPr bwMode="gray">
          <a:xfrm flipH="1">
            <a:off x="11645638" y="944040"/>
            <a:ext cx="552714" cy="968826"/>
          </a:xfrm>
          <a:custGeom>
            <a:avLst/>
            <a:gdLst>
              <a:gd name="connsiteX0" fmla="*/ 552570 w 552570"/>
              <a:gd name="connsiteY0" fmla="*/ 0 h 968826"/>
              <a:gd name="connsiteX1" fmla="*/ 550193 w 552570"/>
              <a:gd name="connsiteY1" fmla="*/ 0 h 968826"/>
              <a:gd name="connsiteX2" fmla="*/ 0 w 552570"/>
              <a:gd name="connsiteY2" fmla="*/ 550193 h 968826"/>
              <a:gd name="connsiteX3" fmla="*/ 0 w 552570"/>
              <a:gd name="connsiteY3" fmla="*/ 968826 h 968826"/>
              <a:gd name="connsiteX4" fmla="*/ 552570 w 552570"/>
              <a:gd name="connsiteY4" fmla="*/ 968826 h 968826"/>
              <a:gd name="connsiteX5" fmla="*/ 552570 w 552570"/>
              <a:gd name="connsiteY5" fmla="*/ 0 h 96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2570" h="968826">
                <a:moveTo>
                  <a:pt x="552570" y="0"/>
                </a:moveTo>
                <a:lnTo>
                  <a:pt x="550193" y="0"/>
                </a:lnTo>
                <a:lnTo>
                  <a:pt x="0" y="550193"/>
                </a:lnTo>
                <a:lnTo>
                  <a:pt x="0" y="968826"/>
                </a:lnTo>
                <a:lnTo>
                  <a:pt x="552570" y="968826"/>
                </a:lnTo>
                <a:lnTo>
                  <a:pt x="552570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4" name="Freeform: Shape 563">
            <a:extLst>
              <a:ext uri="{FF2B5EF4-FFF2-40B4-BE49-F238E27FC236}">
                <a16:creationId xmlns:a16="http://schemas.microsoft.com/office/drawing/2014/main" id="{6457F61D-ECFA-47EC-9078-D1AC74C3D650}"/>
              </a:ext>
            </a:extLst>
          </p:cNvPr>
          <p:cNvSpPr/>
          <p:nvPr/>
        </p:nvSpPr>
        <p:spPr bwMode="gray">
          <a:xfrm flipH="1">
            <a:off x="11645638" y="1913744"/>
            <a:ext cx="552714" cy="971203"/>
          </a:xfrm>
          <a:custGeom>
            <a:avLst/>
            <a:gdLst>
              <a:gd name="connsiteX0" fmla="*/ 552570 w 552570"/>
              <a:gd name="connsiteY0" fmla="*/ 0 h 971203"/>
              <a:gd name="connsiteX1" fmla="*/ 0 w 552570"/>
              <a:gd name="connsiteY1" fmla="*/ 0 h 971203"/>
              <a:gd name="connsiteX2" fmla="*/ 0 w 552570"/>
              <a:gd name="connsiteY2" fmla="*/ 418633 h 971203"/>
              <a:gd name="connsiteX3" fmla="*/ 0 w 552570"/>
              <a:gd name="connsiteY3" fmla="*/ 971203 h 971203"/>
              <a:gd name="connsiteX4" fmla="*/ 552570 w 552570"/>
              <a:gd name="connsiteY4" fmla="*/ 971203 h 971203"/>
              <a:gd name="connsiteX5" fmla="*/ 552570 w 552570"/>
              <a:gd name="connsiteY5" fmla="*/ 0 h 971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2570" h="971203">
                <a:moveTo>
                  <a:pt x="552570" y="0"/>
                </a:moveTo>
                <a:lnTo>
                  <a:pt x="0" y="0"/>
                </a:lnTo>
                <a:lnTo>
                  <a:pt x="0" y="418633"/>
                </a:lnTo>
                <a:lnTo>
                  <a:pt x="0" y="971203"/>
                </a:lnTo>
                <a:lnTo>
                  <a:pt x="552570" y="971203"/>
                </a:lnTo>
                <a:lnTo>
                  <a:pt x="552570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8" name="Freeform: Shape 537">
            <a:extLst>
              <a:ext uri="{FF2B5EF4-FFF2-40B4-BE49-F238E27FC236}">
                <a16:creationId xmlns:a16="http://schemas.microsoft.com/office/drawing/2014/main" id="{EAA3E5FD-FDC6-46D5-BAAC-FD56A339878F}"/>
              </a:ext>
            </a:extLst>
          </p:cNvPr>
          <p:cNvSpPr/>
          <p:nvPr/>
        </p:nvSpPr>
        <p:spPr bwMode="gray">
          <a:xfrm flipH="1">
            <a:off x="11646924" y="3300990"/>
            <a:ext cx="551428" cy="552570"/>
          </a:xfrm>
          <a:custGeom>
            <a:avLst/>
            <a:gdLst>
              <a:gd name="connsiteX0" fmla="*/ 0 w 551284"/>
              <a:gd name="connsiteY0" fmla="*/ 0 h 552570"/>
              <a:gd name="connsiteX1" fmla="*/ 0 w 551284"/>
              <a:gd name="connsiteY1" fmla="*/ 552570 h 552570"/>
              <a:gd name="connsiteX2" fmla="*/ 549998 w 551284"/>
              <a:gd name="connsiteY2" fmla="*/ 552570 h 552570"/>
              <a:gd name="connsiteX3" fmla="*/ 551284 w 551284"/>
              <a:gd name="connsiteY3" fmla="*/ 551284 h 552570"/>
              <a:gd name="connsiteX4" fmla="*/ 0 w 551284"/>
              <a:gd name="connsiteY4" fmla="*/ 0 h 55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1284" h="552570">
                <a:moveTo>
                  <a:pt x="0" y="0"/>
                </a:moveTo>
                <a:lnTo>
                  <a:pt x="0" y="552570"/>
                </a:lnTo>
                <a:lnTo>
                  <a:pt x="549998" y="552570"/>
                </a:lnTo>
                <a:lnTo>
                  <a:pt x="551284" y="551284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7" name="Freeform: Shape 536">
            <a:extLst>
              <a:ext uri="{FF2B5EF4-FFF2-40B4-BE49-F238E27FC236}">
                <a16:creationId xmlns:a16="http://schemas.microsoft.com/office/drawing/2014/main" id="{59D1B1CD-6EAC-4FD4-9230-BF3F51F91A7D}"/>
              </a:ext>
            </a:extLst>
          </p:cNvPr>
          <p:cNvSpPr/>
          <p:nvPr/>
        </p:nvSpPr>
        <p:spPr bwMode="gray">
          <a:xfrm flipH="1">
            <a:off x="11645639" y="3850989"/>
            <a:ext cx="1285" cy="2570"/>
          </a:xfrm>
          <a:custGeom>
            <a:avLst/>
            <a:gdLst>
              <a:gd name="connsiteX0" fmla="*/ 1285 w 1285"/>
              <a:gd name="connsiteY0" fmla="*/ 0 h 2570"/>
              <a:gd name="connsiteX1" fmla="*/ 0 w 1285"/>
              <a:gd name="connsiteY1" fmla="*/ 1285 h 2570"/>
              <a:gd name="connsiteX2" fmla="*/ 1285 w 1285"/>
              <a:gd name="connsiteY2" fmla="*/ 2570 h 2570"/>
              <a:gd name="connsiteX3" fmla="*/ 1285 w 1285"/>
              <a:gd name="connsiteY3" fmla="*/ 0 h 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5" h="2570">
                <a:moveTo>
                  <a:pt x="1285" y="0"/>
                </a:moveTo>
                <a:lnTo>
                  <a:pt x="0" y="1285"/>
                </a:lnTo>
                <a:lnTo>
                  <a:pt x="1285" y="2570"/>
                </a:lnTo>
                <a:lnTo>
                  <a:pt x="1285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24" name="Freeform: Shape 523">
            <a:extLst>
              <a:ext uri="{FF2B5EF4-FFF2-40B4-BE49-F238E27FC236}">
                <a16:creationId xmlns:a16="http://schemas.microsoft.com/office/drawing/2014/main" id="{7C426D97-31BF-491E-94FC-8AB334C51E92}"/>
              </a:ext>
            </a:extLst>
          </p:cNvPr>
          <p:cNvSpPr/>
          <p:nvPr/>
        </p:nvSpPr>
        <p:spPr bwMode="gray">
          <a:xfrm flipH="1">
            <a:off x="11645639" y="3853560"/>
            <a:ext cx="552713" cy="968632"/>
          </a:xfrm>
          <a:custGeom>
            <a:avLst/>
            <a:gdLst>
              <a:gd name="connsiteX0" fmla="*/ 552569 w 552569"/>
              <a:gd name="connsiteY0" fmla="*/ 0 h 968632"/>
              <a:gd name="connsiteX1" fmla="*/ 549998 w 552569"/>
              <a:gd name="connsiteY1" fmla="*/ 0 h 968632"/>
              <a:gd name="connsiteX2" fmla="*/ 0 w 552569"/>
              <a:gd name="connsiteY2" fmla="*/ 549998 h 968632"/>
              <a:gd name="connsiteX3" fmla="*/ 0 w 552569"/>
              <a:gd name="connsiteY3" fmla="*/ 968632 h 968632"/>
              <a:gd name="connsiteX4" fmla="*/ 552569 w 552569"/>
              <a:gd name="connsiteY4" fmla="*/ 968632 h 968632"/>
              <a:gd name="connsiteX5" fmla="*/ 552569 w 552569"/>
              <a:gd name="connsiteY5" fmla="*/ 0 h 968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2569" h="968632">
                <a:moveTo>
                  <a:pt x="552569" y="0"/>
                </a:moveTo>
                <a:lnTo>
                  <a:pt x="549998" y="0"/>
                </a:lnTo>
                <a:lnTo>
                  <a:pt x="0" y="549998"/>
                </a:lnTo>
                <a:lnTo>
                  <a:pt x="0" y="968632"/>
                </a:lnTo>
                <a:lnTo>
                  <a:pt x="552569" y="968632"/>
                </a:lnTo>
                <a:lnTo>
                  <a:pt x="552569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15" name="Freeform: Shape 514">
            <a:extLst>
              <a:ext uri="{FF2B5EF4-FFF2-40B4-BE49-F238E27FC236}">
                <a16:creationId xmlns:a16="http://schemas.microsoft.com/office/drawing/2014/main" id="{4466C993-368E-4400-A803-75E54B3BFB7A}"/>
              </a:ext>
            </a:extLst>
          </p:cNvPr>
          <p:cNvSpPr/>
          <p:nvPr/>
        </p:nvSpPr>
        <p:spPr bwMode="gray">
          <a:xfrm flipH="1">
            <a:off x="11645639" y="4823070"/>
            <a:ext cx="552713" cy="971203"/>
          </a:xfrm>
          <a:custGeom>
            <a:avLst/>
            <a:gdLst>
              <a:gd name="connsiteX0" fmla="*/ 552569 w 552569"/>
              <a:gd name="connsiteY0" fmla="*/ 0 h 971203"/>
              <a:gd name="connsiteX1" fmla="*/ 0 w 552569"/>
              <a:gd name="connsiteY1" fmla="*/ 0 h 971203"/>
              <a:gd name="connsiteX2" fmla="*/ 0 w 552569"/>
              <a:gd name="connsiteY2" fmla="*/ 418634 h 971203"/>
              <a:gd name="connsiteX3" fmla="*/ 552569 w 552569"/>
              <a:gd name="connsiteY3" fmla="*/ 971203 h 971203"/>
              <a:gd name="connsiteX4" fmla="*/ 552569 w 552569"/>
              <a:gd name="connsiteY4" fmla="*/ 0 h 971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2569" h="971203">
                <a:moveTo>
                  <a:pt x="552569" y="0"/>
                </a:moveTo>
                <a:lnTo>
                  <a:pt x="0" y="0"/>
                </a:lnTo>
                <a:lnTo>
                  <a:pt x="0" y="418634"/>
                </a:lnTo>
                <a:lnTo>
                  <a:pt x="552569" y="971203"/>
                </a:lnTo>
                <a:lnTo>
                  <a:pt x="552569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2" name="Freeform: Shape 501">
            <a:extLst>
              <a:ext uri="{FF2B5EF4-FFF2-40B4-BE49-F238E27FC236}">
                <a16:creationId xmlns:a16="http://schemas.microsoft.com/office/drawing/2014/main" id="{70C8C964-4B18-46FA-9C52-7AB75F871639}"/>
              </a:ext>
            </a:extLst>
          </p:cNvPr>
          <p:cNvSpPr/>
          <p:nvPr/>
        </p:nvSpPr>
        <p:spPr bwMode="gray">
          <a:xfrm flipH="1">
            <a:off x="11645638" y="6213988"/>
            <a:ext cx="552714" cy="552570"/>
          </a:xfrm>
          <a:custGeom>
            <a:avLst/>
            <a:gdLst>
              <a:gd name="connsiteX0" fmla="*/ 0 w 552570"/>
              <a:gd name="connsiteY0" fmla="*/ 0 h 552570"/>
              <a:gd name="connsiteX1" fmla="*/ 0 w 552570"/>
              <a:gd name="connsiteY1" fmla="*/ 552570 h 552570"/>
              <a:gd name="connsiteX2" fmla="*/ 552570 w 552570"/>
              <a:gd name="connsiteY2" fmla="*/ 552570 h 552570"/>
              <a:gd name="connsiteX3" fmla="*/ 0 w 552570"/>
              <a:gd name="connsiteY3" fmla="*/ 0 h 55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570" h="552570">
                <a:moveTo>
                  <a:pt x="0" y="0"/>
                </a:moveTo>
                <a:lnTo>
                  <a:pt x="0" y="552570"/>
                </a:lnTo>
                <a:lnTo>
                  <a:pt x="552570" y="552570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25" name="Right Triangle 524">
            <a:extLst>
              <a:ext uri="{FF2B5EF4-FFF2-40B4-BE49-F238E27FC236}">
                <a16:creationId xmlns:a16="http://schemas.microsoft.com/office/drawing/2014/main" id="{B6620512-2BCB-4E20-891F-C9907E9E1946}"/>
              </a:ext>
            </a:extLst>
          </p:cNvPr>
          <p:cNvSpPr/>
          <p:nvPr/>
        </p:nvSpPr>
        <p:spPr bwMode="gray">
          <a:xfrm>
            <a:off x="10673731" y="5795356"/>
            <a:ext cx="971456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26" name="Right Triangle 525">
            <a:extLst>
              <a:ext uri="{FF2B5EF4-FFF2-40B4-BE49-F238E27FC236}">
                <a16:creationId xmlns:a16="http://schemas.microsoft.com/office/drawing/2014/main" id="{A012AC6A-9433-4824-8E8E-1B603638892F}"/>
              </a:ext>
            </a:extLst>
          </p:cNvPr>
          <p:cNvSpPr/>
          <p:nvPr/>
        </p:nvSpPr>
        <p:spPr bwMode="gray">
          <a:xfrm rot="10800000">
            <a:off x="10673732" y="5795356"/>
            <a:ext cx="971456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27" name="Right Triangle 526">
            <a:extLst>
              <a:ext uri="{FF2B5EF4-FFF2-40B4-BE49-F238E27FC236}">
                <a16:creationId xmlns:a16="http://schemas.microsoft.com/office/drawing/2014/main" id="{40FF546B-BA7B-4A8E-8AE5-18F13B013291}"/>
              </a:ext>
            </a:extLst>
          </p:cNvPr>
          <p:cNvSpPr/>
          <p:nvPr/>
        </p:nvSpPr>
        <p:spPr bwMode="gray">
          <a:xfrm flipV="1">
            <a:off x="10673731" y="3850990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28" name="Right Triangle 527">
            <a:extLst>
              <a:ext uri="{FF2B5EF4-FFF2-40B4-BE49-F238E27FC236}">
                <a16:creationId xmlns:a16="http://schemas.microsoft.com/office/drawing/2014/main" id="{CE924BDC-E38E-4B30-B7A3-02BFEDECC3B3}"/>
              </a:ext>
            </a:extLst>
          </p:cNvPr>
          <p:cNvSpPr/>
          <p:nvPr/>
        </p:nvSpPr>
        <p:spPr bwMode="gray">
          <a:xfrm rot="10800000" flipV="1">
            <a:off x="10673732" y="3850990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29" name="Right Triangle 528">
            <a:extLst>
              <a:ext uri="{FF2B5EF4-FFF2-40B4-BE49-F238E27FC236}">
                <a16:creationId xmlns:a16="http://schemas.microsoft.com/office/drawing/2014/main" id="{777383AD-908E-42F6-BFA6-4D3B2301EE9B}"/>
              </a:ext>
            </a:extLst>
          </p:cNvPr>
          <p:cNvSpPr/>
          <p:nvPr/>
        </p:nvSpPr>
        <p:spPr bwMode="gray">
          <a:xfrm rot="10800000">
            <a:off x="10673732" y="4823070"/>
            <a:ext cx="971456" cy="971203"/>
          </a:xfrm>
          <a:prstGeom prst="rtTriangle">
            <a:avLst/>
          </a:prstGeom>
          <a:solidFill>
            <a:sysClr val="window" lastClr="FFFFFF">
              <a:alpha val="10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0" name="Right Triangle 529">
            <a:extLst>
              <a:ext uri="{FF2B5EF4-FFF2-40B4-BE49-F238E27FC236}">
                <a16:creationId xmlns:a16="http://schemas.microsoft.com/office/drawing/2014/main" id="{18B008A2-CF87-4142-9403-6B2B96B3CEEF}"/>
              </a:ext>
            </a:extLst>
          </p:cNvPr>
          <p:cNvSpPr/>
          <p:nvPr/>
        </p:nvSpPr>
        <p:spPr bwMode="gray">
          <a:xfrm>
            <a:off x="10673731" y="2882358"/>
            <a:ext cx="971456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1" name="Right Triangle 530">
            <a:extLst>
              <a:ext uri="{FF2B5EF4-FFF2-40B4-BE49-F238E27FC236}">
                <a16:creationId xmlns:a16="http://schemas.microsoft.com/office/drawing/2014/main" id="{6A87CC79-EE70-44CB-BD7E-026447E65CED}"/>
              </a:ext>
            </a:extLst>
          </p:cNvPr>
          <p:cNvSpPr/>
          <p:nvPr/>
        </p:nvSpPr>
        <p:spPr bwMode="gray">
          <a:xfrm rot="10800000">
            <a:off x="10673731" y="2882358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2" name="Right Triangle 531">
            <a:extLst>
              <a:ext uri="{FF2B5EF4-FFF2-40B4-BE49-F238E27FC236}">
                <a16:creationId xmlns:a16="http://schemas.microsoft.com/office/drawing/2014/main" id="{E234508A-DB70-4FE8-8858-28589D5D7400}"/>
              </a:ext>
            </a:extLst>
          </p:cNvPr>
          <p:cNvSpPr/>
          <p:nvPr/>
        </p:nvSpPr>
        <p:spPr bwMode="gray">
          <a:xfrm flipV="1">
            <a:off x="10673731" y="941663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3" name="Right Triangle 532">
            <a:extLst>
              <a:ext uri="{FF2B5EF4-FFF2-40B4-BE49-F238E27FC236}">
                <a16:creationId xmlns:a16="http://schemas.microsoft.com/office/drawing/2014/main" id="{6357B95D-1753-430E-BEA2-71E04D00BFC1}"/>
              </a:ext>
            </a:extLst>
          </p:cNvPr>
          <p:cNvSpPr/>
          <p:nvPr/>
        </p:nvSpPr>
        <p:spPr bwMode="gray">
          <a:xfrm>
            <a:off x="10673731" y="1913744"/>
            <a:ext cx="971456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4" name="Right Triangle 533">
            <a:extLst>
              <a:ext uri="{FF2B5EF4-FFF2-40B4-BE49-F238E27FC236}">
                <a16:creationId xmlns:a16="http://schemas.microsoft.com/office/drawing/2014/main" id="{1FCD377A-9174-4DCC-A0BF-82D34D69D4D3}"/>
              </a:ext>
            </a:extLst>
          </p:cNvPr>
          <p:cNvSpPr/>
          <p:nvPr/>
        </p:nvSpPr>
        <p:spPr bwMode="gray">
          <a:xfrm rot="10800000">
            <a:off x="10673731" y="1913744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5" name="Right Triangle 534">
            <a:extLst>
              <a:ext uri="{FF2B5EF4-FFF2-40B4-BE49-F238E27FC236}">
                <a16:creationId xmlns:a16="http://schemas.microsoft.com/office/drawing/2014/main" id="{1EBB0642-6003-4B43-B2E4-73D4C88923FA}"/>
              </a:ext>
            </a:extLst>
          </p:cNvPr>
          <p:cNvSpPr/>
          <p:nvPr/>
        </p:nvSpPr>
        <p:spPr bwMode="gray">
          <a:xfrm>
            <a:off x="10673731" y="-27163"/>
            <a:ext cx="971456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6" name="Right Triangle 535">
            <a:extLst>
              <a:ext uri="{FF2B5EF4-FFF2-40B4-BE49-F238E27FC236}">
                <a16:creationId xmlns:a16="http://schemas.microsoft.com/office/drawing/2014/main" id="{83060F22-D7BF-463B-8DED-BBFF768599C3}"/>
              </a:ext>
            </a:extLst>
          </p:cNvPr>
          <p:cNvSpPr/>
          <p:nvPr/>
        </p:nvSpPr>
        <p:spPr bwMode="gray">
          <a:xfrm rot="10800000">
            <a:off x="10673731" y="-22209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9" name="Right Triangle 538">
            <a:extLst>
              <a:ext uri="{FF2B5EF4-FFF2-40B4-BE49-F238E27FC236}">
                <a16:creationId xmlns:a16="http://schemas.microsoft.com/office/drawing/2014/main" id="{B4F3987E-40F1-43C8-91C1-0A431325DE97}"/>
              </a:ext>
            </a:extLst>
          </p:cNvPr>
          <p:cNvSpPr/>
          <p:nvPr/>
        </p:nvSpPr>
        <p:spPr bwMode="gray">
          <a:xfrm>
            <a:off x="4847463" y="5795356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0" name="Right Triangle 539">
            <a:extLst>
              <a:ext uri="{FF2B5EF4-FFF2-40B4-BE49-F238E27FC236}">
                <a16:creationId xmlns:a16="http://schemas.microsoft.com/office/drawing/2014/main" id="{44A4DDE2-61A7-4ECB-B84D-BB8EC2599C6B}"/>
              </a:ext>
            </a:extLst>
          </p:cNvPr>
          <p:cNvSpPr/>
          <p:nvPr/>
        </p:nvSpPr>
        <p:spPr bwMode="gray">
          <a:xfrm flipV="1">
            <a:off x="4847463" y="3850990"/>
            <a:ext cx="971456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1" name="Right Triangle 540">
            <a:extLst>
              <a:ext uri="{FF2B5EF4-FFF2-40B4-BE49-F238E27FC236}">
                <a16:creationId xmlns:a16="http://schemas.microsoft.com/office/drawing/2014/main" id="{5A5944EC-0E36-4B20-9145-03AB1262C24B}"/>
              </a:ext>
            </a:extLst>
          </p:cNvPr>
          <p:cNvSpPr/>
          <p:nvPr/>
        </p:nvSpPr>
        <p:spPr bwMode="gray">
          <a:xfrm rot="10800000" flipV="1">
            <a:off x="4847464" y="3850990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2" name="Right Triangle 541">
            <a:extLst>
              <a:ext uri="{FF2B5EF4-FFF2-40B4-BE49-F238E27FC236}">
                <a16:creationId xmlns:a16="http://schemas.microsoft.com/office/drawing/2014/main" id="{14F919F6-9749-4190-BD94-172E318BAE57}"/>
              </a:ext>
            </a:extLst>
          </p:cNvPr>
          <p:cNvSpPr/>
          <p:nvPr/>
        </p:nvSpPr>
        <p:spPr bwMode="gray">
          <a:xfrm>
            <a:off x="4847463" y="4823070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3" name="Right Triangle 542">
            <a:extLst>
              <a:ext uri="{FF2B5EF4-FFF2-40B4-BE49-F238E27FC236}">
                <a16:creationId xmlns:a16="http://schemas.microsoft.com/office/drawing/2014/main" id="{6B041464-16DD-478E-B6A0-457EFDB27D77}"/>
              </a:ext>
            </a:extLst>
          </p:cNvPr>
          <p:cNvSpPr/>
          <p:nvPr/>
        </p:nvSpPr>
        <p:spPr bwMode="gray">
          <a:xfrm rot="10800000">
            <a:off x="4847464" y="4823070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4" name="Right Triangle 543">
            <a:extLst>
              <a:ext uri="{FF2B5EF4-FFF2-40B4-BE49-F238E27FC236}">
                <a16:creationId xmlns:a16="http://schemas.microsoft.com/office/drawing/2014/main" id="{16E7482D-F785-4580-982C-2C43DB268B85}"/>
              </a:ext>
            </a:extLst>
          </p:cNvPr>
          <p:cNvSpPr/>
          <p:nvPr/>
        </p:nvSpPr>
        <p:spPr bwMode="gray">
          <a:xfrm>
            <a:off x="4847463" y="2882358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5" name="Right Triangle 544">
            <a:extLst>
              <a:ext uri="{FF2B5EF4-FFF2-40B4-BE49-F238E27FC236}">
                <a16:creationId xmlns:a16="http://schemas.microsoft.com/office/drawing/2014/main" id="{B454F76B-5582-46C7-9260-65CBA29F3B66}"/>
              </a:ext>
            </a:extLst>
          </p:cNvPr>
          <p:cNvSpPr/>
          <p:nvPr/>
        </p:nvSpPr>
        <p:spPr bwMode="gray">
          <a:xfrm rot="10800000">
            <a:off x="4847464" y="2882358"/>
            <a:ext cx="971456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6" name="Right Triangle 545">
            <a:extLst>
              <a:ext uri="{FF2B5EF4-FFF2-40B4-BE49-F238E27FC236}">
                <a16:creationId xmlns:a16="http://schemas.microsoft.com/office/drawing/2014/main" id="{0451B3DF-4DE3-4127-B0D5-CBACC86E9FE6}"/>
              </a:ext>
            </a:extLst>
          </p:cNvPr>
          <p:cNvSpPr/>
          <p:nvPr/>
        </p:nvSpPr>
        <p:spPr bwMode="gray">
          <a:xfrm flipV="1">
            <a:off x="4847463" y="941663"/>
            <a:ext cx="971456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7" name="Right Triangle 546">
            <a:extLst>
              <a:ext uri="{FF2B5EF4-FFF2-40B4-BE49-F238E27FC236}">
                <a16:creationId xmlns:a16="http://schemas.microsoft.com/office/drawing/2014/main" id="{9814AABB-D62D-43F2-B62B-9D8299577F1D}"/>
              </a:ext>
            </a:extLst>
          </p:cNvPr>
          <p:cNvSpPr/>
          <p:nvPr/>
        </p:nvSpPr>
        <p:spPr bwMode="gray">
          <a:xfrm rot="10800000" flipV="1">
            <a:off x="4847464" y="941663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8" name="Right Triangle 547">
            <a:extLst>
              <a:ext uri="{FF2B5EF4-FFF2-40B4-BE49-F238E27FC236}">
                <a16:creationId xmlns:a16="http://schemas.microsoft.com/office/drawing/2014/main" id="{C0F26E7D-842A-4758-AF09-B3535D5C4E57}"/>
              </a:ext>
            </a:extLst>
          </p:cNvPr>
          <p:cNvSpPr/>
          <p:nvPr/>
        </p:nvSpPr>
        <p:spPr bwMode="gray">
          <a:xfrm>
            <a:off x="4847463" y="1907000"/>
            <a:ext cx="971456" cy="971203"/>
          </a:xfrm>
          <a:prstGeom prst="rtTriangle">
            <a:avLst/>
          </a:prstGeom>
          <a:solidFill>
            <a:sysClr val="window" lastClr="FFFFFF">
              <a:alpha val="7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9" name="Right Triangle 548">
            <a:extLst>
              <a:ext uri="{FF2B5EF4-FFF2-40B4-BE49-F238E27FC236}">
                <a16:creationId xmlns:a16="http://schemas.microsoft.com/office/drawing/2014/main" id="{FBBAE2A0-E190-4C5B-AC32-70007FA583CF}"/>
              </a:ext>
            </a:extLst>
          </p:cNvPr>
          <p:cNvSpPr/>
          <p:nvPr/>
        </p:nvSpPr>
        <p:spPr bwMode="gray">
          <a:xfrm rot="10800000">
            <a:off x="4847464" y="1913744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0" name="Right Triangle 549">
            <a:extLst>
              <a:ext uri="{FF2B5EF4-FFF2-40B4-BE49-F238E27FC236}">
                <a16:creationId xmlns:a16="http://schemas.microsoft.com/office/drawing/2014/main" id="{9029E3F4-5C62-44CC-9F4E-31D517074C6E}"/>
              </a:ext>
            </a:extLst>
          </p:cNvPr>
          <p:cNvSpPr/>
          <p:nvPr/>
        </p:nvSpPr>
        <p:spPr bwMode="gray">
          <a:xfrm>
            <a:off x="4847463" y="-27163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1" name="Right Triangle 550">
            <a:extLst>
              <a:ext uri="{FF2B5EF4-FFF2-40B4-BE49-F238E27FC236}">
                <a16:creationId xmlns:a16="http://schemas.microsoft.com/office/drawing/2014/main" id="{1EA23F27-E928-42DC-BADF-AED4C3A1A29A}"/>
              </a:ext>
            </a:extLst>
          </p:cNvPr>
          <p:cNvSpPr/>
          <p:nvPr/>
        </p:nvSpPr>
        <p:spPr bwMode="gray">
          <a:xfrm rot="10800000">
            <a:off x="4847464" y="-22209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3" name="Right Triangle 552">
            <a:extLst>
              <a:ext uri="{FF2B5EF4-FFF2-40B4-BE49-F238E27FC236}">
                <a16:creationId xmlns:a16="http://schemas.microsoft.com/office/drawing/2014/main" id="{98EA0DC9-F2D4-4D19-BF32-DA27A3CED788}"/>
              </a:ext>
            </a:extLst>
          </p:cNvPr>
          <p:cNvSpPr/>
          <p:nvPr/>
        </p:nvSpPr>
        <p:spPr bwMode="gray">
          <a:xfrm flipH="1">
            <a:off x="5815875" y="5795356"/>
            <a:ext cx="971456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4" name="Right Triangle 553">
            <a:extLst>
              <a:ext uri="{FF2B5EF4-FFF2-40B4-BE49-F238E27FC236}">
                <a16:creationId xmlns:a16="http://schemas.microsoft.com/office/drawing/2014/main" id="{98B2CDE4-1470-46DF-9906-211305577582}"/>
              </a:ext>
            </a:extLst>
          </p:cNvPr>
          <p:cNvSpPr/>
          <p:nvPr/>
        </p:nvSpPr>
        <p:spPr bwMode="gray">
          <a:xfrm rot="10800000" flipH="1">
            <a:off x="5815875" y="5795356"/>
            <a:ext cx="971456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5" name="Right Triangle 554">
            <a:extLst>
              <a:ext uri="{FF2B5EF4-FFF2-40B4-BE49-F238E27FC236}">
                <a16:creationId xmlns:a16="http://schemas.microsoft.com/office/drawing/2014/main" id="{37D99863-BF06-49E9-B2C4-1715D089A6C2}"/>
              </a:ext>
            </a:extLst>
          </p:cNvPr>
          <p:cNvSpPr/>
          <p:nvPr/>
        </p:nvSpPr>
        <p:spPr bwMode="gray">
          <a:xfrm flipH="1" flipV="1">
            <a:off x="5815875" y="3850990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6" name="Right Triangle 555">
            <a:extLst>
              <a:ext uri="{FF2B5EF4-FFF2-40B4-BE49-F238E27FC236}">
                <a16:creationId xmlns:a16="http://schemas.microsoft.com/office/drawing/2014/main" id="{959DBA3D-AAAF-4536-9050-A6E1CD545108}"/>
              </a:ext>
            </a:extLst>
          </p:cNvPr>
          <p:cNvSpPr/>
          <p:nvPr/>
        </p:nvSpPr>
        <p:spPr bwMode="gray">
          <a:xfrm rot="10800000" flipH="1">
            <a:off x="5815875" y="4823070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7" name="Right Triangle 556">
            <a:extLst>
              <a:ext uri="{FF2B5EF4-FFF2-40B4-BE49-F238E27FC236}">
                <a16:creationId xmlns:a16="http://schemas.microsoft.com/office/drawing/2014/main" id="{F918A8A7-80D2-4A89-8F54-AAC37DCEA708}"/>
              </a:ext>
            </a:extLst>
          </p:cNvPr>
          <p:cNvSpPr/>
          <p:nvPr/>
        </p:nvSpPr>
        <p:spPr bwMode="gray">
          <a:xfrm flipH="1">
            <a:off x="5815875" y="2882359"/>
            <a:ext cx="971456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8" name="Right Triangle 557">
            <a:extLst>
              <a:ext uri="{FF2B5EF4-FFF2-40B4-BE49-F238E27FC236}">
                <a16:creationId xmlns:a16="http://schemas.microsoft.com/office/drawing/2014/main" id="{0A29EE74-35DF-4683-A64B-133BE09522BA}"/>
              </a:ext>
            </a:extLst>
          </p:cNvPr>
          <p:cNvSpPr/>
          <p:nvPr/>
        </p:nvSpPr>
        <p:spPr bwMode="gray">
          <a:xfrm rot="10800000" flipH="1">
            <a:off x="5815875" y="2882359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9" name="Right Triangle 558">
            <a:extLst>
              <a:ext uri="{FF2B5EF4-FFF2-40B4-BE49-F238E27FC236}">
                <a16:creationId xmlns:a16="http://schemas.microsoft.com/office/drawing/2014/main" id="{F2F7CEBE-CA18-4F7A-B0F8-F63A3FA8619D}"/>
              </a:ext>
            </a:extLst>
          </p:cNvPr>
          <p:cNvSpPr/>
          <p:nvPr/>
        </p:nvSpPr>
        <p:spPr bwMode="gray">
          <a:xfrm flipH="1" flipV="1">
            <a:off x="5815875" y="941663"/>
            <a:ext cx="971456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0" name="Right Triangle 559">
            <a:extLst>
              <a:ext uri="{FF2B5EF4-FFF2-40B4-BE49-F238E27FC236}">
                <a16:creationId xmlns:a16="http://schemas.microsoft.com/office/drawing/2014/main" id="{C397ABCF-E232-4895-94A7-F7D927F450D7}"/>
              </a:ext>
            </a:extLst>
          </p:cNvPr>
          <p:cNvSpPr/>
          <p:nvPr/>
        </p:nvSpPr>
        <p:spPr bwMode="gray">
          <a:xfrm flipH="1">
            <a:off x="5815875" y="1913744"/>
            <a:ext cx="971456" cy="971203"/>
          </a:xfrm>
          <a:prstGeom prst="rtTriangle">
            <a:avLst/>
          </a:prstGeom>
          <a:solidFill>
            <a:sysClr val="window" lastClr="FFFFFF">
              <a:alpha val="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1" name="Right Triangle 560">
            <a:extLst>
              <a:ext uri="{FF2B5EF4-FFF2-40B4-BE49-F238E27FC236}">
                <a16:creationId xmlns:a16="http://schemas.microsoft.com/office/drawing/2014/main" id="{9468DB3A-D6ED-4F4F-BB9C-CFED3E2CC767}"/>
              </a:ext>
            </a:extLst>
          </p:cNvPr>
          <p:cNvSpPr/>
          <p:nvPr/>
        </p:nvSpPr>
        <p:spPr bwMode="gray">
          <a:xfrm rot="10800000" flipH="1">
            <a:off x="5815876" y="1913743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2" name="Right Triangle 561">
            <a:extLst>
              <a:ext uri="{FF2B5EF4-FFF2-40B4-BE49-F238E27FC236}">
                <a16:creationId xmlns:a16="http://schemas.microsoft.com/office/drawing/2014/main" id="{9833B8B8-4775-4E3D-AA8F-E32380255A91}"/>
              </a:ext>
            </a:extLst>
          </p:cNvPr>
          <p:cNvSpPr/>
          <p:nvPr/>
        </p:nvSpPr>
        <p:spPr bwMode="gray">
          <a:xfrm flipH="1">
            <a:off x="5815875" y="-27162"/>
            <a:ext cx="971456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3" name="Right Triangle 562">
            <a:extLst>
              <a:ext uri="{FF2B5EF4-FFF2-40B4-BE49-F238E27FC236}">
                <a16:creationId xmlns:a16="http://schemas.microsoft.com/office/drawing/2014/main" id="{AC5ECF8C-9B24-49F9-B65F-6F51E3F39278}"/>
              </a:ext>
            </a:extLst>
          </p:cNvPr>
          <p:cNvSpPr/>
          <p:nvPr/>
        </p:nvSpPr>
        <p:spPr bwMode="gray">
          <a:xfrm rot="10800000" flipH="1">
            <a:off x="5815876" y="-22206"/>
            <a:ext cx="971456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4347E7D-814B-4F6A-80AE-8FBAB8EDF7E8}"/>
              </a:ext>
            </a:extLst>
          </p:cNvPr>
          <p:cNvGrpSpPr/>
          <p:nvPr/>
        </p:nvGrpSpPr>
        <p:grpSpPr bwMode="gray">
          <a:xfrm>
            <a:off x="-3444" y="-27163"/>
            <a:ext cx="4854360" cy="6793723"/>
            <a:chOff x="7741661" y="0"/>
            <a:chExt cx="4839035" cy="6774040"/>
          </a:xfrm>
        </p:grpSpPr>
        <p:sp>
          <p:nvSpPr>
            <p:cNvPr id="866" name="TextBox 865">
              <a:extLst>
                <a:ext uri="{FF2B5EF4-FFF2-40B4-BE49-F238E27FC236}">
                  <a16:creationId xmlns:a16="http://schemas.microsoft.com/office/drawing/2014/main" id="{87C0DC83-7BAF-4C9A-8EDC-2DF72A735BB3}"/>
                </a:ext>
              </a:extLst>
            </p:cNvPr>
            <p:cNvSpPr txBox="1"/>
            <p:nvPr/>
          </p:nvSpPr>
          <p:spPr bwMode="gray">
            <a:xfrm>
              <a:off x="11490946" y="6388101"/>
              <a:ext cx="437990" cy="36512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r">
                <a:lnSpc>
                  <a:spcPct val="90000"/>
                </a:lnSpc>
              </a:pPr>
              <a:fld id="{7A51DB15-7364-4F0B-A3A0-1309F8830053}" type="slidenum">
                <a:rPr lang="en-US" sz="800" smtClean="0">
                  <a:latin typeface="+mj-lt"/>
                </a:rPr>
                <a:pPr algn="r">
                  <a:lnSpc>
                    <a:spcPct val="90000"/>
                  </a:lnSpc>
                </a:pPr>
                <a:t>‹#›</a:t>
              </a:fld>
              <a:endParaRPr lang="en-US" sz="1800" dirty="0">
                <a:latin typeface="+mj-lt"/>
              </a:endParaRPr>
            </a:p>
          </p:txBody>
        </p:sp>
        <p:sp>
          <p:nvSpPr>
            <p:cNvPr id="868" name="Rectangle 867">
              <a:extLst>
                <a:ext uri="{FF2B5EF4-FFF2-40B4-BE49-F238E27FC236}">
                  <a16:creationId xmlns:a16="http://schemas.microsoft.com/office/drawing/2014/main" id="{963BBEA6-DD00-4E5F-926C-66B2E7C8A43A}"/>
                </a:ext>
              </a:extLst>
            </p:cNvPr>
            <p:cNvSpPr/>
            <p:nvPr userDrawn="1"/>
          </p:nvSpPr>
          <p:spPr bwMode="gray">
            <a:xfrm>
              <a:off x="7741661" y="1"/>
              <a:ext cx="4835592" cy="6774039"/>
            </a:xfrm>
            <a:prstGeom prst="rect">
              <a:avLst/>
            </a:prstGeom>
            <a:solidFill>
              <a:srgbClr val="C6C6C8">
                <a:lumMod val="40000"/>
                <a:lumOff val="6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052" name="Right Triangle 1051">
              <a:extLst>
                <a:ext uri="{FF2B5EF4-FFF2-40B4-BE49-F238E27FC236}">
                  <a16:creationId xmlns:a16="http://schemas.microsoft.com/office/drawing/2014/main" id="{99B9FA28-142B-4847-B52A-323D38F882D0}"/>
                </a:ext>
              </a:extLst>
            </p:cNvPr>
            <p:cNvSpPr/>
            <p:nvPr/>
          </p:nvSpPr>
          <p:spPr bwMode="gray">
            <a:xfrm>
              <a:off x="9675528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53" name="Right Triangle 1052">
              <a:extLst>
                <a:ext uri="{FF2B5EF4-FFF2-40B4-BE49-F238E27FC236}">
                  <a16:creationId xmlns:a16="http://schemas.microsoft.com/office/drawing/2014/main" id="{1354937D-15BF-4005-AEF7-56A563022FE9}"/>
                </a:ext>
              </a:extLst>
            </p:cNvPr>
            <p:cNvSpPr/>
            <p:nvPr/>
          </p:nvSpPr>
          <p:spPr bwMode="gray">
            <a:xfrm rot="10800000">
              <a:off x="9675528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54" name="Right Triangle 1053">
              <a:extLst>
                <a:ext uri="{FF2B5EF4-FFF2-40B4-BE49-F238E27FC236}">
                  <a16:creationId xmlns:a16="http://schemas.microsoft.com/office/drawing/2014/main" id="{BCD4330E-45E3-4AC0-999D-0C597F0F7045}"/>
                </a:ext>
              </a:extLst>
            </p:cNvPr>
            <p:cNvSpPr/>
            <p:nvPr/>
          </p:nvSpPr>
          <p:spPr bwMode="gray">
            <a:xfrm flipV="1">
              <a:off x="9675528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55" name="Right Triangle 1054">
              <a:extLst>
                <a:ext uri="{FF2B5EF4-FFF2-40B4-BE49-F238E27FC236}">
                  <a16:creationId xmlns:a16="http://schemas.microsoft.com/office/drawing/2014/main" id="{FCA12FFA-1CE4-40DA-9702-65B0539E57B7}"/>
                </a:ext>
              </a:extLst>
            </p:cNvPr>
            <p:cNvSpPr/>
            <p:nvPr/>
          </p:nvSpPr>
          <p:spPr bwMode="gray">
            <a:xfrm>
              <a:off x="9675528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56" name="Right Triangle 1055">
              <a:extLst>
                <a:ext uri="{FF2B5EF4-FFF2-40B4-BE49-F238E27FC236}">
                  <a16:creationId xmlns:a16="http://schemas.microsoft.com/office/drawing/2014/main" id="{A8A33F77-9127-406B-A44E-DB1988AC61DB}"/>
                </a:ext>
              </a:extLst>
            </p:cNvPr>
            <p:cNvSpPr/>
            <p:nvPr/>
          </p:nvSpPr>
          <p:spPr bwMode="gray">
            <a:xfrm rot="10800000">
              <a:off x="9675528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57" name="Right Triangle 1056">
              <a:extLst>
                <a:ext uri="{FF2B5EF4-FFF2-40B4-BE49-F238E27FC236}">
                  <a16:creationId xmlns:a16="http://schemas.microsoft.com/office/drawing/2014/main" id="{BB37D275-8E2F-490D-9494-290B09043EFE}"/>
                </a:ext>
              </a:extLst>
            </p:cNvPr>
            <p:cNvSpPr/>
            <p:nvPr/>
          </p:nvSpPr>
          <p:spPr bwMode="gray">
            <a:xfrm>
              <a:off x="9675528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58" name="Right Triangle 1057">
              <a:extLst>
                <a:ext uri="{FF2B5EF4-FFF2-40B4-BE49-F238E27FC236}">
                  <a16:creationId xmlns:a16="http://schemas.microsoft.com/office/drawing/2014/main" id="{D9815E55-15E3-4658-B475-0F7A7939BA52}"/>
                </a:ext>
              </a:extLst>
            </p:cNvPr>
            <p:cNvSpPr/>
            <p:nvPr/>
          </p:nvSpPr>
          <p:spPr bwMode="gray">
            <a:xfrm flipV="1">
              <a:off x="9675528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59" name="Right Triangle 1058">
              <a:extLst>
                <a:ext uri="{FF2B5EF4-FFF2-40B4-BE49-F238E27FC236}">
                  <a16:creationId xmlns:a16="http://schemas.microsoft.com/office/drawing/2014/main" id="{09C0B678-541B-45EA-AD37-9D8EA45A17B5}"/>
                </a:ext>
              </a:extLst>
            </p:cNvPr>
            <p:cNvSpPr/>
            <p:nvPr/>
          </p:nvSpPr>
          <p:spPr bwMode="gray">
            <a:xfrm>
              <a:off x="9675528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0" name="Right Triangle 1059">
              <a:extLst>
                <a:ext uri="{FF2B5EF4-FFF2-40B4-BE49-F238E27FC236}">
                  <a16:creationId xmlns:a16="http://schemas.microsoft.com/office/drawing/2014/main" id="{ACB1ACCF-D32E-447F-90BC-68E3BAF1D535}"/>
                </a:ext>
              </a:extLst>
            </p:cNvPr>
            <p:cNvSpPr/>
            <p:nvPr/>
          </p:nvSpPr>
          <p:spPr bwMode="gray">
            <a:xfrm rot="10800000">
              <a:off x="9675529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1" name="Right Triangle 1060">
              <a:extLst>
                <a:ext uri="{FF2B5EF4-FFF2-40B4-BE49-F238E27FC236}">
                  <a16:creationId xmlns:a16="http://schemas.microsoft.com/office/drawing/2014/main" id="{2333CF33-F379-4DEE-9448-AEF8DD179A8E}"/>
                </a:ext>
              </a:extLst>
            </p:cNvPr>
            <p:cNvSpPr/>
            <p:nvPr/>
          </p:nvSpPr>
          <p:spPr bwMode="gray">
            <a:xfrm>
              <a:off x="9675528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2" name="Right Triangle 1061">
              <a:extLst>
                <a:ext uri="{FF2B5EF4-FFF2-40B4-BE49-F238E27FC236}">
                  <a16:creationId xmlns:a16="http://schemas.microsoft.com/office/drawing/2014/main" id="{A3F6ED1C-8381-4DAE-938E-B38F5285DA82}"/>
                </a:ext>
              </a:extLst>
            </p:cNvPr>
            <p:cNvSpPr/>
            <p:nvPr/>
          </p:nvSpPr>
          <p:spPr bwMode="gray">
            <a:xfrm rot="10800000">
              <a:off x="9675528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3" name="Right Triangle 1062">
              <a:extLst>
                <a:ext uri="{FF2B5EF4-FFF2-40B4-BE49-F238E27FC236}">
                  <a16:creationId xmlns:a16="http://schemas.microsoft.com/office/drawing/2014/main" id="{371B440E-30A0-4BC1-B553-A344609D37BF}"/>
                </a:ext>
              </a:extLst>
            </p:cNvPr>
            <p:cNvSpPr/>
            <p:nvPr/>
          </p:nvSpPr>
          <p:spPr bwMode="gray">
            <a:xfrm flipH="1">
              <a:off x="10643917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4" name="Right Triangle 1063">
              <a:extLst>
                <a:ext uri="{FF2B5EF4-FFF2-40B4-BE49-F238E27FC236}">
                  <a16:creationId xmlns:a16="http://schemas.microsoft.com/office/drawing/2014/main" id="{F9BBEFBF-1973-44FA-82D8-A240B7D5EEC9}"/>
                </a:ext>
              </a:extLst>
            </p:cNvPr>
            <p:cNvSpPr/>
            <p:nvPr/>
          </p:nvSpPr>
          <p:spPr bwMode="gray">
            <a:xfrm flipH="1" flipV="1">
              <a:off x="10643917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5" name="Right Triangle 1064">
              <a:extLst>
                <a:ext uri="{FF2B5EF4-FFF2-40B4-BE49-F238E27FC236}">
                  <a16:creationId xmlns:a16="http://schemas.microsoft.com/office/drawing/2014/main" id="{7F06F92E-0E60-4D71-972C-A652244AD6F5}"/>
                </a:ext>
              </a:extLst>
            </p:cNvPr>
            <p:cNvSpPr/>
            <p:nvPr/>
          </p:nvSpPr>
          <p:spPr bwMode="gray">
            <a:xfrm rot="10800000" flipH="1" flipV="1">
              <a:off x="10643918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6" name="Right Triangle 1065">
              <a:extLst>
                <a:ext uri="{FF2B5EF4-FFF2-40B4-BE49-F238E27FC236}">
                  <a16:creationId xmlns:a16="http://schemas.microsoft.com/office/drawing/2014/main" id="{AFF33036-B1EC-4235-B2BC-33917195D735}"/>
                </a:ext>
              </a:extLst>
            </p:cNvPr>
            <p:cNvSpPr/>
            <p:nvPr/>
          </p:nvSpPr>
          <p:spPr bwMode="gray">
            <a:xfrm flipH="1">
              <a:off x="10643917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7" name="Right Triangle 1066">
              <a:extLst>
                <a:ext uri="{FF2B5EF4-FFF2-40B4-BE49-F238E27FC236}">
                  <a16:creationId xmlns:a16="http://schemas.microsoft.com/office/drawing/2014/main" id="{80F46166-E605-4128-935E-EAC4DBC79757}"/>
                </a:ext>
              </a:extLst>
            </p:cNvPr>
            <p:cNvSpPr/>
            <p:nvPr/>
          </p:nvSpPr>
          <p:spPr bwMode="gray">
            <a:xfrm flipH="1">
              <a:off x="10643917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8" name="Right Triangle 1067">
              <a:extLst>
                <a:ext uri="{FF2B5EF4-FFF2-40B4-BE49-F238E27FC236}">
                  <a16:creationId xmlns:a16="http://schemas.microsoft.com/office/drawing/2014/main" id="{5D61B3B7-E95F-4489-8936-1C99732B5225}"/>
                </a:ext>
              </a:extLst>
            </p:cNvPr>
            <p:cNvSpPr/>
            <p:nvPr/>
          </p:nvSpPr>
          <p:spPr bwMode="gray">
            <a:xfrm rot="10800000" flipH="1">
              <a:off x="10643918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69" name="Right Triangle 1068">
              <a:extLst>
                <a:ext uri="{FF2B5EF4-FFF2-40B4-BE49-F238E27FC236}">
                  <a16:creationId xmlns:a16="http://schemas.microsoft.com/office/drawing/2014/main" id="{554F3E41-487B-48DB-ADBE-139A24343798}"/>
                </a:ext>
              </a:extLst>
            </p:cNvPr>
            <p:cNvSpPr/>
            <p:nvPr/>
          </p:nvSpPr>
          <p:spPr bwMode="gray">
            <a:xfrm flipH="1" flipV="1">
              <a:off x="10643917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0" name="Right Triangle 1069">
              <a:extLst>
                <a:ext uri="{FF2B5EF4-FFF2-40B4-BE49-F238E27FC236}">
                  <a16:creationId xmlns:a16="http://schemas.microsoft.com/office/drawing/2014/main" id="{07715328-2F8F-48F6-A71C-50CC6861805C}"/>
                </a:ext>
              </a:extLst>
            </p:cNvPr>
            <p:cNvSpPr/>
            <p:nvPr/>
          </p:nvSpPr>
          <p:spPr bwMode="gray">
            <a:xfrm rot="10800000" flipH="1" flipV="1">
              <a:off x="10643917" y="96601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1" name="Right Triangle 1070">
              <a:extLst>
                <a:ext uri="{FF2B5EF4-FFF2-40B4-BE49-F238E27FC236}">
                  <a16:creationId xmlns:a16="http://schemas.microsoft.com/office/drawing/2014/main" id="{91E4C002-5BA6-464D-842B-F4033240BE4C}"/>
                </a:ext>
              </a:extLst>
            </p:cNvPr>
            <p:cNvSpPr/>
            <p:nvPr/>
          </p:nvSpPr>
          <p:spPr bwMode="gray">
            <a:xfrm flipH="1">
              <a:off x="10643917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2" name="Right Triangle 1071">
              <a:extLst>
                <a:ext uri="{FF2B5EF4-FFF2-40B4-BE49-F238E27FC236}">
                  <a16:creationId xmlns:a16="http://schemas.microsoft.com/office/drawing/2014/main" id="{FA536DAB-C673-4B2D-A57A-D8800A0E01B8}"/>
                </a:ext>
              </a:extLst>
            </p:cNvPr>
            <p:cNvSpPr/>
            <p:nvPr/>
          </p:nvSpPr>
          <p:spPr bwMode="gray">
            <a:xfrm rot="10800000" flipH="1">
              <a:off x="10643918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3" name="Right Triangle 1072">
              <a:extLst>
                <a:ext uri="{FF2B5EF4-FFF2-40B4-BE49-F238E27FC236}">
                  <a16:creationId xmlns:a16="http://schemas.microsoft.com/office/drawing/2014/main" id="{D03201BF-89B9-4837-96A7-5C236E389846}"/>
                </a:ext>
              </a:extLst>
            </p:cNvPr>
            <p:cNvSpPr/>
            <p:nvPr/>
          </p:nvSpPr>
          <p:spPr bwMode="gray">
            <a:xfrm flipH="1">
              <a:off x="10643917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4" name="Right Triangle 1073">
              <a:extLst>
                <a:ext uri="{FF2B5EF4-FFF2-40B4-BE49-F238E27FC236}">
                  <a16:creationId xmlns:a16="http://schemas.microsoft.com/office/drawing/2014/main" id="{BA20C66E-AE72-4AE3-84D3-29FBC8DE7E4C}"/>
                </a:ext>
              </a:extLst>
            </p:cNvPr>
            <p:cNvSpPr/>
            <p:nvPr/>
          </p:nvSpPr>
          <p:spPr bwMode="gray">
            <a:xfrm rot="10800000" flipH="1">
              <a:off x="10643917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5" name="Right Triangle 1074">
              <a:extLst>
                <a:ext uri="{FF2B5EF4-FFF2-40B4-BE49-F238E27FC236}">
                  <a16:creationId xmlns:a16="http://schemas.microsoft.com/office/drawing/2014/main" id="{5F985BE5-F962-4173-97FC-90E98A33F1B2}"/>
                </a:ext>
              </a:extLst>
            </p:cNvPr>
            <p:cNvSpPr/>
            <p:nvPr/>
          </p:nvSpPr>
          <p:spPr bwMode="gray">
            <a:xfrm>
              <a:off x="1161230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6" name="Right Triangle 1075">
              <a:extLst>
                <a:ext uri="{FF2B5EF4-FFF2-40B4-BE49-F238E27FC236}">
                  <a16:creationId xmlns:a16="http://schemas.microsoft.com/office/drawing/2014/main" id="{874C9752-CA8F-4840-A168-C7819B2195C1}"/>
                </a:ext>
              </a:extLst>
            </p:cNvPr>
            <p:cNvSpPr/>
            <p:nvPr/>
          </p:nvSpPr>
          <p:spPr bwMode="gray">
            <a:xfrm rot="10800000">
              <a:off x="1161230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7" name="Right Triangle 1076">
              <a:extLst>
                <a:ext uri="{FF2B5EF4-FFF2-40B4-BE49-F238E27FC236}">
                  <a16:creationId xmlns:a16="http://schemas.microsoft.com/office/drawing/2014/main" id="{D804885B-9BA0-4FA4-B5EC-6CB7B7C41B03}"/>
                </a:ext>
              </a:extLst>
            </p:cNvPr>
            <p:cNvSpPr/>
            <p:nvPr/>
          </p:nvSpPr>
          <p:spPr bwMode="gray">
            <a:xfrm flipV="1">
              <a:off x="11612306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8" name="Right Triangle 1077">
              <a:extLst>
                <a:ext uri="{FF2B5EF4-FFF2-40B4-BE49-F238E27FC236}">
                  <a16:creationId xmlns:a16="http://schemas.microsoft.com/office/drawing/2014/main" id="{67E8C846-A585-4049-B64A-116A445000AC}"/>
                </a:ext>
              </a:extLst>
            </p:cNvPr>
            <p:cNvSpPr/>
            <p:nvPr/>
          </p:nvSpPr>
          <p:spPr bwMode="gray">
            <a:xfrm>
              <a:off x="11612306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79" name="Right Triangle 1078">
              <a:extLst>
                <a:ext uri="{FF2B5EF4-FFF2-40B4-BE49-F238E27FC236}">
                  <a16:creationId xmlns:a16="http://schemas.microsoft.com/office/drawing/2014/main" id="{B31BC6B9-E4E1-42C1-B174-A785EC60994F}"/>
                </a:ext>
              </a:extLst>
            </p:cNvPr>
            <p:cNvSpPr/>
            <p:nvPr/>
          </p:nvSpPr>
          <p:spPr bwMode="gray">
            <a:xfrm rot="10800000">
              <a:off x="11612307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80" name="Right Triangle 1079">
              <a:extLst>
                <a:ext uri="{FF2B5EF4-FFF2-40B4-BE49-F238E27FC236}">
                  <a16:creationId xmlns:a16="http://schemas.microsoft.com/office/drawing/2014/main" id="{26743BFF-A1A9-48E5-BFDF-6149673BF9E8}"/>
                </a:ext>
              </a:extLst>
            </p:cNvPr>
            <p:cNvSpPr/>
            <p:nvPr/>
          </p:nvSpPr>
          <p:spPr bwMode="gray">
            <a:xfrm>
              <a:off x="1161230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81" name="Right Triangle 1080">
              <a:extLst>
                <a:ext uri="{FF2B5EF4-FFF2-40B4-BE49-F238E27FC236}">
                  <a16:creationId xmlns:a16="http://schemas.microsoft.com/office/drawing/2014/main" id="{DFA78F95-3834-4FB4-B269-7F1119FA4E7B}"/>
                </a:ext>
              </a:extLst>
            </p:cNvPr>
            <p:cNvSpPr/>
            <p:nvPr/>
          </p:nvSpPr>
          <p:spPr bwMode="gray">
            <a:xfrm rot="10800000">
              <a:off x="1161230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9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82" name="Right Triangle 1081">
              <a:extLst>
                <a:ext uri="{FF2B5EF4-FFF2-40B4-BE49-F238E27FC236}">
                  <a16:creationId xmlns:a16="http://schemas.microsoft.com/office/drawing/2014/main" id="{D17D724D-16D8-4E0B-9025-C8DCDF3B539E}"/>
                </a:ext>
              </a:extLst>
            </p:cNvPr>
            <p:cNvSpPr/>
            <p:nvPr/>
          </p:nvSpPr>
          <p:spPr bwMode="gray">
            <a:xfrm flipV="1">
              <a:off x="11612306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83" name="Right Triangle 1082">
              <a:extLst>
                <a:ext uri="{FF2B5EF4-FFF2-40B4-BE49-F238E27FC236}">
                  <a16:creationId xmlns:a16="http://schemas.microsoft.com/office/drawing/2014/main" id="{540251A9-D497-4E98-985A-D7168362CA0E}"/>
                </a:ext>
              </a:extLst>
            </p:cNvPr>
            <p:cNvSpPr/>
            <p:nvPr/>
          </p:nvSpPr>
          <p:spPr bwMode="gray">
            <a:xfrm rot="10800000">
              <a:off x="11612306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84" name="Right Triangle 1083">
              <a:extLst>
                <a:ext uri="{FF2B5EF4-FFF2-40B4-BE49-F238E27FC236}">
                  <a16:creationId xmlns:a16="http://schemas.microsoft.com/office/drawing/2014/main" id="{62575D7D-39DB-4AC5-9374-666C098F7193}"/>
                </a:ext>
              </a:extLst>
            </p:cNvPr>
            <p:cNvSpPr/>
            <p:nvPr/>
          </p:nvSpPr>
          <p:spPr bwMode="gray">
            <a:xfrm>
              <a:off x="11612306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85" name="Right Triangle 1084">
              <a:extLst>
                <a:ext uri="{FF2B5EF4-FFF2-40B4-BE49-F238E27FC236}">
                  <a16:creationId xmlns:a16="http://schemas.microsoft.com/office/drawing/2014/main" id="{2FCFF745-4F5F-41FF-9731-E739F0CADF29}"/>
                </a:ext>
              </a:extLst>
            </p:cNvPr>
            <p:cNvSpPr/>
            <p:nvPr/>
          </p:nvSpPr>
          <p:spPr bwMode="gray">
            <a:xfrm rot="10800000">
              <a:off x="11612306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18" name="Right Triangle 1117">
              <a:extLst>
                <a:ext uri="{FF2B5EF4-FFF2-40B4-BE49-F238E27FC236}">
                  <a16:creationId xmlns:a16="http://schemas.microsoft.com/office/drawing/2014/main" id="{391991C9-1E7E-4F2D-B7D6-2444010A6168}"/>
                </a:ext>
              </a:extLst>
            </p:cNvPr>
            <p:cNvSpPr/>
            <p:nvPr/>
          </p:nvSpPr>
          <p:spPr bwMode="gray">
            <a:xfrm>
              <a:off x="7741661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19" name="Right Triangle 1118">
              <a:extLst>
                <a:ext uri="{FF2B5EF4-FFF2-40B4-BE49-F238E27FC236}">
                  <a16:creationId xmlns:a16="http://schemas.microsoft.com/office/drawing/2014/main" id="{1D0F11D2-3407-4B3F-8BD8-6BDD732C0EAB}"/>
                </a:ext>
              </a:extLst>
            </p:cNvPr>
            <p:cNvSpPr/>
            <p:nvPr/>
          </p:nvSpPr>
          <p:spPr bwMode="gray">
            <a:xfrm flipV="1">
              <a:off x="7741661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0" name="Right Triangle 1119">
              <a:extLst>
                <a:ext uri="{FF2B5EF4-FFF2-40B4-BE49-F238E27FC236}">
                  <a16:creationId xmlns:a16="http://schemas.microsoft.com/office/drawing/2014/main" id="{3B43FC2B-1382-4A57-AFD5-05E5451F0078}"/>
                </a:ext>
              </a:extLst>
            </p:cNvPr>
            <p:cNvSpPr/>
            <p:nvPr/>
          </p:nvSpPr>
          <p:spPr bwMode="gray">
            <a:xfrm rot="10800000" flipV="1">
              <a:off x="7741662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1" name="Right Triangle 1120">
              <a:extLst>
                <a:ext uri="{FF2B5EF4-FFF2-40B4-BE49-F238E27FC236}">
                  <a16:creationId xmlns:a16="http://schemas.microsoft.com/office/drawing/2014/main" id="{3D8D9ADC-25B9-4569-8420-A71FCCF98D38}"/>
                </a:ext>
              </a:extLst>
            </p:cNvPr>
            <p:cNvSpPr/>
            <p:nvPr/>
          </p:nvSpPr>
          <p:spPr bwMode="gray">
            <a:xfrm>
              <a:off x="7741661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2" name="Right Triangle 1121">
              <a:extLst>
                <a:ext uri="{FF2B5EF4-FFF2-40B4-BE49-F238E27FC236}">
                  <a16:creationId xmlns:a16="http://schemas.microsoft.com/office/drawing/2014/main" id="{FF883FA4-E49C-4BE7-B918-05EEAE7BFA2B}"/>
                </a:ext>
              </a:extLst>
            </p:cNvPr>
            <p:cNvSpPr/>
            <p:nvPr/>
          </p:nvSpPr>
          <p:spPr bwMode="gray">
            <a:xfrm rot="10800000">
              <a:off x="7741662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3" name="Right Triangle 1122">
              <a:extLst>
                <a:ext uri="{FF2B5EF4-FFF2-40B4-BE49-F238E27FC236}">
                  <a16:creationId xmlns:a16="http://schemas.microsoft.com/office/drawing/2014/main" id="{0F3A87B8-8FE6-4A47-BEF7-A8D0664D02E8}"/>
                </a:ext>
              </a:extLst>
            </p:cNvPr>
            <p:cNvSpPr/>
            <p:nvPr/>
          </p:nvSpPr>
          <p:spPr bwMode="gray">
            <a:xfrm>
              <a:off x="7741661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4" name="Right Triangle 1123">
              <a:extLst>
                <a:ext uri="{FF2B5EF4-FFF2-40B4-BE49-F238E27FC236}">
                  <a16:creationId xmlns:a16="http://schemas.microsoft.com/office/drawing/2014/main" id="{13DF8434-3AEA-4EBD-9DB1-31E01A361E53}"/>
                </a:ext>
              </a:extLst>
            </p:cNvPr>
            <p:cNvSpPr/>
            <p:nvPr/>
          </p:nvSpPr>
          <p:spPr bwMode="gray">
            <a:xfrm rot="10800000">
              <a:off x="7741662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5" name="Right Triangle 1124">
              <a:extLst>
                <a:ext uri="{FF2B5EF4-FFF2-40B4-BE49-F238E27FC236}">
                  <a16:creationId xmlns:a16="http://schemas.microsoft.com/office/drawing/2014/main" id="{303A3036-0D75-4576-995F-127F3FCAB699}"/>
                </a:ext>
              </a:extLst>
            </p:cNvPr>
            <p:cNvSpPr/>
            <p:nvPr/>
          </p:nvSpPr>
          <p:spPr bwMode="gray">
            <a:xfrm flipV="1">
              <a:off x="7741661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6" name="Right Triangle 1125">
              <a:extLst>
                <a:ext uri="{FF2B5EF4-FFF2-40B4-BE49-F238E27FC236}">
                  <a16:creationId xmlns:a16="http://schemas.microsoft.com/office/drawing/2014/main" id="{609D1630-7C11-40BD-A0DC-BCB7C7FA4CFF}"/>
                </a:ext>
              </a:extLst>
            </p:cNvPr>
            <p:cNvSpPr/>
            <p:nvPr/>
          </p:nvSpPr>
          <p:spPr bwMode="gray">
            <a:xfrm rot="10800000" flipV="1">
              <a:off x="7741662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7" name="Right Triangle 1126">
              <a:extLst>
                <a:ext uri="{FF2B5EF4-FFF2-40B4-BE49-F238E27FC236}">
                  <a16:creationId xmlns:a16="http://schemas.microsoft.com/office/drawing/2014/main" id="{BA51F249-FFEB-4211-944D-E0DB113A0DAF}"/>
                </a:ext>
              </a:extLst>
            </p:cNvPr>
            <p:cNvSpPr/>
            <p:nvPr/>
          </p:nvSpPr>
          <p:spPr bwMode="gray">
            <a:xfrm>
              <a:off x="7741661" y="1928558"/>
              <a:ext cx="968389" cy="968389"/>
            </a:xfrm>
            <a:prstGeom prst="rtTriangle">
              <a:avLst/>
            </a:prstGeom>
            <a:solidFill>
              <a:sysClr val="window" lastClr="FFFFFF">
                <a:alpha val="7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8" name="Right Triangle 1127">
              <a:extLst>
                <a:ext uri="{FF2B5EF4-FFF2-40B4-BE49-F238E27FC236}">
                  <a16:creationId xmlns:a16="http://schemas.microsoft.com/office/drawing/2014/main" id="{8D1FDEE5-109B-45B9-A514-9C1EDD3D010C}"/>
                </a:ext>
              </a:extLst>
            </p:cNvPr>
            <p:cNvSpPr/>
            <p:nvPr/>
          </p:nvSpPr>
          <p:spPr bwMode="gray">
            <a:xfrm rot="10800000">
              <a:off x="7741662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9" name="Right Triangle 1128">
              <a:extLst>
                <a:ext uri="{FF2B5EF4-FFF2-40B4-BE49-F238E27FC236}">
                  <a16:creationId xmlns:a16="http://schemas.microsoft.com/office/drawing/2014/main" id="{B638A5A1-893B-4056-A03C-32B95D7F6123}"/>
                </a:ext>
              </a:extLst>
            </p:cNvPr>
            <p:cNvSpPr/>
            <p:nvPr/>
          </p:nvSpPr>
          <p:spPr bwMode="gray">
            <a:xfrm>
              <a:off x="7741661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98" name="Right Triangle 1497">
              <a:extLst>
                <a:ext uri="{FF2B5EF4-FFF2-40B4-BE49-F238E27FC236}">
                  <a16:creationId xmlns:a16="http://schemas.microsoft.com/office/drawing/2014/main" id="{197E7D03-A91C-4064-8518-615EC259FDC5}"/>
                </a:ext>
              </a:extLst>
            </p:cNvPr>
            <p:cNvSpPr/>
            <p:nvPr/>
          </p:nvSpPr>
          <p:spPr bwMode="gray">
            <a:xfrm rot="10800000">
              <a:off x="7741662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00" name="Right Triangle 1499">
              <a:extLst>
                <a:ext uri="{FF2B5EF4-FFF2-40B4-BE49-F238E27FC236}">
                  <a16:creationId xmlns:a16="http://schemas.microsoft.com/office/drawing/2014/main" id="{1590782B-2EE9-4C46-90E0-96DC5113EF3B}"/>
                </a:ext>
              </a:extLst>
            </p:cNvPr>
            <p:cNvSpPr/>
            <p:nvPr/>
          </p:nvSpPr>
          <p:spPr bwMode="gray">
            <a:xfrm flipH="1">
              <a:off x="870701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01" name="Right Triangle 1500">
              <a:extLst>
                <a:ext uri="{FF2B5EF4-FFF2-40B4-BE49-F238E27FC236}">
                  <a16:creationId xmlns:a16="http://schemas.microsoft.com/office/drawing/2014/main" id="{DBC44D05-3580-4FB4-9EE0-30D404D888BD}"/>
                </a:ext>
              </a:extLst>
            </p:cNvPr>
            <p:cNvSpPr/>
            <p:nvPr/>
          </p:nvSpPr>
          <p:spPr bwMode="gray">
            <a:xfrm rot="10800000" flipH="1">
              <a:off x="870701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03" name="Right Triangle 1502">
              <a:extLst>
                <a:ext uri="{FF2B5EF4-FFF2-40B4-BE49-F238E27FC236}">
                  <a16:creationId xmlns:a16="http://schemas.microsoft.com/office/drawing/2014/main" id="{D50831AD-6E81-4BEC-B0A5-614661D3A6B2}"/>
                </a:ext>
              </a:extLst>
            </p:cNvPr>
            <p:cNvSpPr/>
            <p:nvPr/>
          </p:nvSpPr>
          <p:spPr bwMode="gray">
            <a:xfrm flipH="1" flipV="1">
              <a:off x="8707016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04" name="Right Triangle 1503">
              <a:extLst>
                <a:ext uri="{FF2B5EF4-FFF2-40B4-BE49-F238E27FC236}">
                  <a16:creationId xmlns:a16="http://schemas.microsoft.com/office/drawing/2014/main" id="{9E46E14E-8065-443C-B22B-6809C242265D}"/>
                </a:ext>
              </a:extLst>
            </p:cNvPr>
            <p:cNvSpPr/>
            <p:nvPr/>
          </p:nvSpPr>
          <p:spPr bwMode="gray">
            <a:xfrm rot="10800000" flipH="1">
              <a:off x="8707016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05" name="Right Triangle 1504">
              <a:extLst>
                <a:ext uri="{FF2B5EF4-FFF2-40B4-BE49-F238E27FC236}">
                  <a16:creationId xmlns:a16="http://schemas.microsoft.com/office/drawing/2014/main" id="{CD8DD3DD-C642-4C5D-B18A-67BCF54E913C}"/>
                </a:ext>
              </a:extLst>
            </p:cNvPr>
            <p:cNvSpPr/>
            <p:nvPr/>
          </p:nvSpPr>
          <p:spPr bwMode="gray">
            <a:xfrm flipH="1">
              <a:off x="870701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06" name="Right Triangle 1505">
              <a:extLst>
                <a:ext uri="{FF2B5EF4-FFF2-40B4-BE49-F238E27FC236}">
                  <a16:creationId xmlns:a16="http://schemas.microsoft.com/office/drawing/2014/main" id="{79AD7784-7EC5-456F-835D-505EE8397B3D}"/>
                </a:ext>
              </a:extLst>
            </p:cNvPr>
            <p:cNvSpPr/>
            <p:nvPr/>
          </p:nvSpPr>
          <p:spPr bwMode="gray">
            <a:xfrm rot="10800000" flipH="1">
              <a:off x="870701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07" name="Right Triangle 1506">
              <a:extLst>
                <a:ext uri="{FF2B5EF4-FFF2-40B4-BE49-F238E27FC236}">
                  <a16:creationId xmlns:a16="http://schemas.microsoft.com/office/drawing/2014/main" id="{D4530316-0B1C-461F-9F7A-71A37985F7F1}"/>
                </a:ext>
              </a:extLst>
            </p:cNvPr>
            <p:cNvSpPr/>
            <p:nvPr/>
          </p:nvSpPr>
          <p:spPr bwMode="gray">
            <a:xfrm flipH="1" flipV="1">
              <a:off x="8707016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08" name="Right Triangle 1507">
              <a:extLst>
                <a:ext uri="{FF2B5EF4-FFF2-40B4-BE49-F238E27FC236}">
                  <a16:creationId xmlns:a16="http://schemas.microsoft.com/office/drawing/2014/main" id="{68A62814-3040-4439-B166-C59DACFAAED0}"/>
                </a:ext>
              </a:extLst>
            </p:cNvPr>
            <p:cNvSpPr/>
            <p:nvPr/>
          </p:nvSpPr>
          <p:spPr bwMode="gray">
            <a:xfrm flipH="1">
              <a:off x="8707016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09" name="Right Triangle 1508">
              <a:extLst>
                <a:ext uri="{FF2B5EF4-FFF2-40B4-BE49-F238E27FC236}">
                  <a16:creationId xmlns:a16="http://schemas.microsoft.com/office/drawing/2014/main" id="{BBA7467A-57A2-42C1-A37C-EEACC75714B9}"/>
                </a:ext>
              </a:extLst>
            </p:cNvPr>
            <p:cNvSpPr/>
            <p:nvPr/>
          </p:nvSpPr>
          <p:spPr bwMode="gray">
            <a:xfrm rot="10800000" flipH="1">
              <a:off x="8707017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10" name="Right Triangle 1509">
              <a:extLst>
                <a:ext uri="{FF2B5EF4-FFF2-40B4-BE49-F238E27FC236}">
                  <a16:creationId xmlns:a16="http://schemas.microsoft.com/office/drawing/2014/main" id="{F19E3A3A-6F48-44F1-A74D-9B4AA960662C}"/>
                </a:ext>
              </a:extLst>
            </p:cNvPr>
            <p:cNvSpPr/>
            <p:nvPr/>
          </p:nvSpPr>
          <p:spPr bwMode="gray">
            <a:xfrm flipH="1">
              <a:off x="8707016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11" name="Right Triangle 1510">
              <a:extLst>
                <a:ext uri="{FF2B5EF4-FFF2-40B4-BE49-F238E27FC236}">
                  <a16:creationId xmlns:a16="http://schemas.microsoft.com/office/drawing/2014/main" id="{1B28AF76-1893-4D93-9AF1-E83E1839BE12}"/>
                </a:ext>
              </a:extLst>
            </p:cNvPr>
            <p:cNvSpPr/>
            <p:nvPr/>
          </p:nvSpPr>
          <p:spPr bwMode="gray">
            <a:xfrm rot="10800000" flipH="1">
              <a:off x="8707016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2" name="Right Triangle 961">
              <a:extLst>
                <a:ext uri="{FF2B5EF4-FFF2-40B4-BE49-F238E27FC236}">
                  <a16:creationId xmlns:a16="http://schemas.microsoft.com/office/drawing/2014/main" id="{B2449F2E-8F37-481D-BB88-2F28308A4DFA}"/>
                </a:ext>
              </a:extLst>
            </p:cNvPr>
            <p:cNvSpPr/>
            <p:nvPr/>
          </p:nvSpPr>
          <p:spPr bwMode="gray">
            <a:xfrm>
              <a:off x="9675528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3" name="Right Triangle 962">
              <a:extLst>
                <a:ext uri="{FF2B5EF4-FFF2-40B4-BE49-F238E27FC236}">
                  <a16:creationId xmlns:a16="http://schemas.microsoft.com/office/drawing/2014/main" id="{B00A7C79-89D2-4F88-8D93-E597D62A6D42}"/>
                </a:ext>
              </a:extLst>
            </p:cNvPr>
            <p:cNvSpPr/>
            <p:nvPr/>
          </p:nvSpPr>
          <p:spPr bwMode="gray">
            <a:xfrm rot="10800000">
              <a:off x="9675528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4" name="Right Triangle 963">
              <a:extLst>
                <a:ext uri="{FF2B5EF4-FFF2-40B4-BE49-F238E27FC236}">
                  <a16:creationId xmlns:a16="http://schemas.microsoft.com/office/drawing/2014/main" id="{605265F3-D4BC-4974-A954-752B4C91C7C2}"/>
                </a:ext>
              </a:extLst>
            </p:cNvPr>
            <p:cNvSpPr/>
            <p:nvPr/>
          </p:nvSpPr>
          <p:spPr bwMode="gray">
            <a:xfrm flipV="1">
              <a:off x="9675528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5" name="Right Triangle 964">
              <a:extLst>
                <a:ext uri="{FF2B5EF4-FFF2-40B4-BE49-F238E27FC236}">
                  <a16:creationId xmlns:a16="http://schemas.microsoft.com/office/drawing/2014/main" id="{94C84C27-6874-4411-9C7F-02936D50AF4A}"/>
                </a:ext>
              </a:extLst>
            </p:cNvPr>
            <p:cNvSpPr/>
            <p:nvPr/>
          </p:nvSpPr>
          <p:spPr bwMode="gray">
            <a:xfrm>
              <a:off x="9675528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6" name="Right Triangle 965">
              <a:extLst>
                <a:ext uri="{FF2B5EF4-FFF2-40B4-BE49-F238E27FC236}">
                  <a16:creationId xmlns:a16="http://schemas.microsoft.com/office/drawing/2014/main" id="{6E207F7B-6A82-486C-96FA-F7A768683B92}"/>
                </a:ext>
              </a:extLst>
            </p:cNvPr>
            <p:cNvSpPr/>
            <p:nvPr/>
          </p:nvSpPr>
          <p:spPr bwMode="gray">
            <a:xfrm rot="10800000">
              <a:off x="9675528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7" name="Right Triangle 966">
              <a:extLst>
                <a:ext uri="{FF2B5EF4-FFF2-40B4-BE49-F238E27FC236}">
                  <a16:creationId xmlns:a16="http://schemas.microsoft.com/office/drawing/2014/main" id="{4B163831-FC95-4563-B910-E469A0C826CB}"/>
                </a:ext>
              </a:extLst>
            </p:cNvPr>
            <p:cNvSpPr/>
            <p:nvPr/>
          </p:nvSpPr>
          <p:spPr bwMode="gray">
            <a:xfrm>
              <a:off x="9675528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8" name="Right Triangle 967">
              <a:extLst>
                <a:ext uri="{FF2B5EF4-FFF2-40B4-BE49-F238E27FC236}">
                  <a16:creationId xmlns:a16="http://schemas.microsoft.com/office/drawing/2014/main" id="{395DBB35-C9DB-42DB-933C-680B6F6ECB75}"/>
                </a:ext>
              </a:extLst>
            </p:cNvPr>
            <p:cNvSpPr/>
            <p:nvPr/>
          </p:nvSpPr>
          <p:spPr bwMode="gray">
            <a:xfrm flipV="1">
              <a:off x="9675528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9" name="Right Triangle 968">
              <a:extLst>
                <a:ext uri="{FF2B5EF4-FFF2-40B4-BE49-F238E27FC236}">
                  <a16:creationId xmlns:a16="http://schemas.microsoft.com/office/drawing/2014/main" id="{1B68C691-E783-4FBF-9CC0-62860B57946D}"/>
                </a:ext>
              </a:extLst>
            </p:cNvPr>
            <p:cNvSpPr/>
            <p:nvPr/>
          </p:nvSpPr>
          <p:spPr bwMode="gray">
            <a:xfrm>
              <a:off x="9675528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0" name="Right Triangle 969">
              <a:extLst>
                <a:ext uri="{FF2B5EF4-FFF2-40B4-BE49-F238E27FC236}">
                  <a16:creationId xmlns:a16="http://schemas.microsoft.com/office/drawing/2014/main" id="{E9DB106F-430C-4E25-ACDC-E6335E6E56A7}"/>
                </a:ext>
              </a:extLst>
            </p:cNvPr>
            <p:cNvSpPr/>
            <p:nvPr/>
          </p:nvSpPr>
          <p:spPr bwMode="gray">
            <a:xfrm rot="10800000">
              <a:off x="9675529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1" name="Right Triangle 970">
              <a:extLst>
                <a:ext uri="{FF2B5EF4-FFF2-40B4-BE49-F238E27FC236}">
                  <a16:creationId xmlns:a16="http://schemas.microsoft.com/office/drawing/2014/main" id="{C21409A8-9C34-4525-95D7-F1F5C0203E20}"/>
                </a:ext>
              </a:extLst>
            </p:cNvPr>
            <p:cNvSpPr/>
            <p:nvPr/>
          </p:nvSpPr>
          <p:spPr bwMode="gray">
            <a:xfrm>
              <a:off x="9675528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2" name="Right Triangle 971">
              <a:extLst>
                <a:ext uri="{FF2B5EF4-FFF2-40B4-BE49-F238E27FC236}">
                  <a16:creationId xmlns:a16="http://schemas.microsoft.com/office/drawing/2014/main" id="{72615CD1-451C-4A72-A0D1-8D2483C4E9B3}"/>
                </a:ext>
              </a:extLst>
            </p:cNvPr>
            <p:cNvSpPr/>
            <p:nvPr/>
          </p:nvSpPr>
          <p:spPr bwMode="gray">
            <a:xfrm rot="10800000">
              <a:off x="9675528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3" name="Right Triangle 972">
              <a:extLst>
                <a:ext uri="{FF2B5EF4-FFF2-40B4-BE49-F238E27FC236}">
                  <a16:creationId xmlns:a16="http://schemas.microsoft.com/office/drawing/2014/main" id="{86A00D32-1B82-45D6-9FAB-E31B1EB032F9}"/>
                </a:ext>
              </a:extLst>
            </p:cNvPr>
            <p:cNvSpPr/>
            <p:nvPr/>
          </p:nvSpPr>
          <p:spPr bwMode="gray">
            <a:xfrm flipH="1">
              <a:off x="10643917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4" name="Right Triangle 973">
              <a:extLst>
                <a:ext uri="{FF2B5EF4-FFF2-40B4-BE49-F238E27FC236}">
                  <a16:creationId xmlns:a16="http://schemas.microsoft.com/office/drawing/2014/main" id="{51045A92-2683-4A3C-A6A7-3402D5986F93}"/>
                </a:ext>
              </a:extLst>
            </p:cNvPr>
            <p:cNvSpPr/>
            <p:nvPr/>
          </p:nvSpPr>
          <p:spPr bwMode="gray">
            <a:xfrm flipH="1" flipV="1">
              <a:off x="10643917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5" name="Right Triangle 974">
              <a:extLst>
                <a:ext uri="{FF2B5EF4-FFF2-40B4-BE49-F238E27FC236}">
                  <a16:creationId xmlns:a16="http://schemas.microsoft.com/office/drawing/2014/main" id="{72C282E8-F1FF-4345-BE6C-82AC3AAB0760}"/>
                </a:ext>
              </a:extLst>
            </p:cNvPr>
            <p:cNvSpPr/>
            <p:nvPr/>
          </p:nvSpPr>
          <p:spPr bwMode="gray">
            <a:xfrm rot="10800000" flipH="1" flipV="1">
              <a:off x="10643918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6" name="Right Triangle 975">
              <a:extLst>
                <a:ext uri="{FF2B5EF4-FFF2-40B4-BE49-F238E27FC236}">
                  <a16:creationId xmlns:a16="http://schemas.microsoft.com/office/drawing/2014/main" id="{19E57E69-C5B8-4758-96AF-8090AEBE6C4B}"/>
                </a:ext>
              </a:extLst>
            </p:cNvPr>
            <p:cNvSpPr/>
            <p:nvPr/>
          </p:nvSpPr>
          <p:spPr bwMode="gray">
            <a:xfrm flipH="1">
              <a:off x="10643917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7" name="Right Triangle 976">
              <a:extLst>
                <a:ext uri="{FF2B5EF4-FFF2-40B4-BE49-F238E27FC236}">
                  <a16:creationId xmlns:a16="http://schemas.microsoft.com/office/drawing/2014/main" id="{97C1E025-E7D3-450D-B3A2-341E0CF1FBBC}"/>
                </a:ext>
              </a:extLst>
            </p:cNvPr>
            <p:cNvSpPr/>
            <p:nvPr/>
          </p:nvSpPr>
          <p:spPr bwMode="gray">
            <a:xfrm flipH="1">
              <a:off x="10643917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8" name="Right Triangle 977">
              <a:extLst>
                <a:ext uri="{FF2B5EF4-FFF2-40B4-BE49-F238E27FC236}">
                  <a16:creationId xmlns:a16="http://schemas.microsoft.com/office/drawing/2014/main" id="{5C5FA75B-57C5-4996-B210-AB2E78DB6D93}"/>
                </a:ext>
              </a:extLst>
            </p:cNvPr>
            <p:cNvSpPr/>
            <p:nvPr/>
          </p:nvSpPr>
          <p:spPr bwMode="gray">
            <a:xfrm rot="10800000" flipH="1">
              <a:off x="10643918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9" name="Right Triangle 978">
              <a:extLst>
                <a:ext uri="{FF2B5EF4-FFF2-40B4-BE49-F238E27FC236}">
                  <a16:creationId xmlns:a16="http://schemas.microsoft.com/office/drawing/2014/main" id="{66D09697-524C-4A22-9E7E-1B43B9D6D54E}"/>
                </a:ext>
              </a:extLst>
            </p:cNvPr>
            <p:cNvSpPr/>
            <p:nvPr/>
          </p:nvSpPr>
          <p:spPr bwMode="gray">
            <a:xfrm flipH="1" flipV="1">
              <a:off x="10643917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0" name="Right Triangle 979">
              <a:extLst>
                <a:ext uri="{FF2B5EF4-FFF2-40B4-BE49-F238E27FC236}">
                  <a16:creationId xmlns:a16="http://schemas.microsoft.com/office/drawing/2014/main" id="{56AAD721-F841-4471-8202-D4B79A7D6151}"/>
                </a:ext>
              </a:extLst>
            </p:cNvPr>
            <p:cNvSpPr/>
            <p:nvPr/>
          </p:nvSpPr>
          <p:spPr bwMode="gray">
            <a:xfrm rot="10800000" flipH="1" flipV="1">
              <a:off x="10643917" y="96601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1" name="Right Triangle 980">
              <a:extLst>
                <a:ext uri="{FF2B5EF4-FFF2-40B4-BE49-F238E27FC236}">
                  <a16:creationId xmlns:a16="http://schemas.microsoft.com/office/drawing/2014/main" id="{D85FDA18-BF84-4556-9985-FA7D64B01EAC}"/>
                </a:ext>
              </a:extLst>
            </p:cNvPr>
            <p:cNvSpPr/>
            <p:nvPr/>
          </p:nvSpPr>
          <p:spPr bwMode="gray">
            <a:xfrm flipH="1">
              <a:off x="10643917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2" name="Right Triangle 981">
              <a:extLst>
                <a:ext uri="{FF2B5EF4-FFF2-40B4-BE49-F238E27FC236}">
                  <a16:creationId xmlns:a16="http://schemas.microsoft.com/office/drawing/2014/main" id="{228DAC65-C3E0-4BAC-A173-2E7D5650FA0A}"/>
                </a:ext>
              </a:extLst>
            </p:cNvPr>
            <p:cNvSpPr/>
            <p:nvPr/>
          </p:nvSpPr>
          <p:spPr bwMode="gray">
            <a:xfrm rot="10800000" flipH="1">
              <a:off x="10643918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3" name="Right Triangle 982">
              <a:extLst>
                <a:ext uri="{FF2B5EF4-FFF2-40B4-BE49-F238E27FC236}">
                  <a16:creationId xmlns:a16="http://schemas.microsoft.com/office/drawing/2014/main" id="{95E6C0B2-3570-4F49-8FBF-92A17DE00E03}"/>
                </a:ext>
              </a:extLst>
            </p:cNvPr>
            <p:cNvSpPr/>
            <p:nvPr/>
          </p:nvSpPr>
          <p:spPr bwMode="gray">
            <a:xfrm flipH="1">
              <a:off x="10643917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4" name="Right Triangle 983">
              <a:extLst>
                <a:ext uri="{FF2B5EF4-FFF2-40B4-BE49-F238E27FC236}">
                  <a16:creationId xmlns:a16="http://schemas.microsoft.com/office/drawing/2014/main" id="{19A1FB0C-2F2C-4252-B0B6-16BE19DB0CDF}"/>
                </a:ext>
              </a:extLst>
            </p:cNvPr>
            <p:cNvSpPr/>
            <p:nvPr/>
          </p:nvSpPr>
          <p:spPr bwMode="gray">
            <a:xfrm rot="10800000" flipH="1">
              <a:off x="10643917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5" name="Right Triangle 984">
              <a:extLst>
                <a:ext uri="{FF2B5EF4-FFF2-40B4-BE49-F238E27FC236}">
                  <a16:creationId xmlns:a16="http://schemas.microsoft.com/office/drawing/2014/main" id="{DCEBFEEA-04F8-4EEF-8604-A70CA0778962}"/>
                </a:ext>
              </a:extLst>
            </p:cNvPr>
            <p:cNvSpPr/>
            <p:nvPr/>
          </p:nvSpPr>
          <p:spPr bwMode="gray">
            <a:xfrm>
              <a:off x="1161230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6" name="Right Triangle 985">
              <a:extLst>
                <a:ext uri="{FF2B5EF4-FFF2-40B4-BE49-F238E27FC236}">
                  <a16:creationId xmlns:a16="http://schemas.microsoft.com/office/drawing/2014/main" id="{854CB75C-6A98-4F37-BAC4-CE4650500E72}"/>
                </a:ext>
              </a:extLst>
            </p:cNvPr>
            <p:cNvSpPr/>
            <p:nvPr/>
          </p:nvSpPr>
          <p:spPr bwMode="gray">
            <a:xfrm rot="10800000">
              <a:off x="1161230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7" name="Right Triangle 986">
              <a:extLst>
                <a:ext uri="{FF2B5EF4-FFF2-40B4-BE49-F238E27FC236}">
                  <a16:creationId xmlns:a16="http://schemas.microsoft.com/office/drawing/2014/main" id="{4BC70ECB-B001-4D30-A83C-98E42DB88364}"/>
                </a:ext>
              </a:extLst>
            </p:cNvPr>
            <p:cNvSpPr/>
            <p:nvPr/>
          </p:nvSpPr>
          <p:spPr bwMode="gray">
            <a:xfrm flipV="1">
              <a:off x="11612306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8" name="Right Triangle 987">
              <a:extLst>
                <a:ext uri="{FF2B5EF4-FFF2-40B4-BE49-F238E27FC236}">
                  <a16:creationId xmlns:a16="http://schemas.microsoft.com/office/drawing/2014/main" id="{3CFAE869-6B6D-4CEC-8A38-055A716090E4}"/>
                </a:ext>
              </a:extLst>
            </p:cNvPr>
            <p:cNvSpPr/>
            <p:nvPr/>
          </p:nvSpPr>
          <p:spPr bwMode="gray">
            <a:xfrm>
              <a:off x="11612306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9" name="Right Triangle 988">
              <a:extLst>
                <a:ext uri="{FF2B5EF4-FFF2-40B4-BE49-F238E27FC236}">
                  <a16:creationId xmlns:a16="http://schemas.microsoft.com/office/drawing/2014/main" id="{FDE7EB38-DF88-4E7F-8017-8C3BEDD68EEC}"/>
                </a:ext>
              </a:extLst>
            </p:cNvPr>
            <p:cNvSpPr/>
            <p:nvPr/>
          </p:nvSpPr>
          <p:spPr bwMode="gray">
            <a:xfrm rot="10800000">
              <a:off x="11612307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0" name="Right Triangle 989">
              <a:extLst>
                <a:ext uri="{FF2B5EF4-FFF2-40B4-BE49-F238E27FC236}">
                  <a16:creationId xmlns:a16="http://schemas.microsoft.com/office/drawing/2014/main" id="{DB9AB48C-3D47-4295-B37B-2321DA84AFA3}"/>
                </a:ext>
              </a:extLst>
            </p:cNvPr>
            <p:cNvSpPr/>
            <p:nvPr/>
          </p:nvSpPr>
          <p:spPr bwMode="gray">
            <a:xfrm>
              <a:off x="1161230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1" name="Right Triangle 990">
              <a:extLst>
                <a:ext uri="{FF2B5EF4-FFF2-40B4-BE49-F238E27FC236}">
                  <a16:creationId xmlns:a16="http://schemas.microsoft.com/office/drawing/2014/main" id="{632572F9-5ADA-45AE-AB00-1857774A1A07}"/>
                </a:ext>
              </a:extLst>
            </p:cNvPr>
            <p:cNvSpPr/>
            <p:nvPr/>
          </p:nvSpPr>
          <p:spPr bwMode="gray">
            <a:xfrm rot="10800000">
              <a:off x="1161230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9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2" name="Right Triangle 991">
              <a:extLst>
                <a:ext uri="{FF2B5EF4-FFF2-40B4-BE49-F238E27FC236}">
                  <a16:creationId xmlns:a16="http://schemas.microsoft.com/office/drawing/2014/main" id="{1A450287-F0E3-48D1-8B24-15646B4D8737}"/>
                </a:ext>
              </a:extLst>
            </p:cNvPr>
            <p:cNvSpPr/>
            <p:nvPr/>
          </p:nvSpPr>
          <p:spPr bwMode="gray">
            <a:xfrm flipV="1">
              <a:off x="11612306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3" name="Right Triangle 992">
              <a:extLst>
                <a:ext uri="{FF2B5EF4-FFF2-40B4-BE49-F238E27FC236}">
                  <a16:creationId xmlns:a16="http://schemas.microsoft.com/office/drawing/2014/main" id="{6A7D5B58-3DE0-48FD-B95B-A27AE491EC5C}"/>
                </a:ext>
              </a:extLst>
            </p:cNvPr>
            <p:cNvSpPr/>
            <p:nvPr/>
          </p:nvSpPr>
          <p:spPr bwMode="gray">
            <a:xfrm rot="10800000">
              <a:off x="11612306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4" name="Right Triangle 993">
              <a:extLst>
                <a:ext uri="{FF2B5EF4-FFF2-40B4-BE49-F238E27FC236}">
                  <a16:creationId xmlns:a16="http://schemas.microsoft.com/office/drawing/2014/main" id="{04731549-8D32-42F6-9B7C-93718E57319D}"/>
                </a:ext>
              </a:extLst>
            </p:cNvPr>
            <p:cNvSpPr/>
            <p:nvPr/>
          </p:nvSpPr>
          <p:spPr bwMode="gray">
            <a:xfrm>
              <a:off x="11612306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5" name="Right Triangle 994">
              <a:extLst>
                <a:ext uri="{FF2B5EF4-FFF2-40B4-BE49-F238E27FC236}">
                  <a16:creationId xmlns:a16="http://schemas.microsoft.com/office/drawing/2014/main" id="{7A407715-9564-4782-8381-4EA68FBE8983}"/>
                </a:ext>
              </a:extLst>
            </p:cNvPr>
            <p:cNvSpPr/>
            <p:nvPr/>
          </p:nvSpPr>
          <p:spPr bwMode="gray">
            <a:xfrm rot="10800000">
              <a:off x="11612306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28" name="Right Triangle 1027">
              <a:extLst>
                <a:ext uri="{FF2B5EF4-FFF2-40B4-BE49-F238E27FC236}">
                  <a16:creationId xmlns:a16="http://schemas.microsoft.com/office/drawing/2014/main" id="{46CE6230-83D8-48D6-B2E2-B9E68C35055E}"/>
                </a:ext>
              </a:extLst>
            </p:cNvPr>
            <p:cNvSpPr/>
            <p:nvPr/>
          </p:nvSpPr>
          <p:spPr bwMode="gray">
            <a:xfrm>
              <a:off x="7741661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29" name="Right Triangle 1028">
              <a:extLst>
                <a:ext uri="{FF2B5EF4-FFF2-40B4-BE49-F238E27FC236}">
                  <a16:creationId xmlns:a16="http://schemas.microsoft.com/office/drawing/2014/main" id="{0FFBA15E-7D2A-45A7-A081-316C13577FF9}"/>
                </a:ext>
              </a:extLst>
            </p:cNvPr>
            <p:cNvSpPr/>
            <p:nvPr/>
          </p:nvSpPr>
          <p:spPr bwMode="gray">
            <a:xfrm flipV="1">
              <a:off x="7741661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0" name="Right Triangle 1029">
              <a:extLst>
                <a:ext uri="{FF2B5EF4-FFF2-40B4-BE49-F238E27FC236}">
                  <a16:creationId xmlns:a16="http://schemas.microsoft.com/office/drawing/2014/main" id="{8E87C66C-A3AE-4E2C-B884-14C6C56C4D5F}"/>
                </a:ext>
              </a:extLst>
            </p:cNvPr>
            <p:cNvSpPr/>
            <p:nvPr/>
          </p:nvSpPr>
          <p:spPr bwMode="gray">
            <a:xfrm rot="10800000" flipV="1">
              <a:off x="7741662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1" name="Right Triangle 1030">
              <a:extLst>
                <a:ext uri="{FF2B5EF4-FFF2-40B4-BE49-F238E27FC236}">
                  <a16:creationId xmlns:a16="http://schemas.microsoft.com/office/drawing/2014/main" id="{95C3C7ED-AC49-4188-8E43-AF0649D9F0F4}"/>
                </a:ext>
              </a:extLst>
            </p:cNvPr>
            <p:cNvSpPr/>
            <p:nvPr/>
          </p:nvSpPr>
          <p:spPr bwMode="gray">
            <a:xfrm>
              <a:off x="7741661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2" name="Right Triangle 1031">
              <a:extLst>
                <a:ext uri="{FF2B5EF4-FFF2-40B4-BE49-F238E27FC236}">
                  <a16:creationId xmlns:a16="http://schemas.microsoft.com/office/drawing/2014/main" id="{A80D8648-C3B5-4F17-81CD-233D5262ABD5}"/>
                </a:ext>
              </a:extLst>
            </p:cNvPr>
            <p:cNvSpPr/>
            <p:nvPr/>
          </p:nvSpPr>
          <p:spPr bwMode="gray">
            <a:xfrm rot="10800000">
              <a:off x="7741662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3" name="Right Triangle 1032">
              <a:extLst>
                <a:ext uri="{FF2B5EF4-FFF2-40B4-BE49-F238E27FC236}">
                  <a16:creationId xmlns:a16="http://schemas.microsoft.com/office/drawing/2014/main" id="{6F2413B6-FD74-4542-A7DC-165DEC8EFC78}"/>
                </a:ext>
              </a:extLst>
            </p:cNvPr>
            <p:cNvSpPr/>
            <p:nvPr/>
          </p:nvSpPr>
          <p:spPr bwMode="gray">
            <a:xfrm>
              <a:off x="7741661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4" name="Right Triangle 1033">
              <a:extLst>
                <a:ext uri="{FF2B5EF4-FFF2-40B4-BE49-F238E27FC236}">
                  <a16:creationId xmlns:a16="http://schemas.microsoft.com/office/drawing/2014/main" id="{1A28D101-AEE0-4114-AF07-2690E3903A82}"/>
                </a:ext>
              </a:extLst>
            </p:cNvPr>
            <p:cNvSpPr/>
            <p:nvPr/>
          </p:nvSpPr>
          <p:spPr bwMode="gray">
            <a:xfrm rot="10800000">
              <a:off x="7741662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5" name="Right Triangle 1034">
              <a:extLst>
                <a:ext uri="{FF2B5EF4-FFF2-40B4-BE49-F238E27FC236}">
                  <a16:creationId xmlns:a16="http://schemas.microsoft.com/office/drawing/2014/main" id="{624BA62E-854B-4817-8C75-93B3FDA53A16}"/>
                </a:ext>
              </a:extLst>
            </p:cNvPr>
            <p:cNvSpPr/>
            <p:nvPr/>
          </p:nvSpPr>
          <p:spPr bwMode="gray">
            <a:xfrm flipV="1">
              <a:off x="7741661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6" name="Right Triangle 1035">
              <a:extLst>
                <a:ext uri="{FF2B5EF4-FFF2-40B4-BE49-F238E27FC236}">
                  <a16:creationId xmlns:a16="http://schemas.microsoft.com/office/drawing/2014/main" id="{AC6F2C83-5C1D-42EE-B65B-0866E4238006}"/>
                </a:ext>
              </a:extLst>
            </p:cNvPr>
            <p:cNvSpPr/>
            <p:nvPr/>
          </p:nvSpPr>
          <p:spPr bwMode="gray">
            <a:xfrm rot="10800000" flipV="1">
              <a:off x="7741662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7" name="Right Triangle 1036">
              <a:extLst>
                <a:ext uri="{FF2B5EF4-FFF2-40B4-BE49-F238E27FC236}">
                  <a16:creationId xmlns:a16="http://schemas.microsoft.com/office/drawing/2014/main" id="{0936884B-1574-4332-BDB7-63BAD5456B6E}"/>
                </a:ext>
              </a:extLst>
            </p:cNvPr>
            <p:cNvSpPr/>
            <p:nvPr/>
          </p:nvSpPr>
          <p:spPr bwMode="gray">
            <a:xfrm>
              <a:off x="7741661" y="1928558"/>
              <a:ext cx="968389" cy="968389"/>
            </a:xfrm>
            <a:prstGeom prst="rtTriangle">
              <a:avLst/>
            </a:prstGeom>
            <a:solidFill>
              <a:sysClr val="window" lastClr="FFFFFF">
                <a:alpha val="7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8" name="Right Triangle 1037">
              <a:extLst>
                <a:ext uri="{FF2B5EF4-FFF2-40B4-BE49-F238E27FC236}">
                  <a16:creationId xmlns:a16="http://schemas.microsoft.com/office/drawing/2014/main" id="{585D25E4-EF4A-4746-89C1-AD937312FABA}"/>
                </a:ext>
              </a:extLst>
            </p:cNvPr>
            <p:cNvSpPr/>
            <p:nvPr/>
          </p:nvSpPr>
          <p:spPr bwMode="gray">
            <a:xfrm rot="10800000">
              <a:off x="7741662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39" name="Right Triangle 1038">
              <a:extLst>
                <a:ext uri="{FF2B5EF4-FFF2-40B4-BE49-F238E27FC236}">
                  <a16:creationId xmlns:a16="http://schemas.microsoft.com/office/drawing/2014/main" id="{34A9591E-1FFB-417A-ACB0-5C5F8D34D616}"/>
                </a:ext>
              </a:extLst>
            </p:cNvPr>
            <p:cNvSpPr/>
            <p:nvPr/>
          </p:nvSpPr>
          <p:spPr bwMode="gray">
            <a:xfrm>
              <a:off x="7741661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0" name="Right Triangle 1039">
              <a:extLst>
                <a:ext uri="{FF2B5EF4-FFF2-40B4-BE49-F238E27FC236}">
                  <a16:creationId xmlns:a16="http://schemas.microsoft.com/office/drawing/2014/main" id="{5AEB8996-4312-4B89-8EDC-CEE30294F1B1}"/>
                </a:ext>
              </a:extLst>
            </p:cNvPr>
            <p:cNvSpPr/>
            <p:nvPr/>
          </p:nvSpPr>
          <p:spPr bwMode="gray">
            <a:xfrm rot="10800000">
              <a:off x="7741662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1" name="Right Triangle 1040">
              <a:extLst>
                <a:ext uri="{FF2B5EF4-FFF2-40B4-BE49-F238E27FC236}">
                  <a16:creationId xmlns:a16="http://schemas.microsoft.com/office/drawing/2014/main" id="{01288028-371E-42F8-9205-E4A9D63D6456}"/>
                </a:ext>
              </a:extLst>
            </p:cNvPr>
            <p:cNvSpPr/>
            <p:nvPr/>
          </p:nvSpPr>
          <p:spPr bwMode="gray">
            <a:xfrm flipH="1">
              <a:off x="870701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2" name="Right Triangle 1041">
              <a:extLst>
                <a:ext uri="{FF2B5EF4-FFF2-40B4-BE49-F238E27FC236}">
                  <a16:creationId xmlns:a16="http://schemas.microsoft.com/office/drawing/2014/main" id="{FF6A65AD-8E3D-471E-8693-79F6BE9516A6}"/>
                </a:ext>
              </a:extLst>
            </p:cNvPr>
            <p:cNvSpPr/>
            <p:nvPr/>
          </p:nvSpPr>
          <p:spPr bwMode="gray">
            <a:xfrm rot="10800000" flipH="1">
              <a:off x="870701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3" name="Right Triangle 1042">
              <a:extLst>
                <a:ext uri="{FF2B5EF4-FFF2-40B4-BE49-F238E27FC236}">
                  <a16:creationId xmlns:a16="http://schemas.microsoft.com/office/drawing/2014/main" id="{2E0E005B-AB67-4D12-AD53-E11B5E35B06B}"/>
                </a:ext>
              </a:extLst>
            </p:cNvPr>
            <p:cNvSpPr/>
            <p:nvPr/>
          </p:nvSpPr>
          <p:spPr bwMode="gray">
            <a:xfrm flipH="1" flipV="1">
              <a:off x="8707016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4" name="Right Triangle 1043">
              <a:extLst>
                <a:ext uri="{FF2B5EF4-FFF2-40B4-BE49-F238E27FC236}">
                  <a16:creationId xmlns:a16="http://schemas.microsoft.com/office/drawing/2014/main" id="{13A26FEC-0768-4B7D-A7A2-6EF9BD21145C}"/>
                </a:ext>
              </a:extLst>
            </p:cNvPr>
            <p:cNvSpPr/>
            <p:nvPr/>
          </p:nvSpPr>
          <p:spPr bwMode="gray">
            <a:xfrm rot="10800000" flipH="1">
              <a:off x="8707016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5" name="Right Triangle 1044">
              <a:extLst>
                <a:ext uri="{FF2B5EF4-FFF2-40B4-BE49-F238E27FC236}">
                  <a16:creationId xmlns:a16="http://schemas.microsoft.com/office/drawing/2014/main" id="{2928A17D-64C4-408A-8198-1B3550868156}"/>
                </a:ext>
              </a:extLst>
            </p:cNvPr>
            <p:cNvSpPr/>
            <p:nvPr/>
          </p:nvSpPr>
          <p:spPr bwMode="gray">
            <a:xfrm flipH="1">
              <a:off x="870701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6" name="Right Triangle 1045">
              <a:extLst>
                <a:ext uri="{FF2B5EF4-FFF2-40B4-BE49-F238E27FC236}">
                  <a16:creationId xmlns:a16="http://schemas.microsoft.com/office/drawing/2014/main" id="{8C4EAA5B-CC02-43D2-A384-9D101EA33E89}"/>
                </a:ext>
              </a:extLst>
            </p:cNvPr>
            <p:cNvSpPr/>
            <p:nvPr/>
          </p:nvSpPr>
          <p:spPr bwMode="gray">
            <a:xfrm rot="10800000" flipH="1">
              <a:off x="870701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7" name="Right Triangle 1046">
              <a:extLst>
                <a:ext uri="{FF2B5EF4-FFF2-40B4-BE49-F238E27FC236}">
                  <a16:creationId xmlns:a16="http://schemas.microsoft.com/office/drawing/2014/main" id="{1A1F053D-7194-48D2-B7BF-804E00EB1201}"/>
                </a:ext>
              </a:extLst>
            </p:cNvPr>
            <p:cNvSpPr/>
            <p:nvPr/>
          </p:nvSpPr>
          <p:spPr bwMode="gray">
            <a:xfrm flipH="1" flipV="1">
              <a:off x="8707016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8" name="Right Triangle 1047">
              <a:extLst>
                <a:ext uri="{FF2B5EF4-FFF2-40B4-BE49-F238E27FC236}">
                  <a16:creationId xmlns:a16="http://schemas.microsoft.com/office/drawing/2014/main" id="{F3CA9B1C-067D-48A4-84A0-2915B6EB3FC0}"/>
                </a:ext>
              </a:extLst>
            </p:cNvPr>
            <p:cNvSpPr/>
            <p:nvPr/>
          </p:nvSpPr>
          <p:spPr bwMode="gray">
            <a:xfrm flipH="1">
              <a:off x="8707016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49" name="Right Triangle 1048">
              <a:extLst>
                <a:ext uri="{FF2B5EF4-FFF2-40B4-BE49-F238E27FC236}">
                  <a16:creationId xmlns:a16="http://schemas.microsoft.com/office/drawing/2014/main" id="{781BEE55-C9A9-4430-9F88-D1FDCACC840B}"/>
                </a:ext>
              </a:extLst>
            </p:cNvPr>
            <p:cNvSpPr/>
            <p:nvPr/>
          </p:nvSpPr>
          <p:spPr bwMode="gray">
            <a:xfrm rot="10800000" flipH="1">
              <a:off x="8707017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50" name="Right Triangle 1049">
              <a:extLst>
                <a:ext uri="{FF2B5EF4-FFF2-40B4-BE49-F238E27FC236}">
                  <a16:creationId xmlns:a16="http://schemas.microsoft.com/office/drawing/2014/main" id="{D2340110-87F2-4982-8605-9D19EE639E7F}"/>
                </a:ext>
              </a:extLst>
            </p:cNvPr>
            <p:cNvSpPr/>
            <p:nvPr/>
          </p:nvSpPr>
          <p:spPr bwMode="gray">
            <a:xfrm flipH="1">
              <a:off x="8707016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51" name="Right Triangle 1050">
              <a:extLst>
                <a:ext uri="{FF2B5EF4-FFF2-40B4-BE49-F238E27FC236}">
                  <a16:creationId xmlns:a16="http://schemas.microsoft.com/office/drawing/2014/main" id="{7CC017E7-8DAF-4941-95EA-E65B74C14CE3}"/>
                </a:ext>
              </a:extLst>
            </p:cNvPr>
            <p:cNvSpPr/>
            <p:nvPr/>
          </p:nvSpPr>
          <p:spPr bwMode="gray">
            <a:xfrm rot="10800000" flipH="1">
              <a:off x="8707016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1" name="Right Triangle 870">
              <a:extLst>
                <a:ext uri="{FF2B5EF4-FFF2-40B4-BE49-F238E27FC236}">
                  <a16:creationId xmlns:a16="http://schemas.microsoft.com/office/drawing/2014/main" id="{4D6A9B6D-0E20-41BF-9035-9B6C72D9474C}"/>
                </a:ext>
              </a:extLst>
            </p:cNvPr>
            <p:cNvSpPr/>
            <p:nvPr/>
          </p:nvSpPr>
          <p:spPr bwMode="gray">
            <a:xfrm>
              <a:off x="9675528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3" name="Right Triangle 872">
              <a:extLst>
                <a:ext uri="{FF2B5EF4-FFF2-40B4-BE49-F238E27FC236}">
                  <a16:creationId xmlns:a16="http://schemas.microsoft.com/office/drawing/2014/main" id="{1ABA6570-6C6E-4B1D-99BD-C9A1DA40DFDC}"/>
                </a:ext>
              </a:extLst>
            </p:cNvPr>
            <p:cNvSpPr/>
            <p:nvPr/>
          </p:nvSpPr>
          <p:spPr bwMode="gray">
            <a:xfrm rot="10800000">
              <a:off x="9675528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4" name="Right Triangle 873">
              <a:extLst>
                <a:ext uri="{FF2B5EF4-FFF2-40B4-BE49-F238E27FC236}">
                  <a16:creationId xmlns:a16="http://schemas.microsoft.com/office/drawing/2014/main" id="{4333192B-4E0A-4206-B8F7-C1C5B22A19CC}"/>
                </a:ext>
              </a:extLst>
            </p:cNvPr>
            <p:cNvSpPr/>
            <p:nvPr/>
          </p:nvSpPr>
          <p:spPr bwMode="gray">
            <a:xfrm flipV="1">
              <a:off x="9675528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5" name="Right Triangle 874">
              <a:extLst>
                <a:ext uri="{FF2B5EF4-FFF2-40B4-BE49-F238E27FC236}">
                  <a16:creationId xmlns:a16="http://schemas.microsoft.com/office/drawing/2014/main" id="{E42B8AE8-AC7A-4F0C-A511-F7D1BAC6827E}"/>
                </a:ext>
              </a:extLst>
            </p:cNvPr>
            <p:cNvSpPr/>
            <p:nvPr/>
          </p:nvSpPr>
          <p:spPr bwMode="gray">
            <a:xfrm>
              <a:off x="9675528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6" name="Right Triangle 875">
              <a:extLst>
                <a:ext uri="{FF2B5EF4-FFF2-40B4-BE49-F238E27FC236}">
                  <a16:creationId xmlns:a16="http://schemas.microsoft.com/office/drawing/2014/main" id="{B9882E8B-7939-497C-BB49-B63EB6664AE7}"/>
                </a:ext>
              </a:extLst>
            </p:cNvPr>
            <p:cNvSpPr/>
            <p:nvPr/>
          </p:nvSpPr>
          <p:spPr bwMode="gray">
            <a:xfrm rot="10800000">
              <a:off x="9675528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7" name="Right Triangle 876">
              <a:extLst>
                <a:ext uri="{FF2B5EF4-FFF2-40B4-BE49-F238E27FC236}">
                  <a16:creationId xmlns:a16="http://schemas.microsoft.com/office/drawing/2014/main" id="{91A7D503-1CF5-4414-8228-23A526A48DBA}"/>
                </a:ext>
              </a:extLst>
            </p:cNvPr>
            <p:cNvSpPr/>
            <p:nvPr/>
          </p:nvSpPr>
          <p:spPr bwMode="gray">
            <a:xfrm>
              <a:off x="9675528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8" name="Right Triangle 877">
              <a:extLst>
                <a:ext uri="{FF2B5EF4-FFF2-40B4-BE49-F238E27FC236}">
                  <a16:creationId xmlns:a16="http://schemas.microsoft.com/office/drawing/2014/main" id="{BBD4F02F-C4E6-460E-8ED5-9C43589A3334}"/>
                </a:ext>
              </a:extLst>
            </p:cNvPr>
            <p:cNvSpPr/>
            <p:nvPr/>
          </p:nvSpPr>
          <p:spPr bwMode="gray">
            <a:xfrm flipV="1">
              <a:off x="9675528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9" name="Right Triangle 878">
              <a:extLst>
                <a:ext uri="{FF2B5EF4-FFF2-40B4-BE49-F238E27FC236}">
                  <a16:creationId xmlns:a16="http://schemas.microsoft.com/office/drawing/2014/main" id="{C9B9D731-70D9-409B-BF44-0D76EF95D0B2}"/>
                </a:ext>
              </a:extLst>
            </p:cNvPr>
            <p:cNvSpPr/>
            <p:nvPr/>
          </p:nvSpPr>
          <p:spPr bwMode="gray">
            <a:xfrm>
              <a:off x="9675528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0" name="Right Triangle 879">
              <a:extLst>
                <a:ext uri="{FF2B5EF4-FFF2-40B4-BE49-F238E27FC236}">
                  <a16:creationId xmlns:a16="http://schemas.microsoft.com/office/drawing/2014/main" id="{D32E7934-0AE4-4338-B800-BDB7FD57EF50}"/>
                </a:ext>
              </a:extLst>
            </p:cNvPr>
            <p:cNvSpPr/>
            <p:nvPr/>
          </p:nvSpPr>
          <p:spPr bwMode="gray">
            <a:xfrm rot="10800000">
              <a:off x="9675529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1" name="Right Triangle 880">
              <a:extLst>
                <a:ext uri="{FF2B5EF4-FFF2-40B4-BE49-F238E27FC236}">
                  <a16:creationId xmlns:a16="http://schemas.microsoft.com/office/drawing/2014/main" id="{35C04BA3-A128-412F-98B2-57E9CDA29312}"/>
                </a:ext>
              </a:extLst>
            </p:cNvPr>
            <p:cNvSpPr/>
            <p:nvPr/>
          </p:nvSpPr>
          <p:spPr bwMode="gray">
            <a:xfrm>
              <a:off x="9675528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2" name="Right Triangle 881">
              <a:extLst>
                <a:ext uri="{FF2B5EF4-FFF2-40B4-BE49-F238E27FC236}">
                  <a16:creationId xmlns:a16="http://schemas.microsoft.com/office/drawing/2014/main" id="{287174AA-7731-4C40-8FD3-618197C823FF}"/>
                </a:ext>
              </a:extLst>
            </p:cNvPr>
            <p:cNvSpPr/>
            <p:nvPr/>
          </p:nvSpPr>
          <p:spPr bwMode="gray">
            <a:xfrm rot="10800000">
              <a:off x="9675528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3" name="Right Triangle 882">
              <a:extLst>
                <a:ext uri="{FF2B5EF4-FFF2-40B4-BE49-F238E27FC236}">
                  <a16:creationId xmlns:a16="http://schemas.microsoft.com/office/drawing/2014/main" id="{3E6E280A-90EA-430A-94D0-24DFA7EDB8A3}"/>
                </a:ext>
              </a:extLst>
            </p:cNvPr>
            <p:cNvSpPr/>
            <p:nvPr/>
          </p:nvSpPr>
          <p:spPr bwMode="gray">
            <a:xfrm flipH="1">
              <a:off x="10643917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4" name="Right Triangle 883">
              <a:extLst>
                <a:ext uri="{FF2B5EF4-FFF2-40B4-BE49-F238E27FC236}">
                  <a16:creationId xmlns:a16="http://schemas.microsoft.com/office/drawing/2014/main" id="{F05B590E-5324-4AB6-8581-2912D40B7B60}"/>
                </a:ext>
              </a:extLst>
            </p:cNvPr>
            <p:cNvSpPr/>
            <p:nvPr/>
          </p:nvSpPr>
          <p:spPr bwMode="gray">
            <a:xfrm flipH="1" flipV="1">
              <a:off x="10643917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5" name="Right Triangle 884">
              <a:extLst>
                <a:ext uri="{FF2B5EF4-FFF2-40B4-BE49-F238E27FC236}">
                  <a16:creationId xmlns:a16="http://schemas.microsoft.com/office/drawing/2014/main" id="{2551CCD0-0238-4C0B-9A43-DAC50B257FF2}"/>
                </a:ext>
              </a:extLst>
            </p:cNvPr>
            <p:cNvSpPr/>
            <p:nvPr/>
          </p:nvSpPr>
          <p:spPr bwMode="gray">
            <a:xfrm rot="10800000" flipH="1" flipV="1">
              <a:off x="10643918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6" name="Right Triangle 885">
              <a:extLst>
                <a:ext uri="{FF2B5EF4-FFF2-40B4-BE49-F238E27FC236}">
                  <a16:creationId xmlns:a16="http://schemas.microsoft.com/office/drawing/2014/main" id="{5613A871-C056-4B4D-9FF2-E496109012F1}"/>
                </a:ext>
              </a:extLst>
            </p:cNvPr>
            <p:cNvSpPr/>
            <p:nvPr/>
          </p:nvSpPr>
          <p:spPr bwMode="gray">
            <a:xfrm flipH="1">
              <a:off x="10643917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7" name="Right Triangle 886">
              <a:extLst>
                <a:ext uri="{FF2B5EF4-FFF2-40B4-BE49-F238E27FC236}">
                  <a16:creationId xmlns:a16="http://schemas.microsoft.com/office/drawing/2014/main" id="{000EB0B9-69F7-426F-AC0D-204E34320B07}"/>
                </a:ext>
              </a:extLst>
            </p:cNvPr>
            <p:cNvSpPr/>
            <p:nvPr/>
          </p:nvSpPr>
          <p:spPr bwMode="gray">
            <a:xfrm flipH="1">
              <a:off x="10643917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8" name="Right Triangle 887">
              <a:extLst>
                <a:ext uri="{FF2B5EF4-FFF2-40B4-BE49-F238E27FC236}">
                  <a16:creationId xmlns:a16="http://schemas.microsoft.com/office/drawing/2014/main" id="{1207D236-3F30-4238-9BD2-5A3F0A2CDE3C}"/>
                </a:ext>
              </a:extLst>
            </p:cNvPr>
            <p:cNvSpPr/>
            <p:nvPr/>
          </p:nvSpPr>
          <p:spPr bwMode="gray">
            <a:xfrm rot="10800000" flipH="1">
              <a:off x="10643918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9" name="Right Triangle 888">
              <a:extLst>
                <a:ext uri="{FF2B5EF4-FFF2-40B4-BE49-F238E27FC236}">
                  <a16:creationId xmlns:a16="http://schemas.microsoft.com/office/drawing/2014/main" id="{5B045B01-30ED-40AB-BB65-35F50AFFB055}"/>
                </a:ext>
              </a:extLst>
            </p:cNvPr>
            <p:cNvSpPr/>
            <p:nvPr/>
          </p:nvSpPr>
          <p:spPr bwMode="gray">
            <a:xfrm flipH="1" flipV="1">
              <a:off x="10643917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0" name="Right Triangle 889">
              <a:extLst>
                <a:ext uri="{FF2B5EF4-FFF2-40B4-BE49-F238E27FC236}">
                  <a16:creationId xmlns:a16="http://schemas.microsoft.com/office/drawing/2014/main" id="{FA787FB4-2F07-43A6-98AB-1C81FE53E96B}"/>
                </a:ext>
              </a:extLst>
            </p:cNvPr>
            <p:cNvSpPr/>
            <p:nvPr/>
          </p:nvSpPr>
          <p:spPr bwMode="gray">
            <a:xfrm rot="10800000" flipH="1" flipV="1">
              <a:off x="10643917" y="96601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1" name="Right Triangle 890">
              <a:extLst>
                <a:ext uri="{FF2B5EF4-FFF2-40B4-BE49-F238E27FC236}">
                  <a16:creationId xmlns:a16="http://schemas.microsoft.com/office/drawing/2014/main" id="{543E76E4-47ED-40E3-A88D-B15AB3EE64C4}"/>
                </a:ext>
              </a:extLst>
            </p:cNvPr>
            <p:cNvSpPr/>
            <p:nvPr/>
          </p:nvSpPr>
          <p:spPr bwMode="gray">
            <a:xfrm flipH="1">
              <a:off x="10643917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2" name="Right Triangle 891">
              <a:extLst>
                <a:ext uri="{FF2B5EF4-FFF2-40B4-BE49-F238E27FC236}">
                  <a16:creationId xmlns:a16="http://schemas.microsoft.com/office/drawing/2014/main" id="{144D858C-20C4-41B5-91A3-61C6B4F47E73}"/>
                </a:ext>
              </a:extLst>
            </p:cNvPr>
            <p:cNvSpPr/>
            <p:nvPr/>
          </p:nvSpPr>
          <p:spPr bwMode="gray">
            <a:xfrm rot="10800000" flipH="1">
              <a:off x="10643918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3" name="Right Triangle 892">
              <a:extLst>
                <a:ext uri="{FF2B5EF4-FFF2-40B4-BE49-F238E27FC236}">
                  <a16:creationId xmlns:a16="http://schemas.microsoft.com/office/drawing/2014/main" id="{5AA79935-A32A-445C-B88E-AE964A1E1C2D}"/>
                </a:ext>
              </a:extLst>
            </p:cNvPr>
            <p:cNvSpPr/>
            <p:nvPr/>
          </p:nvSpPr>
          <p:spPr bwMode="gray">
            <a:xfrm flipH="1">
              <a:off x="10643917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4" name="Right Triangle 893">
              <a:extLst>
                <a:ext uri="{FF2B5EF4-FFF2-40B4-BE49-F238E27FC236}">
                  <a16:creationId xmlns:a16="http://schemas.microsoft.com/office/drawing/2014/main" id="{3583DA40-9CA6-47C4-86CD-65EE3357C690}"/>
                </a:ext>
              </a:extLst>
            </p:cNvPr>
            <p:cNvSpPr/>
            <p:nvPr/>
          </p:nvSpPr>
          <p:spPr bwMode="gray">
            <a:xfrm rot="10800000" flipH="1">
              <a:off x="10643917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5" name="Right Triangle 894">
              <a:extLst>
                <a:ext uri="{FF2B5EF4-FFF2-40B4-BE49-F238E27FC236}">
                  <a16:creationId xmlns:a16="http://schemas.microsoft.com/office/drawing/2014/main" id="{54D155C7-12CF-46E5-B984-7205070B1059}"/>
                </a:ext>
              </a:extLst>
            </p:cNvPr>
            <p:cNvSpPr/>
            <p:nvPr/>
          </p:nvSpPr>
          <p:spPr bwMode="gray">
            <a:xfrm>
              <a:off x="1161230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6" name="Right Triangle 895">
              <a:extLst>
                <a:ext uri="{FF2B5EF4-FFF2-40B4-BE49-F238E27FC236}">
                  <a16:creationId xmlns:a16="http://schemas.microsoft.com/office/drawing/2014/main" id="{31C009C7-63B7-4585-A6E3-841F76B2FC81}"/>
                </a:ext>
              </a:extLst>
            </p:cNvPr>
            <p:cNvSpPr/>
            <p:nvPr/>
          </p:nvSpPr>
          <p:spPr bwMode="gray">
            <a:xfrm rot="10800000">
              <a:off x="11612306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7" name="Right Triangle 896">
              <a:extLst>
                <a:ext uri="{FF2B5EF4-FFF2-40B4-BE49-F238E27FC236}">
                  <a16:creationId xmlns:a16="http://schemas.microsoft.com/office/drawing/2014/main" id="{82C1F205-C15D-47E7-BCE1-8A6B270A63D3}"/>
                </a:ext>
              </a:extLst>
            </p:cNvPr>
            <p:cNvSpPr/>
            <p:nvPr/>
          </p:nvSpPr>
          <p:spPr bwMode="gray">
            <a:xfrm flipV="1">
              <a:off x="11612306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8" name="Right Triangle 897">
              <a:extLst>
                <a:ext uri="{FF2B5EF4-FFF2-40B4-BE49-F238E27FC236}">
                  <a16:creationId xmlns:a16="http://schemas.microsoft.com/office/drawing/2014/main" id="{2F1A46BC-D625-4CD8-98CB-D588C2AA2E70}"/>
                </a:ext>
              </a:extLst>
            </p:cNvPr>
            <p:cNvSpPr/>
            <p:nvPr/>
          </p:nvSpPr>
          <p:spPr bwMode="gray">
            <a:xfrm>
              <a:off x="11612306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9" name="Right Triangle 898">
              <a:extLst>
                <a:ext uri="{FF2B5EF4-FFF2-40B4-BE49-F238E27FC236}">
                  <a16:creationId xmlns:a16="http://schemas.microsoft.com/office/drawing/2014/main" id="{0299DA08-AB2E-4A3A-8CBA-7A25B3151A4B}"/>
                </a:ext>
              </a:extLst>
            </p:cNvPr>
            <p:cNvSpPr/>
            <p:nvPr/>
          </p:nvSpPr>
          <p:spPr bwMode="gray">
            <a:xfrm rot="10800000">
              <a:off x="11612307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0" name="Right Triangle 899">
              <a:extLst>
                <a:ext uri="{FF2B5EF4-FFF2-40B4-BE49-F238E27FC236}">
                  <a16:creationId xmlns:a16="http://schemas.microsoft.com/office/drawing/2014/main" id="{E14A7086-E7AA-48CF-86B6-5AD063F6A43E}"/>
                </a:ext>
              </a:extLst>
            </p:cNvPr>
            <p:cNvSpPr/>
            <p:nvPr/>
          </p:nvSpPr>
          <p:spPr bwMode="gray">
            <a:xfrm>
              <a:off x="1161230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1" name="Right Triangle 900">
              <a:extLst>
                <a:ext uri="{FF2B5EF4-FFF2-40B4-BE49-F238E27FC236}">
                  <a16:creationId xmlns:a16="http://schemas.microsoft.com/office/drawing/2014/main" id="{6BCB5A9D-57B0-43F2-9F76-16884CD34521}"/>
                </a:ext>
              </a:extLst>
            </p:cNvPr>
            <p:cNvSpPr/>
            <p:nvPr/>
          </p:nvSpPr>
          <p:spPr bwMode="gray">
            <a:xfrm rot="10800000">
              <a:off x="11612306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9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2" name="Right Triangle 901">
              <a:extLst>
                <a:ext uri="{FF2B5EF4-FFF2-40B4-BE49-F238E27FC236}">
                  <a16:creationId xmlns:a16="http://schemas.microsoft.com/office/drawing/2014/main" id="{3A92171C-0ACF-4266-811F-B37D31B89EA2}"/>
                </a:ext>
              </a:extLst>
            </p:cNvPr>
            <p:cNvSpPr/>
            <p:nvPr/>
          </p:nvSpPr>
          <p:spPr bwMode="gray">
            <a:xfrm flipV="1">
              <a:off x="11612306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3" name="Right Triangle 902">
              <a:extLst>
                <a:ext uri="{FF2B5EF4-FFF2-40B4-BE49-F238E27FC236}">
                  <a16:creationId xmlns:a16="http://schemas.microsoft.com/office/drawing/2014/main" id="{855B45EA-15A3-427D-BDB1-3722402B7854}"/>
                </a:ext>
              </a:extLst>
            </p:cNvPr>
            <p:cNvSpPr/>
            <p:nvPr/>
          </p:nvSpPr>
          <p:spPr bwMode="gray">
            <a:xfrm rot="10800000">
              <a:off x="11612306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4" name="Right Triangle 903">
              <a:extLst>
                <a:ext uri="{FF2B5EF4-FFF2-40B4-BE49-F238E27FC236}">
                  <a16:creationId xmlns:a16="http://schemas.microsoft.com/office/drawing/2014/main" id="{41C97DD6-A6B6-4EE0-840F-7CB3FB16F75E}"/>
                </a:ext>
              </a:extLst>
            </p:cNvPr>
            <p:cNvSpPr/>
            <p:nvPr/>
          </p:nvSpPr>
          <p:spPr bwMode="gray">
            <a:xfrm>
              <a:off x="11612306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5" name="Right Triangle 904">
              <a:extLst>
                <a:ext uri="{FF2B5EF4-FFF2-40B4-BE49-F238E27FC236}">
                  <a16:creationId xmlns:a16="http://schemas.microsoft.com/office/drawing/2014/main" id="{2E37E8AF-F23F-41E0-A506-B7109D38F44A}"/>
                </a:ext>
              </a:extLst>
            </p:cNvPr>
            <p:cNvSpPr/>
            <p:nvPr/>
          </p:nvSpPr>
          <p:spPr bwMode="gray">
            <a:xfrm rot="10800000">
              <a:off x="11612306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8" name="Right Triangle 937">
              <a:extLst>
                <a:ext uri="{FF2B5EF4-FFF2-40B4-BE49-F238E27FC236}">
                  <a16:creationId xmlns:a16="http://schemas.microsoft.com/office/drawing/2014/main" id="{661A6F7D-497A-45A0-AAB5-CA69E168E89D}"/>
                </a:ext>
              </a:extLst>
            </p:cNvPr>
            <p:cNvSpPr/>
            <p:nvPr/>
          </p:nvSpPr>
          <p:spPr bwMode="gray">
            <a:xfrm>
              <a:off x="7741661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9" name="Right Triangle 938">
              <a:extLst>
                <a:ext uri="{FF2B5EF4-FFF2-40B4-BE49-F238E27FC236}">
                  <a16:creationId xmlns:a16="http://schemas.microsoft.com/office/drawing/2014/main" id="{1208FBEB-4F27-4A10-AC4A-886F152A0AA5}"/>
                </a:ext>
              </a:extLst>
            </p:cNvPr>
            <p:cNvSpPr/>
            <p:nvPr/>
          </p:nvSpPr>
          <p:spPr bwMode="gray">
            <a:xfrm flipV="1">
              <a:off x="7741661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0" name="Right Triangle 939">
              <a:extLst>
                <a:ext uri="{FF2B5EF4-FFF2-40B4-BE49-F238E27FC236}">
                  <a16:creationId xmlns:a16="http://schemas.microsoft.com/office/drawing/2014/main" id="{68053E3E-377D-4165-819A-9C8490C99232}"/>
                </a:ext>
              </a:extLst>
            </p:cNvPr>
            <p:cNvSpPr/>
            <p:nvPr/>
          </p:nvSpPr>
          <p:spPr bwMode="gray">
            <a:xfrm rot="10800000" flipV="1">
              <a:off x="7741662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1" name="Right Triangle 940">
              <a:extLst>
                <a:ext uri="{FF2B5EF4-FFF2-40B4-BE49-F238E27FC236}">
                  <a16:creationId xmlns:a16="http://schemas.microsoft.com/office/drawing/2014/main" id="{61281180-7E8A-4FA3-AC18-249EC09B9EBF}"/>
                </a:ext>
              </a:extLst>
            </p:cNvPr>
            <p:cNvSpPr/>
            <p:nvPr/>
          </p:nvSpPr>
          <p:spPr bwMode="gray">
            <a:xfrm>
              <a:off x="7741661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2" name="Right Triangle 941">
              <a:extLst>
                <a:ext uri="{FF2B5EF4-FFF2-40B4-BE49-F238E27FC236}">
                  <a16:creationId xmlns:a16="http://schemas.microsoft.com/office/drawing/2014/main" id="{963946B7-B073-40D8-8FD6-15CE3C5C2368}"/>
                </a:ext>
              </a:extLst>
            </p:cNvPr>
            <p:cNvSpPr/>
            <p:nvPr/>
          </p:nvSpPr>
          <p:spPr bwMode="gray">
            <a:xfrm rot="10800000">
              <a:off x="7741662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3" name="Right Triangle 942">
              <a:extLst>
                <a:ext uri="{FF2B5EF4-FFF2-40B4-BE49-F238E27FC236}">
                  <a16:creationId xmlns:a16="http://schemas.microsoft.com/office/drawing/2014/main" id="{CCB831A2-76E0-4B82-BDF6-9A1C7B5AF6E6}"/>
                </a:ext>
              </a:extLst>
            </p:cNvPr>
            <p:cNvSpPr/>
            <p:nvPr/>
          </p:nvSpPr>
          <p:spPr bwMode="gray">
            <a:xfrm>
              <a:off x="7741661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4" name="Right Triangle 943">
              <a:extLst>
                <a:ext uri="{FF2B5EF4-FFF2-40B4-BE49-F238E27FC236}">
                  <a16:creationId xmlns:a16="http://schemas.microsoft.com/office/drawing/2014/main" id="{1073CF71-79C4-4CE9-ACA1-EA40E6286714}"/>
                </a:ext>
              </a:extLst>
            </p:cNvPr>
            <p:cNvSpPr/>
            <p:nvPr/>
          </p:nvSpPr>
          <p:spPr bwMode="gray">
            <a:xfrm rot="10800000">
              <a:off x="7741662" y="290109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5" name="Right Triangle 944">
              <a:extLst>
                <a:ext uri="{FF2B5EF4-FFF2-40B4-BE49-F238E27FC236}">
                  <a16:creationId xmlns:a16="http://schemas.microsoft.com/office/drawing/2014/main" id="{901C8CDE-0DA7-46AA-B275-8353C141FD0E}"/>
                </a:ext>
              </a:extLst>
            </p:cNvPr>
            <p:cNvSpPr/>
            <p:nvPr/>
          </p:nvSpPr>
          <p:spPr bwMode="gray">
            <a:xfrm flipV="1">
              <a:off x="7741661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6" name="Right Triangle 945">
              <a:extLst>
                <a:ext uri="{FF2B5EF4-FFF2-40B4-BE49-F238E27FC236}">
                  <a16:creationId xmlns:a16="http://schemas.microsoft.com/office/drawing/2014/main" id="{0031402C-679F-41D4-86DC-9712D050C62B}"/>
                </a:ext>
              </a:extLst>
            </p:cNvPr>
            <p:cNvSpPr/>
            <p:nvPr/>
          </p:nvSpPr>
          <p:spPr bwMode="gray">
            <a:xfrm rot="10800000" flipV="1">
              <a:off x="7741662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7" name="Right Triangle 946">
              <a:extLst>
                <a:ext uri="{FF2B5EF4-FFF2-40B4-BE49-F238E27FC236}">
                  <a16:creationId xmlns:a16="http://schemas.microsoft.com/office/drawing/2014/main" id="{5070C2C4-1682-4D4F-AFA5-A52163C5966E}"/>
                </a:ext>
              </a:extLst>
            </p:cNvPr>
            <p:cNvSpPr/>
            <p:nvPr/>
          </p:nvSpPr>
          <p:spPr bwMode="gray">
            <a:xfrm>
              <a:off x="7741661" y="1928558"/>
              <a:ext cx="968389" cy="968389"/>
            </a:xfrm>
            <a:prstGeom prst="rtTriangle">
              <a:avLst/>
            </a:prstGeom>
            <a:solidFill>
              <a:sysClr val="window" lastClr="FFFFFF">
                <a:alpha val="7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8" name="Right Triangle 947">
              <a:extLst>
                <a:ext uri="{FF2B5EF4-FFF2-40B4-BE49-F238E27FC236}">
                  <a16:creationId xmlns:a16="http://schemas.microsoft.com/office/drawing/2014/main" id="{7B226566-0D38-4F95-A204-544F17F7035F}"/>
                </a:ext>
              </a:extLst>
            </p:cNvPr>
            <p:cNvSpPr/>
            <p:nvPr/>
          </p:nvSpPr>
          <p:spPr bwMode="gray">
            <a:xfrm rot="10800000">
              <a:off x="7741662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9" name="Right Triangle 948">
              <a:extLst>
                <a:ext uri="{FF2B5EF4-FFF2-40B4-BE49-F238E27FC236}">
                  <a16:creationId xmlns:a16="http://schemas.microsoft.com/office/drawing/2014/main" id="{4A4FAF25-BE83-495A-A7F3-76734F8DB544}"/>
                </a:ext>
              </a:extLst>
            </p:cNvPr>
            <p:cNvSpPr/>
            <p:nvPr/>
          </p:nvSpPr>
          <p:spPr bwMode="gray">
            <a:xfrm>
              <a:off x="7741661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0" name="Right Triangle 949">
              <a:extLst>
                <a:ext uri="{FF2B5EF4-FFF2-40B4-BE49-F238E27FC236}">
                  <a16:creationId xmlns:a16="http://schemas.microsoft.com/office/drawing/2014/main" id="{294F316F-D198-4A9D-BD2E-1A48F62E7B9A}"/>
                </a:ext>
              </a:extLst>
            </p:cNvPr>
            <p:cNvSpPr/>
            <p:nvPr/>
          </p:nvSpPr>
          <p:spPr bwMode="gray">
            <a:xfrm rot="10800000">
              <a:off x="7741661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1" name="Right Triangle 950">
              <a:extLst>
                <a:ext uri="{FF2B5EF4-FFF2-40B4-BE49-F238E27FC236}">
                  <a16:creationId xmlns:a16="http://schemas.microsoft.com/office/drawing/2014/main" id="{F0496BC9-79BB-4F0C-AD42-6CB2E6894B61}"/>
                </a:ext>
              </a:extLst>
            </p:cNvPr>
            <p:cNvSpPr/>
            <p:nvPr/>
          </p:nvSpPr>
          <p:spPr bwMode="gray">
            <a:xfrm flipH="1">
              <a:off x="8707015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2" name="Right Triangle 951">
              <a:extLst>
                <a:ext uri="{FF2B5EF4-FFF2-40B4-BE49-F238E27FC236}">
                  <a16:creationId xmlns:a16="http://schemas.microsoft.com/office/drawing/2014/main" id="{F321D19A-8D12-41AC-8A5C-05FE4CB26EE6}"/>
                </a:ext>
              </a:extLst>
            </p:cNvPr>
            <p:cNvSpPr/>
            <p:nvPr/>
          </p:nvSpPr>
          <p:spPr bwMode="gray">
            <a:xfrm rot="10800000" flipH="1">
              <a:off x="8707015" y="580564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3" name="Right Triangle 952">
              <a:extLst>
                <a:ext uri="{FF2B5EF4-FFF2-40B4-BE49-F238E27FC236}">
                  <a16:creationId xmlns:a16="http://schemas.microsoft.com/office/drawing/2014/main" id="{6A891121-ADC4-49DD-9A09-5F506249A681}"/>
                </a:ext>
              </a:extLst>
            </p:cNvPr>
            <p:cNvSpPr/>
            <p:nvPr/>
          </p:nvSpPr>
          <p:spPr bwMode="gray">
            <a:xfrm flipH="1" flipV="1">
              <a:off x="8707015" y="386691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4" name="Right Triangle 953">
              <a:extLst>
                <a:ext uri="{FF2B5EF4-FFF2-40B4-BE49-F238E27FC236}">
                  <a16:creationId xmlns:a16="http://schemas.microsoft.com/office/drawing/2014/main" id="{12E2AC39-045E-4F96-8546-9C5AE9D5C235}"/>
                </a:ext>
              </a:extLst>
            </p:cNvPr>
            <p:cNvSpPr/>
            <p:nvPr/>
          </p:nvSpPr>
          <p:spPr bwMode="gray">
            <a:xfrm rot="10800000" flipH="1">
              <a:off x="8707015" y="483618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5" name="Right Triangle 954">
              <a:extLst>
                <a:ext uri="{FF2B5EF4-FFF2-40B4-BE49-F238E27FC236}">
                  <a16:creationId xmlns:a16="http://schemas.microsoft.com/office/drawing/2014/main" id="{345A6B27-F9EB-48B7-8657-96CE6C23246A}"/>
                </a:ext>
              </a:extLst>
            </p:cNvPr>
            <p:cNvSpPr/>
            <p:nvPr/>
          </p:nvSpPr>
          <p:spPr bwMode="gray">
            <a:xfrm flipH="1">
              <a:off x="8707015" y="2901091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6" name="Right Triangle 955">
              <a:extLst>
                <a:ext uri="{FF2B5EF4-FFF2-40B4-BE49-F238E27FC236}">
                  <a16:creationId xmlns:a16="http://schemas.microsoft.com/office/drawing/2014/main" id="{70CC867F-A8D9-4F89-86C2-1B8F4C0351A6}"/>
                </a:ext>
              </a:extLst>
            </p:cNvPr>
            <p:cNvSpPr/>
            <p:nvPr/>
          </p:nvSpPr>
          <p:spPr bwMode="gray">
            <a:xfrm rot="10800000" flipH="1">
              <a:off x="8707015" y="2901091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7" name="Right Triangle 956">
              <a:extLst>
                <a:ext uri="{FF2B5EF4-FFF2-40B4-BE49-F238E27FC236}">
                  <a16:creationId xmlns:a16="http://schemas.microsoft.com/office/drawing/2014/main" id="{F92F6F7C-4307-4536-9BAC-811F1E06BFC6}"/>
                </a:ext>
              </a:extLst>
            </p:cNvPr>
            <p:cNvSpPr/>
            <p:nvPr/>
          </p:nvSpPr>
          <p:spPr bwMode="gray">
            <a:xfrm flipH="1" flipV="1">
              <a:off x="8707015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8" name="Right Triangle 957">
              <a:extLst>
                <a:ext uri="{FF2B5EF4-FFF2-40B4-BE49-F238E27FC236}">
                  <a16:creationId xmlns:a16="http://schemas.microsoft.com/office/drawing/2014/main" id="{375EF2B2-4DED-4A1E-A262-9D415648FD5E}"/>
                </a:ext>
              </a:extLst>
            </p:cNvPr>
            <p:cNvSpPr/>
            <p:nvPr/>
          </p:nvSpPr>
          <p:spPr bwMode="gray">
            <a:xfrm flipH="1">
              <a:off x="8707015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9" name="Right Triangle 958">
              <a:extLst>
                <a:ext uri="{FF2B5EF4-FFF2-40B4-BE49-F238E27FC236}">
                  <a16:creationId xmlns:a16="http://schemas.microsoft.com/office/drawing/2014/main" id="{2EBB13D5-C982-4FDA-88A9-041D13A7A831}"/>
                </a:ext>
              </a:extLst>
            </p:cNvPr>
            <p:cNvSpPr/>
            <p:nvPr/>
          </p:nvSpPr>
          <p:spPr bwMode="gray">
            <a:xfrm rot="10800000" flipH="1">
              <a:off x="8707016" y="1935283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0" name="Right Triangle 959">
              <a:extLst>
                <a:ext uri="{FF2B5EF4-FFF2-40B4-BE49-F238E27FC236}">
                  <a16:creationId xmlns:a16="http://schemas.microsoft.com/office/drawing/2014/main" id="{C778D36C-433D-4B6B-A7B9-4BBB46C07E53}"/>
                </a:ext>
              </a:extLst>
            </p:cNvPr>
            <p:cNvSpPr/>
            <p:nvPr/>
          </p:nvSpPr>
          <p:spPr bwMode="gray">
            <a:xfrm flipH="1">
              <a:off x="8707015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1" name="Right Triangle 960">
              <a:extLst>
                <a:ext uri="{FF2B5EF4-FFF2-40B4-BE49-F238E27FC236}">
                  <a16:creationId xmlns:a16="http://schemas.microsoft.com/office/drawing/2014/main" id="{66DCF699-8FD3-4097-A1BC-B42ADAFB3AD2}"/>
                </a:ext>
              </a:extLst>
            </p:cNvPr>
            <p:cNvSpPr/>
            <p:nvPr/>
          </p:nvSpPr>
          <p:spPr bwMode="gray">
            <a:xfrm rot="10800000" flipH="1">
              <a:off x="8707013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863" name="Text Placeholder 862">
            <a:extLst>
              <a:ext uri="{FF2B5EF4-FFF2-40B4-BE49-F238E27FC236}">
                <a16:creationId xmlns:a16="http://schemas.microsoft.com/office/drawing/2014/main" id="{806A8161-3A3C-4E8C-98F0-AD01607CDAE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49308" y="2628218"/>
            <a:ext cx="5246137" cy="1500187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600"/>
            </a:lvl1pPr>
            <a:lvl2pPr marL="273050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72" name="Rectangle 871">
            <a:extLst>
              <a:ext uri="{FF2B5EF4-FFF2-40B4-BE49-F238E27FC236}">
                <a16:creationId xmlns:a16="http://schemas.microsoft.com/office/drawing/2014/main" id="{6471A44C-0240-4D32-A1C2-B7E58448C427}"/>
              </a:ext>
            </a:extLst>
          </p:cNvPr>
          <p:cNvSpPr/>
          <p:nvPr/>
        </p:nvSpPr>
        <p:spPr bwMode="ltGray">
          <a:xfrm>
            <a:off x="-3443" y="6766560"/>
            <a:ext cx="12195441" cy="91440"/>
          </a:xfrm>
          <a:prstGeom prst="rect">
            <a:avLst/>
          </a:prstGeom>
          <a:gradFill flip="none" rotWithShape="1">
            <a:gsLst>
              <a:gs pos="0">
                <a:srgbClr val="AADB1E"/>
              </a:gs>
              <a:gs pos="25000">
                <a:schemeClr val="accent4"/>
              </a:gs>
              <a:gs pos="100000">
                <a:srgbClr val="003D79"/>
              </a:gs>
              <a:gs pos="50000">
                <a:schemeClr val="accent1"/>
              </a:gs>
              <a:gs pos="75000">
                <a:schemeClr val="accent3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  <p:grpSp>
        <p:nvGrpSpPr>
          <p:cNvPr id="762" name="Group 761">
            <a:extLst>
              <a:ext uri="{FF2B5EF4-FFF2-40B4-BE49-F238E27FC236}">
                <a16:creationId xmlns:a16="http://schemas.microsoft.com/office/drawing/2014/main" id="{96955FCA-8B11-477A-9A36-9D9A120498A2}"/>
              </a:ext>
            </a:extLst>
          </p:cNvPr>
          <p:cNvGrpSpPr/>
          <p:nvPr/>
        </p:nvGrpSpPr>
        <p:grpSpPr bwMode="black">
          <a:xfrm>
            <a:off x="618040" y="6446045"/>
            <a:ext cx="1100079" cy="173355"/>
            <a:chOff x="-84138" y="5622925"/>
            <a:chExt cx="4330701" cy="682626"/>
          </a:xfrm>
        </p:grpSpPr>
        <p:sp>
          <p:nvSpPr>
            <p:cNvPr id="774" name="Freeform 6">
              <a:extLst>
                <a:ext uri="{FF2B5EF4-FFF2-40B4-BE49-F238E27FC236}">
                  <a16:creationId xmlns:a16="http://schemas.microsoft.com/office/drawing/2014/main" id="{8119CEA8-7D2F-44AF-B42B-37924DB314A6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787" name="Freeform 7">
              <a:extLst>
                <a:ext uri="{FF2B5EF4-FFF2-40B4-BE49-F238E27FC236}">
                  <a16:creationId xmlns:a16="http://schemas.microsoft.com/office/drawing/2014/main" id="{7E1EA447-080C-4747-801E-7AA70CCE913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799" name="Freeform 8">
              <a:extLst>
                <a:ext uri="{FF2B5EF4-FFF2-40B4-BE49-F238E27FC236}">
                  <a16:creationId xmlns:a16="http://schemas.microsoft.com/office/drawing/2014/main" id="{6372DABB-C0FD-41BC-B584-95F58B0393A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812" name="Freeform 9">
              <a:extLst>
                <a:ext uri="{FF2B5EF4-FFF2-40B4-BE49-F238E27FC236}">
                  <a16:creationId xmlns:a16="http://schemas.microsoft.com/office/drawing/2014/main" id="{69673DE0-9CCC-4A63-9A87-940CB560CBC3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834" name="Freeform 10">
              <a:extLst>
                <a:ext uri="{FF2B5EF4-FFF2-40B4-BE49-F238E27FC236}">
                  <a16:creationId xmlns:a16="http://schemas.microsoft.com/office/drawing/2014/main" id="{ABAD9A92-A0D4-4804-B114-CF0DA29A147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835" name="Freeform 11">
              <a:extLst>
                <a:ext uri="{FF2B5EF4-FFF2-40B4-BE49-F238E27FC236}">
                  <a16:creationId xmlns:a16="http://schemas.microsoft.com/office/drawing/2014/main" id="{160007E3-2542-4058-B0C8-17A6B1D181E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861" name="Freeform 12">
              <a:extLst>
                <a:ext uri="{FF2B5EF4-FFF2-40B4-BE49-F238E27FC236}">
                  <a16:creationId xmlns:a16="http://schemas.microsoft.com/office/drawing/2014/main" id="{2E0E48D4-9CE0-44CE-8AFF-A45861D2B751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</p:grpSp>
      <p:sp>
        <p:nvSpPr>
          <p:cNvPr id="865" name="Freeform: Shape 864">
            <a:extLst>
              <a:ext uri="{FF2B5EF4-FFF2-40B4-BE49-F238E27FC236}">
                <a16:creationId xmlns:a16="http://schemas.microsoft.com/office/drawing/2014/main" id="{E144BB42-8F82-4E98-A22B-CA1ED09613AE}"/>
              </a:ext>
            </a:extLst>
          </p:cNvPr>
          <p:cNvSpPr/>
          <p:nvPr/>
        </p:nvSpPr>
        <p:spPr bwMode="black">
          <a:xfrm>
            <a:off x="565612" y="2687487"/>
            <a:ext cx="45731" cy="1412491"/>
          </a:xfrm>
          <a:custGeom>
            <a:avLst/>
            <a:gdLst>
              <a:gd name="connsiteX0" fmla="*/ 0 w 45719"/>
              <a:gd name="connsiteY0" fmla="*/ 0 h 1412491"/>
              <a:gd name="connsiteX1" fmla="*/ 45719 w 45719"/>
              <a:gd name="connsiteY1" fmla="*/ 0 h 1412491"/>
              <a:gd name="connsiteX2" fmla="*/ 45719 w 45719"/>
              <a:gd name="connsiteY2" fmla="*/ 45129 h 1412491"/>
              <a:gd name="connsiteX3" fmla="*/ 45719 w 45719"/>
              <a:gd name="connsiteY3" fmla="*/ 1367362 h 1412491"/>
              <a:gd name="connsiteX4" fmla="*/ 45719 w 45719"/>
              <a:gd name="connsiteY4" fmla="*/ 1412491 h 1412491"/>
              <a:gd name="connsiteX5" fmla="*/ 0 w 45719"/>
              <a:gd name="connsiteY5" fmla="*/ 1412491 h 1412491"/>
              <a:gd name="connsiteX6" fmla="*/ 0 w 45719"/>
              <a:gd name="connsiteY6" fmla="*/ 1367362 h 1412491"/>
              <a:gd name="connsiteX7" fmla="*/ 0 w 45719"/>
              <a:gd name="connsiteY7" fmla="*/ 45129 h 1412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19" h="1412491">
                <a:moveTo>
                  <a:pt x="0" y="0"/>
                </a:moveTo>
                <a:lnTo>
                  <a:pt x="45719" y="0"/>
                </a:lnTo>
                <a:lnTo>
                  <a:pt x="45719" y="45129"/>
                </a:lnTo>
                <a:lnTo>
                  <a:pt x="45719" y="1367362"/>
                </a:lnTo>
                <a:lnTo>
                  <a:pt x="45719" y="1412491"/>
                </a:lnTo>
                <a:lnTo>
                  <a:pt x="0" y="1412491"/>
                </a:lnTo>
                <a:lnTo>
                  <a:pt x="0" y="1367362"/>
                </a:lnTo>
                <a:lnTo>
                  <a:pt x="0" y="45129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1512" name="TextBox 1511">
            <a:extLst>
              <a:ext uri="{FF2B5EF4-FFF2-40B4-BE49-F238E27FC236}">
                <a16:creationId xmlns:a16="http://schemas.microsoft.com/office/drawing/2014/main" id="{6C78DB77-69E8-414D-8309-EC1F1C8DCA8E}"/>
              </a:ext>
            </a:extLst>
          </p:cNvPr>
          <p:cNvSpPr txBox="1"/>
          <p:nvPr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  <p:sp>
        <p:nvSpPr>
          <p:cNvPr id="490" name="TextBox 489">
            <a:extLst>
              <a:ext uri="{FF2B5EF4-FFF2-40B4-BE49-F238E27FC236}">
                <a16:creationId xmlns:a16="http://schemas.microsoft.com/office/drawing/2014/main" id="{1B677D45-7C55-46A3-A34D-865BE90DF49B}"/>
              </a:ext>
            </a:extLst>
          </p:cNvPr>
          <p:cNvSpPr txBox="1"/>
          <p:nvPr/>
        </p:nvSpPr>
        <p:spPr>
          <a:xfrm>
            <a:off x="2118108" y="6510279"/>
            <a:ext cx="1966005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 dirty="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682850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with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0" name="Rectangle 1869">
            <a:extLst>
              <a:ext uri="{FF2B5EF4-FFF2-40B4-BE49-F238E27FC236}">
                <a16:creationId xmlns:a16="http://schemas.microsoft.com/office/drawing/2014/main" id="{87DEB98F-E255-48BD-B862-71B16A67E330}"/>
              </a:ext>
            </a:extLst>
          </p:cNvPr>
          <p:cNvSpPr/>
          <p:nvPr/>
        </p:nvSpPr>
        <p:spPr bwMode="gray">
          <a:xfrm>
            <a:off x="4853815" y="1935282"/>
            <a:ext cx="7344536" cy="2915194"/>
          </a:xfrm>
          <a:prstGeom prst="rect">
            <a:avLst/>
          </a:prstGeom>
          <a:solidFill>
            <a:srgbClr val="C6C6C8">
              <a:lumMod val="40000"/>
              <a:lumOff val="6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055" name="Right Triangle 2054">
            <a:extLst>
              <a:ext uri="{FF2B5EF4-FFF2-40B4-BE49-F238E27FC236}">
                <a16:creationId xmlns:a16="http://schemas.microsoft.com/office/drawing/2014/main" id="{379E0254-E381-429F-8267-B64F0A64F01F}"/>
              </a:ext>
            </a:extLst>
          </p:cNvPr>
          <p:cNvSpPr/>
          <p:nvPr/>
        </p:nvSpPr>
        <p:spPr bwMode="gray">
          <a:xfrm flipV="1">
            <a:off x="6793806" y="3879274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58" name="Right Triangle 2057">
            <a:extLst>
              <a:ext uri="{FF2B5EF4-FFF2-40B4-BE49-F238E27FC236}">
                <a16:creationId xmlns:a16="http://schemas.microsoft.com/office/drawing/2014/main" id="{AD309C60-3500-4EAB-B8B3-1C4389B46638}"/>
              </a:ext>
            </a:extLst>
          </p:cNvPr>
          <p:cNvSpPr/>
          <p:nvPr/>
        </p:nvSpPr>
        <p:spPr bwMode="gray">
          <a:xfrm>
            <a:off x="6793806" y="2910642"/>
            <a:ext cx="971456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60" name="Right Triangle 2059">
            <a:extLst>
              <a:ext uri="{FF2B5EF4-FFF2-40B4-BE49-F238E27FC236}">
                <a16:creationId xmlns:a16="http://schemas.microsoft.com/office/drawing/2014/main" id="{7ACD5E60-6BFC-44BF-BA51-40FFE210E52F}"/>
              </a:ext>
            </a:extLst>
          </p:cNvPr>
          <p:cNvSpPr/>
          <p:nvPr/>
        </p:nvSpPr>
        <p:spPr bwMode="gray">
          <a:xfrm>
            <a:off x="6793806" y="1942028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61" name="Right Triangle 2060">
            <a:extLst>
              <a:ext uri="{FF2B5EF4-FFF2-40B4-BE49-F238E27FC236}">
                <a16:creationId xmlns:a16="http://schemas.microsoft.com/office/drawing/2014/main" id="{87AD33CD-A516-4CDC-9B49-367540BB4D09}"/>
              </a:ext>
            </a:extLst>
          </p:cNvPr>
          <p:cNvSpPr/>
          <p:nvPr/>
        </p:nvSpPr>
        <p:spPr bwMode="gray">
          <a:xfrm rot="10800000">
            <a:off x="6793807" y="1942028"/>
            <a:ext cx="971456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65" name="Right Triangle 2064">
            <a:extLst>
              <a:ext uri="{FF2B5EF4-FFF2-40B4-BE49-F238E27FC236}">
                <a16:creationId xmlns:a16="http://schemas.microsoft.com/office/drawing/2014/main" id="{BE366215-CBD9-4FFA-958F-037586C2A656}"/>
              </a:ext>
            </a:extLst>
          </p:cNvPr>
          <p:cNvSpPr/>
          <p:nvPr/>
        </p:nvSpPr>
        <p:spPr bwMode="gray">
          <a:xfrm flipH="1" flipV="1">
            <a:off x="7765262" y="3879274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66" name="Right Triangle 2065">
            <a:extLst>
              <a:ext uri="{FF2B5EF4-FFF2-40B4-BE49-F238E27FC236}">
                <a16:creationId xmlns:a16="http://schemas.microsoft.com/office/drawing/2014/main" id="{FB174B08-BC06-4B26-9CEA-0753BD7F16BC}"/>
              </a:ext>
            </a:extLst>
          </p:cNvPr>
          <p:cNvSpPr/>
          <p:nvPr/>
        </p:nvSpPr>
        <p:spPr bwMode="gray">
          <a:xfrm rot="10800000" flipH="1" flipV="1">
            <a:off x="7765263" y="3879274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68" name="Right Triangle 2067">
            <a:extLst>
              <a:ext uri="{FF2B5EF4-FFF2-40B4-BE49-F238E27FC236}">
                <a16:creationId xmlns:a16="http://schemas.microsoft.com/office/drawing/2014/main" id="{944C2EE1-0039-4616-8875-146C1099B1C1}"/>
              </a:ext>
            </a:extLst>
          </p:cNvPr>
          <p:cNvSpPr/>
          <p:nvPr/>
        </p:nvSpPr>
        <p:spPr bwMode="gray">
          <a:xfrm flipH="1">
            <a:off x="7765262" y="2910642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69" name="Right Triangle 2068">
            <a:extLst>
              <a:ext uri="{FF2B5EF4-FFF2-40B4-BE49-F238E27FC236}">
                <a16:creationId xmlns:a16="http://schemas.microsoft.com/office/drawing/2014/main" id="{4098F3BA-CE41-4565-8758-F3AE196BADDE}"/>
              </a:ext>
            </a:extLst>
          </p:cNvPr>
          <p:cNvSpPr/>
          <p:nvPr/>
        </p:nvSpPr>
        <p:spPr bwMode="gray">
          <a:xfrm rot="10800000" flipH="1">
            <a:off x="7765263" y="2910642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72" name="Right Triangle 2071">
            <a:extLst>
              <a:ext uri="{FF2B5EF4-FFF2-40B4-BE49-F238E27FC236}">
                <a16:creationId xmlns:a16="http://schemas.microsoft.com/office/drawing/2014/main" id="{32F085F8-0118-4937-B11E-6F4E2A7658C7}"/>
              </a:ext>
            </a:extLst>
          </p:cNvPr>
          <p:cNvSpPr/>
          <p:nvPr/>
        </p:nvSpPr>
        <p:spPr bwMode="gray">
          <a:xfrm flipH="1">
            <a:off x="7765262" y="1942028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73" name="Right Triangle 2072">
            <a:extLst>
              <a:ext uri="{FF2B5EF4-FFF2-40B4-BE49-F238E27FC236}">
                <a16:creationId xmlns:a16="http://schemas.microsoft.com/office/drawing/2014/main" id="{848EF73E-43B5-44C6-95BE-899BF79BB098}"/>
              </a:ext>
            </a:extLst>
          </p:cNvPr>
          <p:cNvSpPr/>
          <p:nvPr/>
        </p:nvSpPr>
        <p:spPr bwMode="gray">
          <a:xfrm rot="10800000" flipH="1">
            <a:off x="7765263" y="1942028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78" name="Right Triangle 2077">
            <a:extLst>
              <a:ext uri="{FF2B5EF4-FFF2-40B4-BE49-F238E27FC236}">
                <a16:creationId xmlns:a16="http://schemas.microsoft.com/office/drawing/2014/main" id="{07396E72-EB7E-4000-861F-EDA14C0C2066}"/>
              </a:ext>
            </a:extLst>
          </p:cNvPr>
          <p:cNvSpPr/>
          <p:nvPr/>
        </p:nvSpPr>
        <p:spPr bwMode="gray">
          <a:xfrm flipV="1">
            <a:off x="8736717" y="3879274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81" name="Right Triangle 2080">
            <a:extLst>
              <a:ext uri="{FF2B5EF4-FFF2-40B4-BE49-F238E27FC236}">
                <a16:creationId xmlns:a16="http://schemas.microsoft.com/office/drawing/2014/main" id="{C3D017B0-3559-48A4-9DD2-0EB889542971}"/>
              </a:ext>
            </a:extLst>
          </p:cNvPr>
          <p:cNvSpPr/>
          <p:nvPr/>
        </p:nvSpPr>
        <p:spPr bwMode="gray">
          <a:xfrm>
            <a:off x="8736717" y="2910642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82" name="Right Triangle 2081">
            <a:extLst>
              <a:ext uri="{FF2B5EF4-FFF2-40B4-BE49-F238E27FC236}">
                <a16:creationId xmlns:a16="http://schemas.microsoft.com/office/drawing/2014/main" id="{B4356A04-9CA5-48A5-AF9D-6AC4D3F0DE08}"/>
              </a:ext>
            </a:extLst>
          </p:cNvPr>
          <p:cNvSpPr/>
          <p:nvPr/>
        </p:nvSpPr>
        <p:spPr bwMode="gray">
          <a:xfrm rot="10800000">
            <a:off x="8736717" y="2910642"/>
            <a:ext cx="971456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84" name="Right Triangle 2083">
            <a:extLst>
              <a:ext uri="{FF2B5EF4-FFF2-40B4-BE49-F238E27FC236}">
                <a16:creationId xmlns:a16="http://schemas.microsoft.com/office/drawing/2014/main" id="{1A9FF7BD-AFB6-435E-9C1D-5BFCE9944C30}"/>
              </a:ext>
            </a:extLst>
          </p:cNvPr>
          <p:cNvSpPr/>
          <p:nvPr/>
        </p:nvSpPr>
        <p:spPr bwMode="gray">
          <a:xfrm rot="10800000">
            <a:off x="8736717" y="1942028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89" name="Right Triangle 2088">
            <a:extLst>
              <a:ext uri="{FF2B5EF4-FFF2-40B4-BE49-F238E27FC236}">
                <a16:creationId xmlns:a16="http://schemas.microsoft.com/office/drawing/2014/main" id="{F2A2CBDB-A4CB-4BD2-B67D-738215683181}"/>
              </a:ext>
            </a:extLst>
          </p:cNvPr>
          <p:cNvSpPr/>
          <p:nvPr/>
        </p:nvSpPr>
        <p:spPr bwMode="gray">
          <a:xfrm flipH="1" flipV="1">
            <a:off x="9708174" y="3879274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90" name="Right Triangle 2089">
            <a:extLst>
              <a:ext uri="{FF2B5EF4-FFF2-40B4-BE49-F238E27FC236}">
                <a16:creationId xmlns:a16="http://schemas.microsoft.com/office/drawing/2014/main" id="{A1231640-872A-4ABD-9F11-4871F6543FA4}"/>
              </a:ext>
            </a:extLst>
          </p:cNvPr>
          <p:cNvSpPr/>
          <p:nvPr/>
        </p:nvSpPr>
        <p:spPr bwMode="gray">
          <a:xfrm rot="10800000" flipH="1" flipV="1">
            <a:off x="9708175" y="3879274"/>
            <a:ext cx="971456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92" name="Right Triangle 2091">
            <a:extLst>
              <a:ext uri="{FF2B5EF4-FFF2-40B4-BE49-F238E27FC236}">
                <a16:creationId xmlns:a16="http://schemas.microsoft.com/office/drawing/2014/main" id="{99CDE09D-1B6D-48DF-84B6-98CD026A4CB4}"/>
              </a:ext>
            </a:extLst>
          </p:cNvPr>
          <p:cNvSpPr/>
          <p:nvPr/>
        </p:nvSpPr>
        <p:spPr bwMode="gray">
          <a:xfrm rot="10800000" flipH="1">
            <a:off x="9708174" y="2910642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95" name="Right Triangle 2094">
            <a:extLst>
              <a:ext uri="{FF2B5EF4-FFF2-40B4-BE49-F238E27FC236}">
                <a16:creationId xmlns:a16="http://schemas.microsoft.com/office/drawing/2014/main" id="{8595FC23-C645-4A52-8E9C-CACA695E7C6F}"/>
              </a:ext>
            </a:extLst>
          </p:cNvPr>
          <p:cNvSpPr/>
          <p:nvPr/>
        </p:nvSpPr>
        <p:spPr bwMode="gray">
          <a:xfrm flipH="1">
            <a:off x="9708174" y="1942028"/>
            <a:ext cx="971456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96" name="Right Triangle 2095">
            <a:extLst>
              <a:ext uri="{FF2B5EF4-FFF2-40B4-BE49-F238E27FC236}">
                <a16:creationId xmlns:a16="http://schemas.microsoft.com/office/drawing/2014/main" id="{1AF14238-22B4-4861-9498-73032B272254}"/>
              </a:ext>
            </a:extLst>
          </p:cNvPr>
          <p:cNvSpPr/>
          <p:nvPr/>
        </p:nvSpPr>
        <p:spPr bwMode="gray">
          <a:xfrm rot="10800000" flipH="1">
            <a:off x="9708174" y="1942028"/>
            <a:ext cx="971456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9" name="Freeform: Shape 248">
            <a:extLst>
              <a:ext uri="{FF2B5EF4-FFF2-40B4-BE49-F238E27FC236}">
                <a16:creationId xmlns:a16="http://schemas.microsoft.com/office/drawing/2014/main" id="{EE1B428B-301B-4A2F-8A22-D4FE335540BF}"/>
              </a:ext>
            </a:extLst>
          </p:cNvPr>
          <p:cNvSpPr/>
          <p:nvPr/>
        </p:nvSpPr>
        <p:spPr bwMode="gray">
          <a:xfrm rot="10800000" flipH="1">
            <a:off x="11651990" y="1942028"/>
            <a:ext cx="546361" cy="971203"/>
          </a:xfrm>
          <a:custGeom>
            <a:avLst/>
            <a:gdLst>
              <a:gd name="connsiteX0" fmla="*/ 0 w 546219"/>
              <a:gd name="connsiteY0" fmla="*/ 971203 h 971203"/>
              <a:gd name="connsiteX1" fmla="*/ 546219 w 546219"/>
              <a:gd name="connsiteY1" fmla="*/ 971203 h 971203"/>
              <a:gd name="connsiteX2" fmla="*/ 546219 w 546219"/>
              <a:gd name="connsiteY2" fmla="*/ 546219 h 971203"/>
              <a:gd name="connsiteX3" fmla="*/ 0 w 546219"/>
              <a:gd name="connsiteY3" fmla="*/ 0 h 971203"/>
              <a:gd name="connsiteX4" fmla="*/ 0 w 546219"/>
              <a:gd name="connsiteY4" fmla="*/ 971203 h 971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6219" h="971203">
                <a:moveTo>
                  <a:pt x="0" y="971203"/>
                </a:moveTo>
                <a:lnTo>
                  <a:pt x="546219" y="971203"/>
                </a:lnTo>
                <a:lnTo>
                  <a:pt x="546219" y="546219"/>
                </a:lnTo>
                <a:lnTo>
                  <a:pt x="0" y="0"/>
                </a:lnTo>
                <a:lnTo>
                  <a:pt x="0" y="971203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09" name="Right Triangle 2108">
            <a:extLst>
              <a:ext uri="{FF2B5EF4-FFF2-40B4-BE49-F238E27FC236}">
                <a16:creationId xmlns:a16="http://schemas.microsoft.com/office/drawing/2014/main" id="{99FEE84E-53E9-4776-8DE8-E47A361BA88B}"/>
              </a:ext>
            </a:extLst>
          </p:cNvPr>
          <p:cNvSpPr/>
          <p:nvPr/>
        </p:nvSpPr>
        <p:spPr bwMode="gray">
          <a:xfrm flipV="1">
            <a:off x="10680083" y="3879274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10" name="Right Triangle 2109">
            <a:extLst>
              <a:ext uri="{FF2B5EF4-FFF2-40B4-BE49-F238E27FC236}">
                <a16:creationId xmlns:a16="http://schemas.microsoft.com/office/drawing/2014/main" id="{1DD578AB-11F7-4ABA-B139-6DF21FC62151}"/>
              </a:ext>
            </a:extLst>
          </p:cNvPr>
          <p:cNvSpPr/>
          <p:nvPr/>
        </p:nvSpPr>
        <p:spPr bwMode="gray">
          <a:xfrm rot="10800000" flipV="1">
            <a:off x="10680084" y="3879274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12" name="Right Triangle 2111">
            <a:extLst>
              <a:ext uri="{FF2B5EF4-FFF2-40B4-BE49-F238E27FC236}">
                <a16:creationId xmlns:a16="http://schemas.microsoft.com/office/drawing/2014/main" id="{09E3E88F-E68D-4B1C-AF76-ECD20957E3DB}"/>
              </a:ext>
            </a:extLst>
          </p:cNvPr>
          <p:cNvSpPr/>
          <p:nvPr/>
        </p:nvSpPr>
        <p:spPr bwMode="gray">
          <a:xfrm>
            <a:off x="10680083" y="2910642"/>
            <a:ext cx="971456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13" name="Right Triangle 2112">
            <a:extLst>
              <a:ext uri="{FF2B5EF4-FFF2-40B4-BE49-F238E27FC236}">
                <a16:creationId xmlns:a16="http://schemas.microsoft.com/office/drawing/2014/main" id="{A05A2D39-0F65-4AD7-BF84-3E6E866C0695}"/>
              </a:ext>
            </a:extLst>
          </p:cNvPr>
          <p:cNvSpPr/>
          <p:nvPr/>
        </p:nvSpPr>
        <p:spPr bwMode="gray">
          <a:xfrm rot="10800000">
            <a:off x="10680083" y="2910642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15" name="Right Triangle 2114">
            <a:extLst>
              <a:ext uri="{FF2B5EF4-FFF2-40B4-BE49-F238E27FC236}">
                <a16:creationId xmlns:a16="http://schemas.microsoft.com/office/drawing/2014/main" id="{206C9E9A-6F8E-4552-B214-16CC537D131E}"/>
              </a:ext>
            </a:extLst>
          </p:cNvPr>
          <p:cNvSpPr/>
          <p:nvPr/>
        </p:nvSpPr>
        <p:spPr bwMode="gray">
          <a:xfrm>
            <a:off x="10680083" y="1942028"/>
            <a:ext cx="971456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16" name="Right Triangle 2115">
            <a:extLst>
              <a:ext uri="{FF2B5EF4-FFF2-40B4-BE49-F238E27FC236}">
                <a16:creationId xmlns:a16="http://schemas.microsoft.com/office/drawing/2014/main" id="{3ED89541-3BF3-4D8C-846E-F10D7392E273}"/>
              </a:ext>
            </a:extLst>
          </p:cNvPr>
          <p:cNvSpPr/>
          <p:nvPr/>
        </p:nvSpPr>
        <p:spPr bwMode="gray">
          <a:xfrm rot="10800000">
            <a:off x="10680083" y="1942028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20" name="Right Triangle 2119">
            <a:extLst>
              <a:ext uri="{FF2B5EF4-FFF2-40B4-BE49-F238E27FC236}">
                <a16:creationId xmlns:a16="http://schemas.microsoft.com/office/drawing/2014/main" id="{EC942C2D-CFE2-4BDD-927E-F517B4D27E93}"/>
              </a:ext>
            </a:extLst>
          </p:cNvPr>
          <p:cNvSpPr/>
          <p:nvPr/>
        </p:nvSpPr>
        <p:spPr bwMode="gray">
          <a:xfrm flipV="1">
            <a:off x="4853815" y="3879274"/>
            <a:ext cx="971456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21" name="Right Triangle 2120">
            <a:extLst>
              <a:ext uri="{FF2B5EF4-FFF2-40B4-BE49-F238E27FC236}">
                <a16:creationId xmlns:a16="http://schemas.microsoft.com/office/drawing/2014/main" id="{1F991860-0BB4-4313-9CBA-C8252877F9C6}"/>
              </a:ext>
            </a:extLst>
          </p:cNvPr>
          <p:cNvSpPr/>
          <p:nvPr/>
        </p:nvSpPr>
        <p:spPr bwMode="gray">
          <a:xfrm rot="10800000" flipV="1">
            <a:off x="4853816" y="3879274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24" name="Right Triangle 2123">
            <a:extLst>
              <a:ext uri="{FF2B5EF4-FFF2-40B4-BE49-F238E27FC236}">
                <a16:creationId xmlns:a16="http://schemas.microsoft.com/office/drawing/2014/main" id="{0F3E436A-1DF3-4950-A2C2-2692D87C4F8B}"/>
              </a:ext>
            </a:extLst>
          </p:cNvPr>
          <p:cNvSpPr/>
          <p:nvPr/>
        </p:nvSpPr>
        <p:spPr bwMode="gray">
          <a:xfrm>
            <a:off x="4853815" y="2910642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25" name="Right Triangle 2124">
            <a:extLst>
              <a:ext uri="{FF2B5EF4-FFF2-40B4-BE49-F238E27FC236}">
                <a16:creationId xmlns:a16="http://schemas.microsoft.com/office/drawing/2014/main" id="{611BB566-F2B3-4379-869F-A61ED31FEFD5}"/>
              </a:ext>
            </a:extLst>
          </p:cNvPr>
          <p:cNvSpPr/>
          <p:nvPr/>
        </p:nvSpPr>
        <p:spPr bwMode="gray">
          <a:xfrm rot="10800000">
            <a:off x="4853816" y="2910642"/>
            <a:ext cx="971456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28" name="Right Triangle 2127">
            <a:extLst>
              <a:ext uri="{FF2B5EF4-FFF2-40B4-BE49-F238E27FC236}">
                <a16:creationId xmlns:a16="http://schemas.microsoft.com/office/drawing/2014/main" id="{6102792F-5D69-4653-A8F2-82B19B151911}"/>
              </a:ext>
            </a:extLst>
          </p:cNvPr>
          <p:cNvSpPr/>
          <p:nvPr/>
        </p:nvSpPr>
        <p:spPr bwMode="gray">
          <a:xfrm>
            <a:off x="4853815" y="1935283"/>
            <a:ext cx="971456" cy="971203"/>
          </a:xfrm>
          <a:prstGeom prst="rtTriangle">
            <a:avLst/>
          </a:prstGeom>
          <a:solidFill>
            <a:sysClr val="window" lastClr="FFFFFF">
              <a:alpha val="7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29" name="Right Triangle 2128">
            <a:extLst>
              <a:ext uri="{FF2B5EF4-FFF2-40B4-BE49-F238E27FC236}">
                <a16:creationId xmlns:a16="http://schemas.microsoft.com/office/drawing/2014/main" id="{1D3B37AD-78C0-404C-94A9-CC96B8C52AB4}"/>
              </a:ext>
            </a:extLst>
          </p:cNvPr>
          <p:cNvSpPr/>
          <p:nvPr/>
        </p:nvSpPr>
        <p:spPr bwMode="gray">
          <a:xfrm rot="10800000">
            <a:off x="4853816" y="1942028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34" name="Right Triangle 2133">
            <a:extLst>
              <a:ext uri="{FF2B5EF4-FFF2-40B4-BE49-F238E27FC236}">
                <a16:creationId xmlns:a16="http://schemas.microsoft.com/office/drawing/2014/main" id="{7894F63B-153D-4349-9487-44A5034AA3C7}"/>
              </a:ext>
            </a:extLst>
          </p:cNvPr>
          <p:cNvSpPr/>
          <p:nvPr/>
        </p:nvSpPr>
        <p:spPr bwMode="gray">
          <a:xfrm flipH="1" flipV="1">
            <a:off x="5822227" y="3879274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36" name="Right Triangle 2135">
            <a:extLst>
              <a:ext uri="{FF2B5EF4-FFF2-40B4-BE49-F238E27FC236}">
                <a16:creationId xmlns:a16="http://schemas.microsoft.com/office/drawing/2014/main" id="{C0C9C94B-1222-4B72-8550-3B115A246D93}"/>
              </a:ext>
            </a:extLst>
          </p:cNvPr>
          <p:cNvSpPr/>
          <p:nvPr/>
        </p:nvSpPr>
        <p:spPr bwMode="gray">
          <a:xfrm flipH="1">
            <a:off x="5822227" y="2910642"/>
            <a:ext cx="971456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37" name="Right Triangle 2136">
            <a:extLst>
              <a:ext uri="{FF2B5EF4-FFF2-40B4-BE49-F238E27FC236}">
                <a16:creationId xmlns:a16="http://schemas.microsoft.com/office/drawing/2014/main" id="{206C50EE-8148-4C3D-A8F9-5FE072F38CC6}"/>
              </a:ext>
            </a:extLst>
          </p:cNvPr>
          <p:cNvSpPr/>
          <p:nvPr/>
        </p:nvSpPr>
        <p:spPr bwMode="gray">
          <a:xfrm rot="10800000" flipH="1">
            <a:off x="5822227" y="2910642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39" name="Right Triangle 2138">
            <a:extLst>
              <a:ext uri="{FF2B5EF4-FFF2-40B4-BE49-F238E27FC236}">
                <a16:creationId xmlns:a16="http://schemas.microsoft.com/office/drawing/2014/main" id="{17143BF8-78D1-4C18-A5C4-BAF1917944D5}"/>
              </a:ext>
            </a:extLst>
          </p:cNvPr>
          <p:cNvSpPr/>
          <p:nvPr/>
        </p:nvSpPr>
        <p:spPr bwMode="gray">
          <a:xfrm flipH="1">
            <a:off x="5822227" y="1942028"/>
            <a:ext cx="971456" cy="971203"/>
          </a:xfrm>
          <a:prstGeom prst="rtTriangle">
            <a:avLst/>
          </a:prstGeom>
          <a:solidFill>
            <a:sysClr val="window" lastClr="FFFFFF">
              <a:alpha val="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40" name="Right Triangle 2139">
            <a:extLst>
              <a:ext uri="{FF2B5EF4-FFF2-40B4-BE49-F238E27FC236}">
                <a16:creationId xmlns:a16="http://schemas.microsoft.com/office/drawing/2014/main" id="{5A60B454-6649-4014-8D1D-2691C3312F7C}"/>
              </a:ext>
            </a:extLst>
          </p:cNvPr>
          <p:cNvSpPr/>
          <p:nvPr/>
        </p:nvSpPr>
        <p:spPr bwMode="gray">
          <a:xfrm rot="10800000" flipH="1">
            <a:off x="5822228" y="1942028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65" name="Right Triangle 1964">
            <a:extLst>
              <a:ext uri="{FF2B5EF4-FFF2-40B4-BE49-F238E27FC236}">
                <a16:creationId xmlns:a16="http://schemas.microsoft.com/office/drawing/2014/main" id="{E6E5B286-5BC6-4D27-A967-953C221DDC00}"/>
              </a:ext>
            </a:extLst>
          </p:cNvPr>
          <p:cNvSpPr/>
          <p:nvPr/>
        </p:nvSpPr>
        <p:spPr bwMode="gray">
          <a:xfrm flipV="1">
            <a:off x="6793806" y="3879274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68" name="Right Triangle 1967">
            <a:extLst>
              <a:ext uri="{FF2B5EF4-FFF2-40B4-BE49-F238E27FC236}">
                <a16:creationId xmlns:a16="http://schemas.microsoft.com/office/drawing/2014/main" id="{2B376ABD-AA7C-4380-8A1C-BB4F59C70ED7}"/>
              </a:ext>
            </a:extLst>
          </p:cNvPr>
          <p:cNvSpPr/>
          <p:nvPr/>
        </p:nvSpPr>
        <p:spPr bwMode="gray">
          <a:xfrm>
            <a:off x="6793806" y="2910642"/>
            <a:ext cx="971456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70" name="Right Triangle 1969">
            <a:extLst>
              <a:ext uri="{FF2B5EF4-FFF2-40B4-BE49-F238E27FC236}">
                <a16:creationId xmlns:a16="http://schemas.microsoft.com/office/drawing/2014/main" id="{572EB1AB-D7A9-4F0A-A21E-0693157DA579}"/>
              </a:ext>
            </a:extLst>
          </p:cNvPr>
          <p:cNvSpPr/>
          <p:nvPr/>
        </p:nvSpPr>
        <p:spPr bwMode="gray">
          <a:xfrm>
            <a:off x="6793806" y="1942028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71" name="Right Triangle 1970">
            <a:extLst>
              <a:ext uri="{FF2B5EF4-FFF2-40B4-BE49-F238E27FC236}">
                <a16:creationId xmlns:a16="http://schemas.microsoft.com/office/drawing/2014/main" id="{D05BA029-292B-4F5B-96F7-82AEBA8518B9}"/>
              </a:ext>
            </a:extLst>
          </p:cNvPr>
          <p:cNvSpPr/>
          <p:nvPr/>
        </p:nvSpPr>
        <p:spPr bwMode="gray">
          <a:xfrm rot="10800000">
            <a:off x="6793807" y="1942028"/>
            <a:ext cx="971456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75" name="Right Triangle 1974">
            <a:extLst>
              <a:ext uri="{FF2B5EF4-FFF2-40B4-BE49-F238E27FC236}">
                <a16:creationId xmlns:a16="http://schemas.microsoft.com/office/drawing/2014/main" id="{178EC3AD-6FEE-4E45-86D1-E97050157EC9}"/>
              </a:ext>
            </a:extLst>
          </p:cNvPr>
          <p:cNvSpPr/>
          <p:nvPr/>
        </p:nvSpPr>
        <p:spPr bwMode="gray">
          <a:xfrm flipH="1" flipV="1">
            <a:off x="7765262" y="3879274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76" name="Right Triangle 1975">
            <a:extLst>
              <a:ext uri="{FF2B5EF4-FFF2-40B4-BE49-F238E27FC236}">
                <a16:creationId xmlns:a16="http://schemas.microsoft.com/office/drawing/2014/main" id="{F9AE0C30-1FBA-46DD-A3D6-FD85D546063E}"/>
              </a:ext>
            </a:extLst>
          </p:cNvPr>
          <p:cNvSpPr/>
          <p:nvPr/>
        </p:nvSpPr>
        <p:spPr bwMode="gray">
          <a:xfrm rot="10800000" flipH="1" flipV="1">
            <a:off x="7765263" y="3879274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78" name="Right Triangle 1977">
            <a:extLst>
              <a:ext uri="{FF2B5EF4-FFF2-40B4-BE49-F238E27FC236}">
                <a16:creationId xmlns:a16="http://schemas.microsoft.com/office/drawing/2014/main" id="{1D359AD2-D340-479B-885A-D5DB9CA0833D}"/>
              </a:ext>
            </a:extLst>
          </p:cNvPr>
          <p:cNvSpPr/>
          <p:nvPr/>
        </p:nvSpPr>
        <p:spPr bwMode="gray">
          <a:xfrm flipH="1">
            <a:off x="7765262" y="2910642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79" name="Right Triangle 1978">
            <a:extLst>
              <a:ext uri="{FF2B5EF4-FFF2-40B4-BE49-F238E27FC236}">
                <a16:creationId xmlns:a16="http://schemas.microsoft.com/office/drawing/2014/main" id="{8B387BA8-FAAB-4F63-B541-245EA131763B}"/>
              </a:ext>
            </a:extLst>
          </p:cNvPr>
          <p:cNvSpPr/>
          <p:nvPr/>
        </p:nvSpPr>
        <p:spPr bwMode="gray">
          <a:xfrm rot="10800000" flipH="1">
            <a:off x="7765263" y="2910642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82" name="Right Triangle 1981">
            <a:extLst>
              <a:ext uri="{FF2B5EF4-FFF2-40B4-BE49-F238E27FC236}">
                <a16:creationId xmlns:a16="http://schemas.microsoft.com/office/drawing/2014/main" id="{BC1D6466-33B3-4083-AFE6-DFCC19025C49}"/>
              </a:ext>
            </a:extLst>
          </p:cNvPr>
          <p:cNvSpPr/>
          <p:nvPr/>
        </p:nvSpPr>
        <p:spPr bwMode="gray">
          <a:xfrm flipH="1">
            <a:off x="7765262" y="1942028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83" name="Right Triangle 1982">
            <a:extLst>
              <a:ext uri="{FF2B5EF4-FFF2-40B4-BE49-F238E27FC236}">
                <a16:creationId xmlns:a16="http://schemas.microsoft.com/office/drawing/2014/main" id="{77953615-F162-4400-B52C-35B2A7EC55E0}"/>
              </a:ext>
            </a:extLst>
          </p:cNvPr>
          <p:cNvSpPr/>
          <p:nvPr/>
        </p:nvSpPr>
        <p:spPr bwMode="gray">
          <a:xfrm rot="10800000" flipH="1">
            <a:off x="7765263" y="1942028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88" name="Right Triangle 1987">
            <a:extLst>
              <a:ext uri="{FF2B5EF4-FFF2-40B4-BE49-F238E27FC236}">
                <a16:creationId xmlns:a16="http://schemas.microsoft.com/office/drawing/2014/main" id="{4D4F3A31-B5C2-4590-AE82-E103E9F283D8}"/>
              </a:ext>
            </a:extLst>
          </p:cNvPr>
          <p:cNvSpPr/>
          <p:nvPr/>
        </p:nvSpPr>
        <p:spPr bwMode="gray">
          <a:xfrm flipV="1">
            <a:off x="8736717" y="3879274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91" name="Right Triangle 1990">
            <a:extLst>
              <a:ext uri="{FF2B5EF4-FFF2-40B4-BE49-F238E27FC236}">
                <a16:creationId xmlns:a16="http://schemas.microsoft.com/office/drawing/2014/main" id="{4ED8D174-82E8-4892-8F21-835314E781CB}"/>
              </a:ext>
            </a:extLst>
          </p:cNvPr>
          <p:cNvSpPr/>
          <p:nvPr/>
        </p:nvSpPr>
        <p:spPr bwMode="gray">
          <a:xfrm>
            <a:off x="8736717" y="2910642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92" name="Right Triangle 1991">
            <a:extLst>
              <a:ext uri="{FF2B5EF4-FFF2-40B4-BE49-F238E27FC236}">
                <a16:creationId xmlns:a16="http://schemas.microsoft.com/office/drawing/2014/main" id="{86687566-64E1-457C-89E2-4B9C61932CD3}"/>
              </a:ext>
            </a:extLst>
          </p:cNvPr>
          <p:cNvSpPr/>
          <p:nvPr/>
        </p:nvSpPr>
        <p:spPr bwMode="gray">
          <a:xfrm rot="10800000">
            <a:off x="8736717" y="2910642"/>
            <a:ext cx="971456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94" name="Right Triangle 1993">
            <a:extLst>
              <a:ext uri="{FF2B5EF4-FFF2-40B4-BE49-F238E27FC236}">
                <a16:creationId xmlns:a16="http://schemas.microsoft.com/office/drawing/2014/main" id="{C22DB837-F708-4639-9065-99A91AACEBD0}"/>
              </a:ext>
            </a:extLst>
          </p:cNvPr>
          <p:cNvSpPr/>
          <p:nvPr/>
        </p:nvSpPr>
        <p:spPr bwMode="gray">
          <a:xfrm rot="10800000">
            <a:off x="8736717" y="1942028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99" name="Right Triangle 1998">
            <a:extLst>
              <a:ext uri="{FF2B5EF4-FFF2-40B4-BE49-F238E27FC236}">
                <a16:creationId xmlns:a16="http://schemas.microsoft.com/office/drawing/2014/main" id="{6A788E85-3985-4156-AF64-CA51D0484984}"/>
              </a:ext>
            </a:extLst>
          </p:cNvPr>
          <p:cNvSpPr/>
          <p:nvPr/>
        </p:nvSpPr>
        <p:spPr bwMode="gray">
          <a:xfrm flipH="1" flipV="1">
            <a:off x="9708174" y="3879274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00" name="Right Triangle 1999">
            <a:extLst>
              <a:ext uri="{FF2B5EF4-FFF2-40B4-BE49-F238E27FC236}">
                <a16:creationId xmlns:a16="http://schemas.microsoft.com/office/drawing/2014/main" id="{94558083-6AFF-46F6-8E0C-096848D16CAF}"/>
              </a:ext>
            </a:extLst>
          </p:cNvPr>
          <p:cNvSpPr/>
          <p:nvPr/>
        </p:nvSpPr>
        <p:spPr bwMode="gray">
          <a:xfrm rot="10800000" flipH="1" flipV="1">
            <a:off x="9708175" y="3879274"/>
            <a:ext cx="971456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02" name="Right Triangle 2001">
            <a:extLst>
              <a:ext uri="{FF2B5EF4-FFF2-40B4-BE49-F238E27FC236}">
                <a16:creationId xmlns:a16="http://schemas.microsoft.com/office/drawing/2014/main" id="{FFDEBEF5-9879-4820-A2E0-1C0E6B9CB80B}"/>
              </a:ext>
            </a:extLst>
          </p:cNvPr>
          <p:cNvSpPr/>
          <p:nvPr/>
        </p:nvSpPr>
        <p:spPr bwMode="gray">
          <a:xfrm rot="10800000" flipH="1">
            <a:off x="9708174" y="2910642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05" name="Right Triangle 2004">
            <a:extLst>
              <a:ext uri="{FF2B5EF4-FFF2-40B4-BE49-F238E27FC236}">
                <a16:creationId xmlns:a16="http://schemas.microsoft.com/office/drawing/2014/main" id="{FAADE3CC-F18A-436E-9FAA-D97A1CEAB0D8}"/>
              </a:ext>
            </a:extLst>
          </p:cNvPr>
          <p:cNvSpPr/>
          <p:nvPr/>
        </p:nvSpPr>
        <p:spPr bwMode="gray">
          <a:xfrm flipH="1">
            <a:off x="9708174" y="1942028"/>
            <a:ext cx="971456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06" name="Right Triangle 2005">
            <a:extLst>
              <a:ext uri="{FF2B5EF4-FFF2-40B4-BE49-F238E27FC236}">
                <a16:creationId xmlns:a16="http://schemas.microsoft.com/office/drawing/2014/main" id="{A6DF877E-F512-4272-8411-07AA8F0597FA}"/>
              </a:ext>
            </a:extLst>
          </p:cNvPr>
          <p:cNvSpPr/>
          <p:nvPr/>
        </p:nvSpPr>
        <p:spPr bwMode="gray">
          <a:xfrm rot="10800000" flipH="1">
            <a:off x="9708174" y="1942028"/>
            <a:ext cx="971456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1" name="Freeform: Shape 240">
            <a:extLst>
              <a:ext uri="{FF2B5EF4-FFF2-40B4-BE49-F238E27FC236}">
                <a16:creationId xmlns:a16="http://schemas.microsoft.com/office/drawing/2014/main" id="{04ED73FD-D665-4D6A-A071-D88CC48E1BD2}"/>
              </a:ext>
            </a:extLst>
          </p:cNvPr>
          <p:cNvSpPr/>
          <p:nvPr/>
        </p:nvSpPr>
        <p:spPr bwMode="gray">
          <a:xfrm flipH="1">
            <a:off x="11651991" y="3880558"/>
            <a:ext cx="2572" cy="1286"/>
          </a:xfrm>
          <a:custGeom>
            <a:avLst/>
            <a:gdLst>
              <a:gd name="connsiteX0" fmla="*/ 1286 w 2571"/>
              <a:gd name="connsiteY0" fmla="*/ 0 h 1286"/>
              <a:gd name="connsiteX1" fmla="*/ 0 w 2571"/>
              <a:gd name="connsiteY1" fmla="*/ 1286 h 1286"/>
              <a:gd name="connsiteX2" fmla="*/ 2571 w 2571"/>
              <a:gd name="connsiteY2" fmla="*/ 1286 h 1286"/>
              <a:gd name="connsiteX3" fmla="*/ 2571 w 2571"/>
              <a:gd name="connsiteY3" fmla="*/ 1285 h 1286"/>
              <a:gd name="connsiteX4" fmla="*/ 1286 w 2571"/>
              <a:gd name="connsiteY4" fmla="*/ 0 h 1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71" h="1286">
                <a:moveTo>
                  <a:pt x="1286" y="0"/>
                </a:moveTo>
                <a:lnTo>
                  <a:pt x="0" y="1286"/>
                </a:lnTo>
                <a:lnTo>
                  <a:pt x="2571" y="1286"/>
                </a:lnTo>
                <a:lnTo>
                  <a:pt x="2571" y="1285"/>
                </a:lnTo>
                <a:lnTo>
                  <a:pt x="1286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0" name="Freeform: Shape 239">
            <a:extLst>
              <a:ext uri="{FF2B5EF4-FFF2-40B4-BE49-F238E27FC236}">
                <a16:creationId xmlns:a16="http://schemas.microsoft.com/office/drawing/2014/main" id="{DAACB6A8-5FFF-4D01-9B52-D8EE6770B36D}"/>
              </a:ext>
            </a:extLst>
          </p:cNvPr>
          <p:cNvSpPr/>
          <p:nvPr/>
        </p:nvSpPr>
        <p:spPr bwMode="gray">
          <a:xfrm flipH="1">
            <a:off x="11654562" y="3881844"/>
            <a:ext cx="545060" cy="544918"/>
          </a:xfrm>
          <a:custGeom>
            <a:avLst/>
            <a:gdLst>
              <a:gd name="connsiteX0" fmla="*/ 544918 w 544918"/>
              <a:gd name="connsiteY0" fmla="*/ 0 h 544918"/>
              <a:gd name="connsiteX1" fmla="*/ 0 w 544918"/>
              <a:gd name="connsiteY1" fmla="*/ 0 h 544918"/>
              <a:gd name="connsiteX2" fmla="*/ 0 w 544918"/>
              <a:gd name="connsiteY2" fmla="*/ 544918 h 544918"/>
              <a:gd name="connsiteX3" fmla="*/ 544918 w 544918"/>
              <a:gd name="connsiteY3" fmla="*/ 0 h 544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4918" h="544918">
                <a:moveTo>
                  <a:pt x="544918" y="0"/>
                </a:moveTo>
                <a:lnTo>
                  <a:pt x="0" y="0"/>
                </a:lnTo>
                <a:lnTo>
                  <a:pt x="0" y="544918"/>
                </a:lnTo>
                <a:lnTo>
                  <a:pt x="544918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7" name="Freeform: Shape 236">
            <a:extLst>
              <a:ext uri="{FF2B5EF4-FFF2-40B4-BE49-F238E27FC236}">
                <a16:creationId xmlns:a16="http://schemas.microsoft.com/office/drawing/2014/main" id="{D2647969-72F6-4EBD-8F45-8C71144016F7}"/>
              </a:ext>
            </a:extLst>
          </p:cNvPr>
          <p:cNvSpPr/>
          <p:nvPr/>
        </p:nvSpPr>
        <p:spPr bwMode="gray">
          <a:xfrm flipH="1">
            <a:off x="11651989" y="2365740"/>
            <a:ext cx="547633" cy="547490"/>
          </a:xfrm>
          <a:custGeom>
            <a:avLst/>
            <a:gdLst>
              <a:gd name="connsiteX0" fmla="*/ 0 w 547490"/>
              <a:gd name="connsiteY0" fmla="*/ 0 h 547490"/>
              <a:gd name="connsiteX1" fmla="*/ 0 w 547490"/>
              <a:gd name="connsiteY1" fmla="*/ 547490 h 547490"/>
              <a:gd name="connsiteX2" fmla="*/ 547490 w 547490"/>
              <a:gd name="connsiteY2" fmla="*/ 547490 h 547490"/>
              <a:gd name="connsiteX3" fmla="*/ 0 w 547490"/>
              <a:gd name="connsiteY3" fmla="*/ 0 h 547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7490" h="547490">
                <a:moveTo>
                  <a:pt x="0" y="0"/>
                </a:moveTo>
                <a:lnTo>
                  <a:pt x="0" y="547490"/>
                </a:lnTo>
                <a:lnTo>
                  <a:pt x="547490" y="547490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5" name="Freeform: Shape 234">
            <a:extLst>
              <a:ext uri="{FF2B5EF4-FFF2-40B4-BE49-F238E27FC236}">
                <a16:creationId xmlns:a16="http://schemas.microsoft.com/office/drawing/2014/main" id="{38C334F9-394F-4AA2-A4EF-C9F7AD2CB2DA}"/>
              </a:ext>
            </a:extLst>
          </p:cNvPr>
          <p:cNvSpPr/>
          <p:nvPr/>
        </p:nvSpPr>
        <p:spPr bwMode="gray">
          <a:xfrm flipH="1">
            <a:off x="11653276" y="3334354"/>
            <a:ext cx="546346" cy="547490"/>
          </a:xfrm>
          <a:custGeom>
            <a:avLst/>
            <a:gdLst>
              <a:gd name="connsiteX0" fmla="*/ 0 w 546204"/>
              <a:gd name="connsiteY0" fmla="*/ 0 h 547490"/>
              <a:gd name="connsiteX1" fmla="*/ 0 w 546204"/>
              <a:gd name="connsiteY1" fmla="*/ 547490 h 547490"/>
              <a:gd name="connsiteX2" fmla="*/ 544918 w 546204"/>
              <a:gd name="connsiteY2" fmla="*/ 547490 h 547490"/>
              <a:gd name="connsiteX3" fmla="*/ 546204 w 546204"/>
              <a:gd name="connsiteY3" fmla="*/ 546204 h 547490"/>
              <a:gd name="connsiteX4" fmla="*/ 0 w 546204"/>
              <a:gd name="connsiteY4" fmla="*/ 0 h 547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6204" h="547490">
                <a:moveTo>
                  <a:pt x="0" y="0"/>
                </a:moveTo>
                <a:lnTo>
                  <a:pt x="0" y="547490"/>
                </a:lnTo>
                <a:lnTo>
                  <a:pt x="544918" y="547490"/>
                </a:lnTo>
                <a:lnTo>
                  <a:pt x="546204" y="546204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4" name="Freeform: Shape 233">
            <a:extLst>
              <a:ext uri="{FF2B5EF4-FFF2-40B4-BE49-F238E27FC236}">
                <a16:creationId xmlns:a16="http://schemas.microsoft.com/office/drawing/2014/main" id="{3BC84EC7-85CD-4749-8F7D-D48DE50814AB}"/>
              </a:ext>
            </a:extLst>
          </p:cNvPr>
          <p:cNvSpPr/>
          <p:nvPr/>
        </p:nvSpPr>
        <p:spPr bwMode="gray">
          <a:xfrm flipH="1">
            <a:off x="11651991" y="3879273"/>
            <a:ext cx="1285" cy="2570"/>
          </a:xfrm>
          <a:custGeom>
            <a:avLst/>
            <a:gdLst>
              <a:gd name="connsiteX0" fmla="*/ 1285 w 1285"/>
              <a:gd name="connsiteY0" fmla="*/ 0 h 2570"/>
              <a:gd name="connsiteX1" fmla="*/ 0 w 1285"/>
              <a:gd name="connsiteY1" fmla="*/ 1285 h 2570"/>
              <a:gd name="connsiteX2" fmla="*/ 1285 w 1285"/>
              <a:gd name="connsiteY2" fmla="*/ 2570 h 2570"/>
              <a:gd name="connsiteX3" fmla="*/ 1285 w 1285"/>
              <a:gd name="connsiteY3" fmla="*/ 0 h 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5" h="2570">
                <a:moveTo>
                  <a:pt x="1285" y="0"/>
                </a:moveTo>
                <a:lnTo>
                  <a:pt x="0" y="1285"/>
                </a:lnTo>
                <a:lnTo>
                  <a:pt x="1285" y="2570"/>
                </a:lnTo>
                <a:lnTo>
                  <a:pt x="1285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3" name="Freeform: Shape 232">
            <a:extLst>
              <a:ext uri="{FF2B5EF4-FFF2-40B4-BE49-F238E27FC236}">
                <a16:creationId xmlns:a16="http://schemas.microsoft.com/office/drawing/2014/main" id="{DF749C73-4E4B-457C-8945-7804E3C387D7}"/>
              </a:ext>
            </a:extLst>
          </p:cNvPr>
          <p:cNvSpPr/>
          <p:nvPr/>
        </p:nvSpPr>
        <p:spPr bwMode="gray">
          <a:xfrm flipH="1">
            <a:off x="11651991" y="3881844"/>
            <a:ext cx="547632" cy="968632"/>
          </a:xfrm>
          <a:custGeom>
            <a:avLst/>
            <a:gdLst>
              <a:gd name="connsiteX0" fmla="*/ 547489 w 547489"/>
              <a:gd name="connsiteY0" fmla="*/ 0 h 968632"/>
              <a:gd name="connsiteX1" fmla="*/ 544918 w 547489"/>
              <a:gd name="connsiteY1" fmla="*/ 0 h 968632"/>
              <a:gd name="connsiteX2" fmla="*/ 0 w 547489"/>
              <a:gd name="connsiteY2" fmla="*/ 544918 h 968632"/>
              <a:gd name="connsiteX3" fmla="*/ 0 w 547489"/>
              <a:gd name="connsiteY3" fmla="*/ 968632 h 968632"/>
              <a:gd name="connsiteX4" fmla="*/ 547489 w 547489"/>
              <a:gd name="connsiteY4" fmla="*/ 968632 h 968632"/>
              <a:gd name="connsiteX5" fmla="*/ 547489 w 547489"/>
              <a:gd name="connsiteY5" fmla="*/ 0 h 968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7489" h="968632">
                <a:moveTo>
                  <a:pt x="547489" y="0"/>
                </a:moveTo>
                <a:lnTo>
                  <a:pt x="544918" y="0"/>
                </a:lnTo>
                <a:lnTo>
                  <a:pt x="0" y="544918"/>
                </a:lnTo>
                <a:lnTo>
                  <a:pt x="0" y="968632"/>
                </a:lnTo>
                <a:lnTo>
                  <a:pt x="547489" y="968632"/>
                </a:lnTo>
                <a:lnTo>
                  <a:pt x="547489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5" name="Freeform: Shape 244">
            <a:extLst>
              <a:ext uri="{FF2B5EF4-FFF2-40B4-BE49-F238E27FC236}">
                <a16:creationId xmlns:a16="http://schemas.microsoft.com/office/drawing/2014/main" id="{C7CEF2F0-638A-4980-8929-051BBF2C7F2F}"/>
              </a:ext>
            </a:extLst>
          </p:cNvPr>
          <p:cNvSpPr/>
          <p:nvPr/>
        </p:nvSpPr>
        <p:spPr bwMode="gray">
          <a:xfrm rot="10800000" flipH="1">
            <a:off x="11651990" y="1942028"/>
            <a:ext cx="546361" cy="971203"/>
          </a:xfrm>
          <a:custGeom>
            <a:avLst/>
            <a:gdLst>
              <a:gd name="connsiteX0" fmla="*/ 0 w 546219"/>
              <a:gd name="connsiteY0" fmla="*/ 971203 h 971203"/>
              <a:gd name="connsiteX1" fmla="*/ 546219 w 546219"/>
              <a:gd name="connsiteY1" fmla="*/ 971203 h 971203"/>
              <a:gd name="connsiteX2" fmla="*/ 546219 w 546219"/>
              <a:gd name="connsiteY2" fmla="*/ 546219 h 971203"/>
              <a:gd name="connsiteX3" fmla="*/ 546219 w 546219"/>
              <a:gd name="connsiteY3" fmla="*/ 0 h 971203"/>
              <a:gd name="connsiteX4" fmla="*/ 0 w 546219"/>
              <a:gd name="connsiteY4" fmla="*/ 0 h 971203"/>
              <a:gd name="connsiteX5" fmla="*/ 0 w 546219"/>
              <a:gd name="connsiteY5" fmla="*/ 971203 h 971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6219" h="971203">
                <a:moveTo>
                  <a:pt x="0" y="971203"/>
                </a:moveTo>
                <a:lnTo>
                  <a:pt x="546219" y="971203"/>
                </a:lnTo>
                <a:lnTo>
                  <a:pt x="546219" y="546219"/>
                </a:lnTo>
                <a:lnTo>
                  <a:pt x="546219" y="0"/>
                </a:lnTo>
                <a:lnTo>
                  <a:pt x="0" y="0"/>
                </a:lnTo>
                <a:lnTo>
                  <a:pt x="0" y="971203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19" name="Right Triangle 2018">
            <a:extLst>
              <a:ext uri="{FF2B5EF4-FFF2-40B4-BE49-F238E27FC236}">
                <a16:creationId xmlns:a16="http://schemas.microsoft.com/office/drawing/2014/main" id="{1D6819BD-8598-43CF-BFB1-6037AB55C207}"/>
              </a:ext>
            </a:extLst>
          </p:cNvPr>
          <p:cNvSpPr/>
          <p:nvPr/>
        </p:nvSpPr>
        <p:spPr bwMode="gray">
          <a:xfrm flipV="1">
            <a:off x="10680083" y="3879274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20" name="Right Triangle 2019">
            <a:extLst>
              <a:ext uri="{FF2B5EF4-FFF2-40B4-BE49-F238E27FC236}">
                <a16:creationId xmlns:a16="http://schemas.microsoft.com/office/drawing/2014/main" id="{8EE356BC-0A71-4CD4-A095-BEC31A67A473}"/>
              </a:ext>
            </a:extLst>
          </p:cNvPr>
          <p:cNvSpPr/>
          <p:nvPr/>
        </p:nvSpPr>
        <p:spPr bwMode="gray">
          <a:xfrm rot="10800000" flipV="1">
            <a:off x="10680084" y="3879274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22" name="Right Triangle 2021">
            <a:extLst>
              <a:ext uri="{FF2B5EF4-FFF2-40B4-BE49-F238E27FC236}">
                <a16:creationId xmlns:a16="http://schemas.microsoft.com/office/drawing/2014/main" id="{409710D7-11B3-4620-9802-30238455809B}"/>
              </a:ext>
            </a:extLst>
          </p:cNvPr>
          <p:cNvSpPr/>
          <p:nvPr/>
        </p:nvSpPr>
        <p:spPr bwMode="gray">
          <a:xfrm>
            <a:off x="10680083" y="2910642"/>
            <a:ext cx="971456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23" name="Right Triangle 2022">
            <a:extLst>
              <a:ext uri="{FF2B5EF4-FFF2-40B4-BE49-F238E27FC236}">
                <a16:creationId xmlns:a16="http://schemas.microsoft.com/office/drawing/2014/main" id="{8EFDF76A-4616-49AB-ABBD-CEA6DC584EFE}"/>
              </a:ext>
            </a:extLst>
          </p:cNvPr>
          <p:cNvSpPr/>
          <p:nvPr/>
        </p:nvSpPr>
        <p:spPr bwMode="gray">
          <a:xfrm rot="10800000">
            <a:off x="10680083" y="2910642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25" name="Right Triangle 2024">
            <a:extLst>
              <a:ext uri="{FF2B5EF4-FFF2-40B4-BE49-F238E27FC236}">
                <a16:creationId xmlns:a16="http://schemas.microsoft.com/office/drawing/2014/main" id="{EF4EC8A9-B6AF-403E-8785-406CEF3DBC24}"/>
              </a:ext>
            </a:extLst>
          </p:cNvPr>
          <p:cNvSpPr/>
          <p:nvPr/>
        </p:nvSpPr>
        <p:spPr bwMode="gray">
          <a:xfrm>
            <a:off x="10680083" y="1942028"/>
            <a:ext cx="971456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26" name="Right Triangle 2025">
            <a:extLst>
              <a:ext uri="{FF2B5EF4-FFF2-40B4-BE49-F238E27FC236}">
                <a16:creationId xmlns:a16="http://schemas.microsoft.com/office/drawing/2014/main" id="{4AF60922-FA1C-4D75-BCA2-347740776023}"/>
              </a:ext>
            </a:extLst>
          </p:cNvPr>
          <p:cNvSpPr/>
          <p:nvPr/>
        </p:nvSpPr>
        <p:spPr bwMode="gray">
          <a:xfrm rot="10800000">
            <a:off x="10680083" y="1942028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30" name="Right Triangle 2029">
            <a:extLst>
              <a:ext uri="{FF2B5EF4-FFF2-40B4-BE49-F238E27FC236}">
                <a16:creationId xmlns:a16="http://schemas.microsoft.com/office/drawing/2014/main" id="{ABDD0D72-0532-41DC-8684-3A10E921B1E6}"/>
              </a:ext>
            </a:extLst>
          </p:cNvPr>
          <p:cNvSpPr/>
          <p:nvPr/>
        </p:nvSpPr>
        <p:spPr bwMode="gray">
          <a:xfrm flipV="1">
            <a:off x="4853815" y="3879274"/>
            <a:ext cx="971456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31" name="Right Triangle 2030">
            <a:extLst>
              <a:ext uri="{FF2B5EF4-FFF2-40B4-BE49-F238E27FC236}">
                <a16:creationId xmlns:a16="http://schemas.microsoft.com/office/drawing/2014/main" id="{99917340-BEED-401A-9164-5967390F4436}"/>
              </a:ext>
            </a:extLst>
          </p:cNvPr>
          <p:cNvSpPr/>
          <p:nvPr/>
        </p:nvSpPr>
        <p:spPr bwMode="gray">
          <a:xfrm rot="10800000" flipV="1">
            <a:off x="4853816" y="3879274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34" name="Right Triangle 2033">
            <a:extLst>
              <a:ext uri="{FF2B5EF4-FFF2-40B4-BE49-F238E27FC236}">
                <a16:creationId xmlns:a16="http://schemas.microsoft.com/office/drawing/2014/main" id="{F38CA0B6-9FFE-4D40-9D53-D500AD1C1C95}"/>
              </a:ext>
            </a:extLst>
          </p:cNvPr>
          <p:cNvSpPr/>
          <p:nvPr/>
        </p:nvSpPr>
        <p:spPr bwMode="gray">
          <a:xfrm>
            <a:off x="4853815" y="2910642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35" name="Right Triangle 2034">
            <a:extLst>
              <a:ext uri="{FF2B5EF4-FFF2-40B4-BE49-F238E27FC236}">
                <a16:creationId xmlns:a16="http://schemas.microsoft.com/office/drawing/2014/main" id="{8DD648D4-B2B7-4343-B218-8F2DFEEDFD90}"/>
              </a:ext>
            </a:extLst>
          </p:cNvPr>
          <p:cNvSpPr/>
          <p:nvPr/>
        </p:nvSpPr>
        <p:spPr bwMode="gray">
          <a:xfrm rot="10800000">
            <a:off x="4853816" y="2910642"/>
            <a:ext cx="971456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38" name="Right Triangle 2037">
            <a:extLst>
              <a:ext uri="{FF2B5EF4-FFF2-40B4-BE49-F238E27FC236}">
                <a16:creationId xmlns:a16="http://schemas.microsoft.com/office/drawing/2014/main" id="{7879B82B-73B6-4FB8-8C3F-D741B69008BB}"/>
              </a:ext>
            </a:extLst>
          </p:cNvPr>
          <p:cNvSpPr/>
          <p:nvPr/>
        </p:nvSpPr>
        <p:spPr bwMode="gray">
          <a:xfrm>
            <a:off x="4853815" y="1935283"/>
            <a:ext cx="971456" cy="971203"/>
          </a:xfrm>
          <a:prstGeom prst="rtTriangle">
            <a:avLst/>
          </a:prstGeom>
          <a:solidFill>
            <a:sysClr val="window" lastClr="FFFFFF">
              <a:alpha val="7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39" name="Right Triangle 2038">
            <a:extLst>
              <a:ext uri="{FF2B5EF4-FFF2-40B4-BE49-F238E27FC236}">
                <a16:creationId xmlns:a16="http://schemas.microsoft.com/office/drawing/2014/main" id="{7EE5363B-53DC-4F89-AAC4-C853D7200D02}"/>
              </a:ext>
            </a:extLst>
          </p:cNvPr>
          <p:cNvSpPr/>
          <p:nvPr/>
        </p:nvSpPr>
        <p:spPr bwMode="gray">
          <a:xfrm rot="10800000">
            <a:off x="4853816" y="1942028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44" name="Right Triangle 2043">
            <a:extLst>
              <a:ext uri="{FF2B5EF4-FFF2-40B4-BE49-F238E27FC236}">
                <a16:creationId xmlns:a16="http://schemas.microsoft.com/office/drawing/2014/main" id="{814F1EB6-F00F-4E71-964F-EF0B01663B34}"/>
              </a:ext>
            </a:extLst>
          </p:cNvPr>
          <p:cNvSpPr/>
          <p:nvPr/>
        </p:nvSpPr>
        <p:spPr bwMode="gray">
          <a:xfrm flipH="1" flipV="1">
            <a:off x="5822227" y="3879274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46" name="Right Triangle 2045">
            <a:extLst>
              <a:ext uri="{FF2B5EF4-FFF2-40B4-BE49-F238E27FC236}">
                <a16:creationId xmlns:a16="http://schemas.microsoft.com/office/drawing/2014/main" id="{915086CF-7425-481C-86AE-47D5C691F974}"/>
              </a:ext>
            </a:extLst>
          </p:cNvPr>
          <p:cNvSpPr/>
          <p:nvPr/>
        </p:nvSpPr>
        <p:spPr bwMode="gray">
          <a:xfrm flipH="1">
            <a:off x="5822227" y="2910642"/>
            <a:ext cx="971456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47" name="Right Triangle 2046">
            <a:extLst>
              <a:ext uri="{FF2B5EF4-FFF2-40B4-BE49-F238E27FC236}">
                <a16:creationId xmlns:a16="http://schemas.microsoft.com/office/drawing/2014/main" id="{16B9ABD7-7982-4680-86D4-36A21D276435}"/>
              </a:ext>
            </a:extLst>
          </p:cNvPr>
          <p:cNvSpPr/>
          <p:nvPr/>
        </p:nvSpPr>
        <p:spPr bwMode="gray">
          <a:xfrm rot="10800000" flipH="1">
            <a:off x="5822227" y="2910642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49" name="Right Triangle 2048">
            <a:extLst>
              <a:ext uri="{FF2B5EF4-FFF2-40B4-BE49-F238E27FC236}">
                <a16:creationId xmlns:a16="http://schemas.microsoft.com/office/drawing/2014/main" id="{D8B89FD3-FA21-4F0F-B055-5B666BAA55D2}"/>
              </a:ext>
            </a:extLst>
          </p:cNvPr>
          <p:cNvSpPr/>
          <p:nvPr/>
        </p:nvSpPr>
        <p:spPr bwMode="gray">
          <a:xfrm flipH="1">
            <a:off x="5822227" y="1942028"/>
            <a:ext cx="971456" cy="971203"/>
          </a:xfrm>
          <a:prstGeom prst="rtTriangle">
            <a:avLst/>
          </a:prstGeom>
          <a:solidFill>
            <a:sysClr val="window" lastClr="FFFFFF">
              <a:alpha val="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50" name="Right Triangle 2049">
            <a:extLst>
              <a:ext uri="{FF2B5EF4-FFF2-40B4-BE49-F238E27FC236}">
                <a16:creationId xmlns:a16="http://schemas.microsoft.com/office/drawing/2014/main" id="{6766A0F2-5896-4389-87A6-23AE2C9D2509}"/>
              </a:ext>
            </a:extLst>
          </p:cNvPr>
          <p:cNvSpPr/>
          <p:nvPr/>
        </p:nvSpPr>
        <p:spPr bwMode="gray">
          <a:xfrm rot="10800000" flipH="1">
            <a:off x="5822228" y="1942028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75" name="Right Triangle 1874">
            <a:extLst>
              <a:ext uri="{FF2B5EF4-FFF2-40B4-BE49-F238E27FC236}">
                <a16:creationId xmlns:a16="http://schemas.microsoft.com/office/drawing/2014/main" id="{5FCC728E-10DD-4481-BA79-219E3F3D4DAC}"/>
              </a:ext>
            </a:extLst>
          </p:cNvPr>
          <p:cNvSpPr/>
          <p:nvPr/>
        </p:nvSpPr>
        <p:spPr bwMode="gray">
          <a:xfrm flipV="1">
            <a:off x="6793806" y="3879274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78" name="Right Triangle 1877">
            <a:extLst>
              <a:ext uri="{FF2B5EF4-FFF2-40B4-BE49-F238E27FC236}">
                <a16:creationId xmlns:a16="http://schemas.microsoft.com/office/drawing/2014/main" id="{E7CA5C7D-A87F-472A-B875-62495FDEAF5F}"/>
              </a:ext>
            </a:extLst>
          </p:cNvPr>
          <p:cNvSpPr/>
          <p:nvPr/>
        </p:nvSpPr>
        <p:spPr bwMode="gray">
          <a:xfrm>
            <a:off x="6793806" y="2910642"/>
            <a:ext cx="971456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80" name="Right Triangle 1879">
            <a:extLst>
              <a:ext uri="{FF2B5EF4-FFF2-40B4-BE49-F238E27FC236}">
                <a16:creationId xmlns:a16="http://schemas.microsoft.com/office/drawing/2014/main" id="{04BE22E5-646C-4420-BC1C-E6F9E03F4937}"/>
              </a:ext>
            </a:extLst>
          </p:cNvPr>
          <p:cNvSpPr/>
          <p:nvPr/>
        </p:nvSpPr>
        <p:spPr bwMode="gray">
          <a:xfrm>
            <a:off x="6793806" y="1942028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81" name="Right Triangle 1880">
            <a:extLst>
              <a:ext uri="{FF2B5EF4-FFF2-40B4-BE49-F238E27FC236}">
                <a16:creationId xmlns:a16="http://schemas.microsoft.com/office/drawing/2014/main" id="{3CE49CD1-BF2B-4866-AE49-94D6C933631B}"/>
              </a:ext>
            </a:extLst>
          </p:cNvPr>
          <p:cNvSpPr/>
          <p:nvPr/>
        </p:nvSpPr>
        <p:spPr bwMode="gray">
          <a:xfrm rot="10800000">
            <a:off x="6793807" y="1942028"/>
            <a:ext cx="971456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85" name="Right Triangle 1884">
            <a:extLst>
              <a:ext uri="{FF2B5EF4-FFF2-40B4-BE49-F238E27FC236}">
                <a16:creationId xmlns:a16="http://schemas.microsoft.com/office/drawing/2014/main" id="{30AE22E4-EEFF-494C-84F3-421A9FDBED18}"/>
              </a:ext>
            </a:extLst>
          </p:cNvPr>
          <p:cNvSpPr/>
          <p:nvPr/>
        </p:nvSpPr>
        <p:spPr bwMode="gray">
          <a:xfrm flipH="1" flipV="1">
            <a:off x="7765262" y="3879274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86" name="Right Triangle 1885">
            <a:extLst>
              <a:ext uri="{FF2B5EF4-FFF2-40B4-BE49-F238E27FC236}">
                <a16:creationId xmlns:a16="http://schemas.microsoft.com/office/drawing/2014/main" id="{8874D617-728D-4640-916C-D31B5FBE6E69}"/>
              </a:ext>
            </a:extLst>
          </p:cNvPr>
          <p:cNvSpPr/>
          <p:nvPr/>
        </p:nvSpPr>
        <p:spPr bwMode="gray">
          <a:xfrm rot="10800000" flipH="1" flipV="1">
            <a:off x="7765263" y="3879274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88" name="Right Triangle 1887">
            <a:extLst>
              <a:ext uri="{FF2B5EF4-FFF2-40B4-BE49-F238E27FC236}">
                <a16:creationId xmlns:a16="http://schemas.microsoft.com/office/drawing/2014/main" id="{DC72139E-279F-4070-B381-FB773D9FF72E}"/>
              </a:ext>
            </a:extLst>
          </p:cNvPr>
          <p:cNvSpPr/>
          <p:nvPr/>
        </p:nvSpPr>
        <p:spPr bwMode="gray">
          <a:xfrm flipH="1">
            <a:off x="7765262" y="2910642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89" name="Right Triangle 1888">
            <a:extLst>
              <a:ext uri="{FF2B5EF4-FFF2-40B4-BE49-F238E27FC236}">
                <a16:creationId xmlns:a16="http://schemas.microsoft.com/office/drawing/2014/main" id="{EDCC7912-1A3E-4D24-9D79-DE041A6E4329}"/>
              </a:ext>
            </a:extLst>
          </p:cNvPr>
          <p:cNvSpPr/>
          <p:nvPr/>
        </p:nvSpPr>
        <p:spPr bwMode="gray">
          <a:xfrm rot="10800000" flipH="1">
            <a:off x="7765263" y="2910642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92" name="Right Triangle 1891">
            <a:extLst>
              <a:ext uri="{FF2B5EF4-FFF2-40B4-BE49-F238E27FC236}">
                <a16:creationId xmlns:a16="http://schemas.microsoft.com/office/drawing/2014/main" id="{F50CC2E1-0834-451A-AA95-EA8855B125D1}"/>
              </a:ext>
            </a:extLst>
          </p:cNvPr>
          <p:cNvSpPr/>
          <p:nvPr/>
        </p:nvSpPr>
        <p:spPr bwMode="gray">
          <a:xfrm flipH="1">
            <a:off x="7765262" y="1942028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93" name="Right Triangle 1892">
            <a:extLst>
              <a:ext uri="{FF2B5EF4-FFF2-40B4-BE49-F238E27FC236}">
                <a16:creationId xmlns:a16="http://schemas.microsoft.com/office/drawing/2014/main" id="{3817AF85-24A1-47E4-A8F5-759512F8DAA5}"/>
              </a:ext>
            </a:extLst>
          </p:cNvPr>
          <p:cNvSpPr/>
          <p:nvPr/>
        </p:nvSpPr>
        <p:spPr bwMode="gray">
          <a:xfrm rot="10800000" flipH="1">
            <a:off x="7765263" y="1942028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98" name="Right Triangle 1897">
            <a:extLst>
              <a:ext uri="{FF2B5EF4-FFF2-40B4-BE49-F238E27FC236}">
                <a16:creationId xmlns:a16="http://schemas.microsoft.com/office/drawing/2014/main" id="{9D72D80E-C41F-4FA8-838C-1E61BAFFA0C5}"/>
              </a:ext>
            </a:extLst>
          </p:cNvPr>
          <p:cNvSpPr/>
          <p:nvPr/>
        </p:nvSpPr>
        <p:spPr bwMode="gray">
          <a:xfrm flipV="1">
            <a:off x="8736717" y="3879274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01" name="Right Triangle 1900">
            <a:extLst>
              <a:ext uri="{FF2B5EF4-FFF2-40B4-BE49-F238E27FC236}">
                <a16:creationId xmlns:a16="http://schemas.microsoft.com/office/drawing/2014/main" id="{8C5A9E46-8335-4A0D-A2D7-E2799BA36966}"/>
              </a:ext>
            </a:extLst>
          </p:cNvPr>
          <p:cNvSpPr/>
          <p:nvPr/>
        </p:nvSpPr>
        <p:spPr bwMode="gray">
          <a:xfrm>
            <a:off x="8736717" y="2910642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02" name="Right Triangle 1901">
            <a:extLst>
              <a:ext uri="{FF2B5EF4-FFF2-40B4-BE49-F238E27FC236}">
                <a16:creationId xmlns:a16="http://schemas.microsoft.com/office/drawing/2014/main" id="{4470B8DC-3790-4FAE-85D2-9FF2BD64A934}"/>
              </a:ext>
            </a:extLst>
          </p:cNvPr>
          <p:cNvSpPr/>
          <p:nvPr/>
        </p:nvSpPr>
        <p:spPr bwMode="gray">
          <a:xfrm rot="10800000">
            <a:off x="8736717" y="2910642"/>
            <a:ext cx="971456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04" name="Right Triangle 1903">
            <a:extLst>
              <a:ext uri="{FF2B5EF4-FFF2-40B4-BE49-F238E27FC236}">
                <a16:creationId xmlns:a16="http://schemas.microsoft.com/office/drawing/2014/main" id="{65B4272E-5456-426A-A5DE-6493100A48EC}"/>
              </a:ext>
            </a:extLst>
          </p:cNvPr>
          <p:cNvSpPr/>
          <p:nvPr/>
        </p:nvSpPr>
        <p:spPr bwMode="gray">
          <a:xfrm rot="10800000">
            <a:off x="8736717" y="1942028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09" name="Right Triangle 1908">
            <a:extLst>
              <a:ext uri="{FF2B5EF4-FFF2-40B4-BE49-F238E27FC236}">
                <a16:creationId xmlns:a16="http://schemas.microsoft.com/office/drawing/2014/main" id="{5EE3B165-4273-4820-9E19-8102CA9E567A}"/>
              </a:ext>
            </a:extLst>
          </p:cNvPr>
          <p:cNvSpPr/>
          <p:nvPr/>
        </p:nvSpPr>
        <p:spPr bwMode="gray">
          <a:xfrm flipH="1" flipV="1">
            <a:off x="9708175" y="3879274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10" name="Right Triangle 1909">
            <a:extLst>
              <a:ext uri="{FF2B5EF4-FFF2-40B4-BE49-F238E27FC236}">
                <a16:creationId xmlns:a16="http://schemas.microsoft.com/office/drawing/2014/main" id="{F1F9E406-4998-4025-8A7A-BFEB88E3BFE7}"/>
              </a:ext>
            </a:extLst>
          </p:cNvPr>
          <p:cNvSpPr/>
          <p:nvPr/>
        </p:nvSpPr>
        <p:spPr bwMode="gray">
          <a:xfrm rot="10800000" flipH="1" flipV="1">
            <a:off x="9708176" y="3879274"/>
            <a:ext cx="971456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12" name="Right Triangle 1911">
            <a:extLst>
              <a:ext uri="{FF2B5EF4-FFF2-40B4-BE49-F238E27FC236}">
                <a16:creationId xmlns:a16="http://schemas.microsoft.com/office/drawing/2014/main" id="{C18674EB-E4BE-4A58-AB79-6A9E06C3C4FF}"/>
              </a:ext>
            </a:extLst>
          </p:cNvPr>
          <p:cNvSpPr/>
          <p:nvPr/>
        </p:nvSpPr>
        <p:spPr bwMode="gray">
          <a:xfrm rot="10800000" flipH="1">
            <a:off x="9708175" y="2910642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15" name="Right Triangle 1914">
            <a:extLst>
              <a:ext uri="{FF2B5EF4-FFF2-40B4-BE49-F238E27FC236}">
                <a16:creationId xmlns:a16="http://schemas.microsoft.com/office/drawing/2014/main" id="{6D5BE61D-BDBA-4391-99B9-65051A307B70}"/>
              </a:ext>
            </a:extLst>
          </p:cNvPr>
          <p:cNvSpPr/>
          <p:nvPr/>
        </p:nvSpPr>
        <p:spPr bwMode="gray">
          <a:xfrm flipH="1">
            <a:off x="9708175" y="1942028"/>
            <a:ext cx="971456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16" name="Right Triangle 1915">
            <a:extLst>
              <a:ext uri="{FF2B5EF4-FFF2-40B4-BE49-F238E27FC236}">
                <a16:creationId xmlns:a16="http://schemas.microsoft.com/office/drawing/2014/main" id="{05ED0F0E-8D28-4555-9217-CB6761C745B3}"/>
              </a:ext>
            </a:extLst>
          </p:cNvPr>
          <p:cNvSpPr/>
          <p:nvPr/>
        </p:nvSpPr>
        <p:spPr bwMode="gray">
          <a:xfrm rot="10800000" flipH="1">
            <a:off x="9708175" y="1942028"/>
            <a:ext cx="971456" cy="971203"/>
          </a:xfrm>
          <a:prstGeom prst="rtTriangle">
            <a:avLst/>
          </a:prstGeom>
          <a:solidFill>
            <a:sysClr val="window" lastClr="FFFFFF">
              <a:alpha val="1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9" name="Freeform: Shape 228">
            <a:extLst>
              <a:ext uri="{FF2B5EF4-FFF2-40B4-BE49-F238E27FC236}">
                <a16:creationId xmlns:a16="http://schemas.microsoft.com/office/drawing/2014/main" id="{AC5E1B3C-46B3-4CFA-9D39-CCA736118F51}"/>
              </a:ext>
            </a:extLst>
          </p:cNvPr>
          <p:cNvSpPr/>
          <p:nvPr/>
        </p:nvSpPr>
        <p:spPr bwMode="gray">
          <a:xfrm flipH="1">
            <a:off x="11651991" y="3880558"/>
            <a:ext cx="2572" cy="1286"/>
          </a:xfrm>
          <a:custGeom>
            <a:avLst/>
            <a:gdLst>
              <a:gd name="connsiteX0" fmla="*/ 1286 w 2571"/>
              <a:gd name="connsiteY0" fmla="*/ 0 h 1286"/>
              <a:gd name="connsiteX1" fmla="*/ 0 w 2571"/>
              <a:gd name="connsiteY1" fmla="*/ 1286 h 1286"/>
              <a:gd name="connsiteX2" fmla="*/ 2571 w 2571"/>
              <a:gd name="connsiteY2" fmla="*/ 1286 h 1286"/>
              <a:gd name="connsiteX3" fmla="*/ 2571 w 2571"/>
              <a:gd name="connsiteY3" fmla="*/ 1285 h 1286"/>
              <a:gd name="connsiteX4" fmla="*/ 1286 w 2571"/>
              <a:gd name="connsiteY4" fmla="*/ 0 h 1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71" h="1286">
                <a:moveTo>
                  <a:pt x="1286" y="0"/>
                </a:moveTo>
                <a:lnTo>
                  <a:pt x="0" y="1286"/>
                </a:lnTo>
                <a:lnTo>
                  <a:pt x="2571" y="1286"/>
                </a:lnTo>
                <a:lnTo>
                  <a:pt x="2571" y="1285"/>
                </a:lnTo>
                <a:lnTo>
                  <a:pt x="1286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8" name="Freeform: Shape 227">
            <a:extLst>
              <a:ext uri="{FF2B5EF4-FFF2-40B4-BE49-F238E27FC236}">
                <a16:creationId xmlns:a16="http://schemas.microsoft.com/office/drawing/2014/main" id="{19FA3AA0-F2EF-437E-ADCE-048194A33E72}"/>
              </a:ext>
            </a:extLst>
          </p:cNvPr>
          <p:cNvSpPr/>
          <p:nvPr/>
        </p:nvSpPr>
        <p:spPr bwMode="gray">
          <a:xfrm flipH="1">
            <a:off x="11654562" y="3881844"/>
            <a:ext cx="545060" cy="544918"/>
          </a:xfrm>
          <a:custGeom>
            <a:avLst/>
            <a:gdLst>
              <a:gd name="connsiteX0" fmla="*/ 544918 w 544918"/>
              <a:gd name="connsiteY0" fmla="*/ 0 h 544918"/>
              <a:gd name="connsiteX1" fmla="*/ 0 w 544918"/>
              <a:gd name="connsiteY1" fmla="*/ 0 h 544918"/>
              <a:gd name="connsiteX2" fmla="*/ 0 w 544918"/>
              <a:gd name="connsiteY2" fmla="*/ 544918 h 544918"/>
              <a:gd name="connsiteX3" fmla="*/ 544918 w 544918"/>
              <a:gd name="connsiteY3" fmla="*/ 0 h 544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4918" h="544918">
                <a:moveTo>
                  <a:pt x="544918" y="0"/>
                </a:moveTo>
                <a:lnTo>
                  <a:pt x="0" y="0"/>
                </a:lnTo>
                <a:lnTo>
                  <a:pt x="0" y="544918"/>
                </a:lnTo>
                <a:lnTo>
                  <a:pt x="544918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5" name="Freeform: Shape 224">
            <a:extLst>
              <a:ext uri="{FF2B5EF4-FFF2-40B4-BE49-F238E27FC236}">
                <a16:creationId xmlns:a16="http://schemas.microsoft.com/office/drawing/2014/main" id="{FDF9BFF8-7F41-48EA-A947-A6BBD48D6F33}"/>
              </a:ext>
            </a:extLst>
          </p:cNvPr>
          <p:cNvSpPr/>
          <p:nvPr/>
        </p:nvSpPr>
        <p:spPr bwMode="gray">
          <a:xfrm flipH="1">
            <a:off x="11651989" y="2365740"/>
            <a:ext cx="547633" cy="547490"/>
          </a:xfrm>
          <a:custGeom>
            <a:avLst/>
            <a:gdLst>
              <a:gd name="connsiteX0" fmla="*/ 0 w 547490"/>
              <a:gd name="connsiteY0" fmla="*/ 0 h 547490"/>
              <a:gd name="connsiteX1" fmla="*/ 0 w 547490"/>
              <a:gd name="connsiteY1" fmla="*/ 547490 h 547490"/>
              <a:gd name="connsiteX2" fmla="*/ 547490 w 547490"/>
              <a:gd name="connsiteY2" fmla="*/ 547490 h 547490"/>
              <a:gd name="connsiteX3" fmla="*/ 0 w 547490"/>
              <a:gd name="connsiteY3" fmla="*/ 0 h 547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7490" h="547490">
                <a:moveTo>
                  <a:pt x="0" y="0"/>
                </a:moveTo>
                <a:lnTo>
                  <a:pt x="0" y="547490"/>
                </a:lnTo>
                <a:lnTo>
                  <a:pt x="547490" y="547490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3" name="Freeform: Shape 222">
            <a:extLst>
              <a:ext uri="{FF2B5EF4-FFF2-40B4-BE49-F238E27FC236}">
                <a16:creationId xmlns:a16="http://schemas.microsoft.com/office/drawing/2014/main" id="{B0AC770F-5A24-4AA8-AF5E-FC8750033853}"/>
              </a:ext>
            </a:extLst>
          </p:cNvPr>
          <p:cNvSpPr/>
          <p:nvPr/>
        </p:nvSpPr>
        <p:spPr bwMode="gray">
          <a:xfrm flipH="1">
            <a:off x="11653276" y="3334354"/>
            <a:ext cx="546346" cy="547490"/>
          </a:xfrm>
          <a:custGeom>
            <a:avLst/>
            <a:gdLst>
              <a:gd name="connsiteX0" fmla="*/ 0 w 546204"/>
              <a:gd name="connsiteY0" fmla="*/ 0 h 547490"/>
              <a:gd name="connsiteX1" fmla="*/ 0 w 546204"/>
              <a:gd name="connsiteY1" fmla="*/ 547490 h 547490"/>
              <a:gd name="connsiteX2" fmla="*/ 544918 w 546204"/>
              <a:gd name="connsiteY2" fmla="*/ 547490 h 547490"/>
              <a:gd name="connsiteX3" fmla="*/ 546204 w 546204"/>
              <a:gd name="connsiteY3" fmla="*/ 546204 h 547490"/>
              <a:gd name="connsiteX4" fmla="*/ 0 w 546204"/>
              <a:gd name="connsiteY4" fmla="*/ 0 h 547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6204" h="547490">
                <a:moveTo>
                  <a:pt x="0" y="0"/>
                </a:moveTo>
                <a:lnTo>
                  <a:pt x="0" y="547490"/>
                </a:lnTo>
                <a:lnTo>
                  <a:pt x="544918" y="547490"/>
                </a:lnTo>
                <a:lnTo>
                  <a:pt x="546204" y="546204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2" name="Freeform: Shape 221">
            <a:extLst>
              <a:ext uri="{FF2B5EF4-FFF2-40B4-BE49-F238E27FC236}">
                <a16:creationId xmlns:a16="http://schemas.microsoft.com/office/drawing/2014/main" id="{DDD7B8D0-1B08-4A21-B557-E83E4BA75602}"/>
              </a:ext>
            </a:extLst>
          </p:cNvPr>
          <p:cNvSpPr/>
          <p:nvPr/>
        </p:nvSpPr>
        <p:spPr bwMode="gray">
          <a:xfrm flipH="1">
            <a:off x="11651991" y="3879273"/>
            <a:ext cx="1285" cy="2570"/>
          </a:xfrm>
          <a:custGeom>
            <a:avLst/>
            <a:gdLst>
              <a:gd name="connsiteX0" fmla="*/ 1285 w 1285"/>
              <a:gd name="connsiteY0" fmla="*/ 0 h 2570"/>
              <a:gd name="connsiteX1" fmla="*/ 0 w 1285"/>
              <a:gd name="connsiteY1" fmla="*/ 1285 h 2570"/>
              <a:gd name="connsiteX2" fmla="*/ 1285 w 1285"/>
              <a:gd name="connsiteY2" fmla="*/ 2570 h 2570"/>
              <a:gd name="connsiteX3" fmla="*/ 1285 w 1285"/>
              <a:gd name="connsiteY3" fmla="*/ 0 h 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5" h="2570">
                <a:moveTo>
                  <a:pt x="1285" y="0"/>
                </a:moveTo>
                <a:lnTo>
                  <a:pt x="0" y="1285"/>
                </a:lnTo>
                <a:lnTo>
                  <a:pt x="1285" y="2570"/>
                </a:lnTo>
                <a:lnTo>
                  <a:pt x="1285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1" name="Freeform: Shape 220">
            <a:extLst>
              <a:ext uri="{FF2B5EF4-FFF2-40B4-BE49-F238E27FC236}">
                <a16:creationId xmlns:a16="http://schemas.microsoft.com/office/drawing/2014/main" id="{CB5A6C26-DA04-4828-AA42-EBCEF28748D0}"/>
              </a:ext>
            </a:extLst>
          </p:cNvPr>
          <p:cNvSpPr/>
          <p:nvPr/>
        </p:nvSpPr>
        <p:spPr bwMode="gray">
          <a:xfrm flipH="1">
            <a:off x="11651991" y="3881844"/>
            <a:ext cx="547632" cy="968632"/>
          </a:xfrm>
          <a:custGeom>
            <a:avLst/>
            <a:gdLst>
              <a:gd name="connsiteX0" fmla="*/ 547489 w 547489"/>
              <a:gd name="connsiteY0" fmla="*/ 0 h 968632"/>
              <a:gd name="connsiteX1" fmla="*/ 544918 w 547489"/>
              <a:gd name="connsiteY1" fmla="*/ 0 h 968632"/>
              <a:gd name="connsiteX2" fmla="*/ 0 w 547489"/>
              <a:gd name="connsiteY2" fmla="*/ 544918 h 968632"/>
              <a:gd name="connsiteX3" fmla="*/ 0 w 547489"/>
              <a:gd name="connsiteY3" fmla="*/ 968632 h 968632"/>
              <a:gd name="connsiteX4" fmla="*/ 547489 w 547489"/>
              <a:gd name="connsiteY4" fmla="*/ 968632 h 968632"/>
              <a:gd name="connsiteX5" fmla="*/ 547489 w 547489"/>
              <a:gd name="connsiteY5" fmla="*/ 0 h 968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7489" h="968632">
                <a:moveTo>
                  <a:pt x="547489" y="0"/>
                </a:moveTo>
                <a:lnTo>
                  <a:pt x="544918" y="0"/>
                </a:lnTo>
                <a:lnTo>
                  <a:pt x="0" y="544918"/>
                </a:lnTo>
                <a:lnTo>
                  <a:pt x="0" y="968632"/>
                </a:lnTo>
                <a:lnTo>
                  <a:pt x="547489" y="968632"/>
                </a:lnTo>
                <a:lnTo>
                  <a:pt x="547489" y="0"/>
                </a:lnTo>
                <a:close/>
              </a:path>
            </a:pathLst>
          </a:cu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8" name="Freeform: Shape 217">
            <a:extLst>
              <a:ext uri="{FF2B5EF4-FFF2-40B4-BE49-F238E27FC236}">
                <a16:creationId xmlns:a16="http://schemas.microsoft.com/office/drawing/2014/main" id="{88159924-FDA3-448C-8010-DBEF3EB85746}"/>
              </a:ext>
            </a:extLst>
          </p:cNvPr>
          <p:cNvSpPr/>
          <p:nvPr/>
        </p:nvSpPr>
        <p:spPr bwMode="gray">
          <a:xfrm rot="10800000" flipH="1">
            <a:off x="11651991" y="3880557"/>
            <a:ext cx="2572" cy="1286"/>
          </a:xfrm>
          <a:custGeom>
            <a:avLst/>
            <a:gdLst>
              <a:gd name="connsiteX0" fmla="*/ 1285 w 2571"/>
              <a:gd name="connsiteY0" fmla="*/ 1286 h 1286"/>
              <a:gd name="connsiteX1" fmla="*/ 2571 w 2571"/>
              <a:gd name="connsiteY1" fmla="*/ 0 h 1286"/>
              <a:gd name="connsiteX2" fmla="*/ 0 w 2571"/>
              <a:gd name="connsiteY2" fmla="*/ 0 h 1286"/>
              <a:gd name="connsiteX3" fmla="*/ 0 w 2571"/>
              <a:gd name="connsiteY3" fmla="*/ 1 h 1286"/>
              <a:gd name="connsiteX4" fmla="*/ 1285 w 2571"/>
              <a:gd name="connsiteY4" fmla="*/ 1286 h 1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71" h="1286">
                <a:moveTo>
                  <a:pt x="1285" y="1286"/>
                </a:moveTo>
                <a:lnTo>
                  <a:pt x="2571" y="0"/>
                </a:lnTo>
                <a:lnTo>
                  <a:pt x="0" y="0"/>
                </a:lnTo>
                <a:lnTo>
                  <a:pt x="0" y="1"/>
                </a:lnTo>
                <a:lnTo>
                  <a:pt x="1285" y="1286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7" name="Freeform: Shape 216">
            <a:extLst>
              <a:ext uri="{FF2B5EF4-FFF2-40B4-BE49-F238E27FC236}">
                <a16:creationId xmlns:a16="http://schemas.microsoft.com/office/drawing/2014/main" id="{969C33E1-B136-43CD-AE39-A5CBB8735844}"/>
              </a:ext>
            </a:extLst>
          </p:cNvPr>
          <p:cNvSpPr/>
          <p:nvPr/>
        </p:nvSpPr>
        <p:spPr bwMode="gray">
          <a:xfrm rot="10800000" flipH="1">
            <a:off x="11654561" y="3881843"/>
            <a:ext cx="543790" cy="543648"/>
          </a:xfrm>
          <a:custGeom>
            <a:avLst/>
            <a:gdLst>
              <a:gd name="connsiteX0" fmla="*/ 0 w 543648"/>
              <a:gd name="connsiteY0" fmla="*/ 543648 h 543648"/>
              <a:gd name="connsiteX1" fmla="*/ 543648 w 543648"/>
              <a:gd name="connsiteY1" fmla="*/ 543648 h 543648"/>
              <a:gd name="connsiteX2" fmla="*/ 543648 w 543648"/>
              <a:gd name="connsiteY2" fmla="*/ 0 h 543648"/>
              <a:gd name="connsiteX3" fmla="*/ 0 w 543648"/>
              <a:gd name="connsiteY3" fmla="*/ 543648 h 543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3648" h="543648">
                <a:moveTo>
                  <a:pt x="0" y="543648"/>
                </a:moveTo>
                <a:lnTo>
                  <a:pt x="543648" y="543648"/>
                </a:lnTo>
                <a:lnTo>
                  <a:pt x="543648" y="0"/>
                </a:lnTo>
                <a:lnTo>
                  <a:pt x="0" y="543648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4" name="Freeform: Shape 213">
            <a:extLst>
              <a:ext uri="{FF2B5EF4-FFF2-40B4-BE49-F238E27FC236}">
                <a16:creationId xmlns:a16="http://schemas.microsoft.com/office/drawing/2014/main" id="{C90144CD-CCF9-4EFE-84E7-014729DB2848}"/>
              </a:ext>
            </a:extLst>
          </p:cNvPr>
          <p:cNvSpPr/>
          <p:nvPr/>
        </p:nvSpPr>
        <p:spPr bwMode="gray">
          <a:xfrm rot="10800000" flipH="1">
            <a:off x="11651989" y="1942028"/>
            <a:ext cx="546362" cy="971203"/>
          </a:xfrm>
          <a:custGeom>
            <a:avLst/>
            <a:gdLst>
              <a:gd name="connsiteX0" fmla="*/ 0 w 546220"/>
              <a:gd name="connsiteY0" fmla="*/ 971203 h 971203"/>
              <a:gd name="connsiteX1" fmla="*/ 546220 w 546220"/>
              <a:gd name="connsiteY1" fmla="*/ 971203 h 971203"/>
              <a:gd name="connsiteX2" fmla="*/ 546220 w 546220"/>
              <a:gd name="connsiteY2" fmla="*/ 546220 h 971203"/>
              <a:gd name="connsiteX3" fmla="*/ 0 w 546220"/>
              <a:gd name="connsiteY3" fmla="*/ 0 h 971203"/>
              <a:gd name="connsiteX4" fmla="*/ 0 w 546220"/>
              <a:gd name="connsiteY4" fmla="*/ 971203 h 971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6220" h="971203">
                <a:moveTo>
                  <a:pt x="0" y="971203"/>
                </a:moveTo>
                <a:lnTo>
                  <a:pt x="546220" y="971203"/>
                </a:lnTo>
                <a:lnTo>
                  <a:pt x="546220" y="546220"/>
                </a:lnTo>
                <a:lnTo>
                  <a:pt x="0" y="0"/>
                </a:lnTo>
                <a:lnTo>
                  <a:pt x="0" y="971203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3" name="Freeform: Shape 212">
            <a:extLst>
              <a:ext uri="{FF2B5EF4-FFF2-40B4-BE49-F238E27FC236}">
                <a16:creationId xmlns:a16="http://schemas.microsoft.com/office/drawing/2014/main" id="{4B31D812-5C48-4B80-8E11-C181C38366FA}"/>
              </a:ext>
            </a:extLst>
          </p:cNvPr>
          <p:cNvSpPr/>
          <p:nvPr/>
        </p:nvSpPr>
        <p:spPr bwMode="gray">
          <a:xfrm rot="10800000" flipH="1">
            <a:off x="11653275" y="3335623"/>
            <a:ext cx="545076" cy="546220"/>
          </a:xfrm>
          <a:custGeom>
            <a:avLst/>
            <a:gdLst>
              <a:gd name="connsiteX0" fmla="*/ 544934 w 544934"/>
              <a:gd name="connsiteY0" fmla="*/ 546220 h 546220"/>
              <a:gd name="connsiteX1" fmla="*/ 544934 w 544934"/>
              <a:gd name="connsiteY1" fmla="*/ 0 h 546220"/>
              <a:gd name="connsiteX2" fmla="*/ 1286 w 544934"/>
              <a:gd name="connsiteY2" fmla="*/ 0 h 546220"/>
              <a:gd name="connsiteX3" fmla="*/ 0 w 544934"/>
              <a:gd name="connsiteY3" fmla="*/ 1286 h 546220"/>
              <a:gd name="connsiteX4" fmla="*/ 544934 w 544934"/>
              <a:gd name="connsiteY4" fmla="*/ 546220 h 54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4934" h="546220">
                <a:moveTo>
                  <a:pt x="544934" y="546220"/>
                </a:moveTo>
                <a:lnTo>
                  <a:pt x="544934" y="0"/>
                </a:lnTo>
                <a:lnTo>
                  <a:pt x="1286" y="0"/>
                </a:lnTo>
                <a:lnTo>
                  <a:pt x="0" y="1286"/>
                </a:lnTo>
                <a:lnTo>
                  <a:pt x="544934" y="54622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2" name="Freeform: Shape 211">
            <a:extLst>
              <a:ext uri="{FF2B5EF4-FFF2-40B4-BE49-F238E27FC236}">
                <a16:creationId xmlns:a16="http://schemas.microsoft.com/office/drawing/2014/main" id="{A9F0B558-8DF2-447D-B052-3931855F11FC}"/>
              </a:ext>
            </a:extLst>
          </p:cNvPr>
          <p:cNvSpPr/>
          <p:nvPr/>
        </p:nvSpPr>
        <p:spPr bwMode="gray">
          <a:xfrm rot="10800000" flipH="1">
            <a:off x="11651991" y="3879272"/>
            <a:ext cx="1285" cy="2570"/>
          </a:xfrm>
          <a:custGeom>
            <a:avLst/>
            <a:gdLst>
              <a:gd name="connsiteX0" fmla="*/ 0 w 1285"/>
              <a:gd name="connsiteY0" fmla="*/ 2570 h 2570"/>
              <a:gd name="connsiteX1" fmla="*/ 1285 w 1285"/>
              <a:gd name="connsiteY1" fmla="*/ 1285 h 2570"/>
              <a:gd name="connsiteX2" fmla="*/ 0 w 1285"/>
              <a:gd name="connsiteY2" fmla="*/ 0 h 2570"/>
              <a:gd name="connsiteX3" fmla="*/ 0 w 1285"/>
              <a:gd name="connsiteY3" fmla="*/ 2570 h 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5" h="2570">
                <a:moveTo>
                  <a:pt x="0" y="2570"/>
                </a:moveTo>
                <a:lnTo>
                  <a:pt x="1285" y="1285"/>
                </a:lnTo>
                <a:lnTo>
                  <a:pt x="0" y="0"/>
                </a:lnTo>
                <a:lnTo>
                  <a:pt x="0" y="2570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1" name="Freeform: Shape 210">
            <a:extLst>
              <a:ext uri="{FF2B5EF4-FFF2-40B4-BE49-F238E27FC236}">
                <a16:creationId xmlns:a16="http://schemas.microsoft.com/office/drawing/2014/main" id="{DCA9266A-3540-4755-B797-3A415AFFB846}"/>
              </a:ext>
            </a:extLst>
          </p:cNvPr>
          <p:cNvSpPr/>
          <p:nvPr/>
        </p:nvSpPr>
        <p:spPr bwMode="gray">
          <a:xfrm rot="10800000" flipH="1">
            <a:off x="11651991" y="3881843"/>
            <a:ext cx="546361" cy="968632"/>
          </a:xfrm>
          <a:custGeom>
            <a:avLst/>
            <a:gdLst>
              <a:gd name="connsiteX0" fmla="*/ 0 w 546219"/>
              <a:gd name="connsiteY0" fmla="*/ 968632 h 968632"/>
              <a:gd name="connsiteX1" fmla="*/ 2571 w 546219"/>
              <a:gd name="connsiteY1" fmla="*/ 968632 h 968632"/>
              <a:gd name="connsiteX2" fmla="*/ 546219 w 546219"/>
              <a:gd name="connsiteY2" fmla="*/ 424984 h 968632"/>
              <a:gd name="connsiteX3" fmla="*/ 546219 w 546219"/>
              <a:gd name="connsiteY3" fmla="*/ 0 h 968632"/>
              <a:gd name="connsiteX4" fmla="*/ 0 w 546219"/>
              <a:gd name="connsiteY4" fmla="*/ 0 h 968632"/>
              <a:gd name="connsiteX5" fmla="*/ 0 w 546219"/>
              <a:gd name="connsiteY5" fmla="*/ 968632 h 968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6219" h="968632">
                <a:moveTo>
                  <a:pt x="0" y="968632"/>
                </a:moveTo>
                <a:lnTo>
                  <a:pt x="2571" y="968632"/>
                </a:lnTo>
                <a:lnTo>
                  <a:pt x="546219" y="424984"/>
                </a:lnTo>
                <a:lnTo>
                  <a:pt x="546219" y="0"/>
                </a:lnTo>
                <a:lnTo>
                  <a:pt x="0" y="0"/>
                </a:lnTo>
                <a:lnTo>
                  <a:pt x="0" y="968632"/>
                </a:lnTo>
                <a:close/>
              </a:path>
            </a:pathLst>
          </a:cu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29" name="Right Triangle 1928">
            <a:extLst>
              <a:ext uri="{FF2B5EF4-FFF2-40B4-BE49-F238E27FC236}">
                <a16:creationId xmlns:a16="http://schemas.microsoft.com/office/drawing/2014/main" id="{1A17EDC8-CE1B-4CD2-8335-693D7D36208D}"/>
              </a:ext>
            </a:extLst>
          </p:cNvPr>
          <p:cNvSpPr/>
          <p:nvPr/>
        </p:nvSpPr>
        <p:spPr bwMode="gray">
          <a:xfrm flipV="1">
            <a:off x="10680083" y="3879274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30" name="Right Triangle 1929">
            <a:extLst>
              <a:ext uri="{FF2B5EF4-FFF2-40B4-BE49-F238E27FC236}">
                <a16:creationId xmlns:a16="http://schemas.microsoft.com/office/drawing/2014/main" id="{32211C5B-F93E-46B8-91F9-81B3CC430F4A}"/>
              </a:ext>
            </a:extLst>
          </p:cNvPr>
          <p:cNvSpPr/>
          <p:nvPr/>
        </p:nvSpPr>
        <p:spPr bwMode="gray">
          <a:xfrm rot="10800000" flipV="1">
            <a:off x="10680084" y="3879274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32" name="Right Triangle 1931">
            <a:extLst>
              <a:ext uri="{FF2B5EF4-FFF2-40B4-BE49-F238E27FC236}">
                <a16:creationId xmlns:a16="http://schemas.microsoft.com/office/drawing/2014/main" id="{C354B561-AC71-4339-9C52-AF1DD5D8E84E}"/>
              </a:ext>
            </a:extLst>
          </p:cNvPr>
          <p:cNvSpPr/>
          <p:nvPr/>
        </p:nvSpPr>
        <p:spPr bwMode="gray">
          <a:xfrm>
            <a:off x="10680083" y="2910642"/>
            <a:ext cx="971456" cy="971203"/>
          </a:xfrm>
          <a:prstGeom prst="rtTriangle">
            <a:avLst/>
          </a:prstGeom>
          <a:solidFill>
            <a:sysClr val="window" lastClr="FFFFFF">
              <a:alpha val="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33" name="Right Triangle 1932">
            <a:extLst>
              <a:ext uri="{FF2B5EF4-FFF2-40B4-BE49-F238E27FC236}">
                <a16:creationId xmlns:a16="http://schemas.microsoft.com/office/drawing/2014/main" id="{F5BEC7E4-9BF3-4726-9719-B4AD64A02B4E}"/>
              </a:ext>
            </a:extLst>
          </p:cNvPr>
          <p:cNvSpPr/>
          <p:nvPr/>
        </p:nvSpPr>
        <p:spPr bwMode="gray">
          <a:xfrm rot="10800000">
            <a:off x="10680083" y="2910642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35" name="Right Triangle 1934">
            <a:extLst>
              <a:ext uri="{FF2B5EF4-FFF2-40B4-BE49-F238E27FC236}">
                <a16:creationId xmlns:a16="http://schemas.microsoft.com/office/drawing/2014/main" id="{DE653FB1-2AF9-4CE6-A301-ED6C510FA426}"/>
              </a:ext>
            </a:extLst>
          </p:cNvPr>
          <p:cNvSpPr/>
          <p:nvPr/>
        </p:nvSpPr>
        <p:spPr bwMode="gray">
          <a:xfrm>
            <a:off x="10680083" y="1942028"/>
            <a:ext cx="971456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36" name="Right Triangle 1935">
            <a:extLst>
              <a:ext uri="{FF2B5EF4-FFF2-40B4-BE49-F238E27FC236}">
                <a16:creationId xmlns:a16="http://schemas.microsoft.com/office/drawing/2014/main" id="{F1410CEB-F7C1-4F72-A067-D9EA57311881}"/>
              </a:ext>
            </a:extLst>
          </p:cNvPr>
          <p:cNvSpPr/>
          <p:nvPr/>
        </p:nvSpPr>
        <p:spPr bwMode="gray">
          <a:xfrm rot="10800000">
            <a:off x="10680083" y="1942028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40" name="Right Triangle 1939">
            <a:extLst>
              <a:ext uri="{FF2B5EF4-FFF2-40B4-BE49-F238E27FC236}">
                <a16:creationId xmlns:a16="http://schemas.microsoft.com/office/drawing/2014/main" id="{7D3E491A-0D22-4238-B3A1-3B24622C460F}"/>
              </a:ext>
            </a:extLst>
          </p:cNvPr>
          <p:cNvSpPr/>
          <p:nvPr/>
        </p:nvSpPr>
        <p:spPr bwMode="gray">
          <a:xfrm flipV="1">
            <a:off x="4853815" y="3879274"/>
            <a:ext cx="971456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41" name="Right Triangle 1940">
            <a:extLst>
              <a:ext uri="{FF2B5EF4-FFF2-40B4-BE49-F238E27FC236}">
                <a16:creationId xmlns:a16="http://schemas.microsoft.com/office/drawing/2014/main" id="{3375337F-16F5-42A7-9F6E-F6C29C0A1F13}"/>
              </a:ext>
            </a:extLst>
          </p:cNvPr>
          <p:cNvSpPr/>
          <p:nvPr/>
        </p:nvSpPr>
        <p:spPr bwMode="gray">
          <a:xfrm rot="10800000" flipV="1">
            <a:off x="4853816" y="3879274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44" name="Right Triangle 1943">
            <a:extLst>
              <a:ext uri="{FF2B5EF4-FFF2-40B4-BE49-F238E27FC236}">
                <a16:creationId xmlns:a16="http://schemas.microsoft.com/office/drawing/2014/main" id="{3BF4CE44-35C7-4950-9407-D01B1056BDA9}"/>
              </a:ext>
            </a:extLst>
          </p:cNvPr>
          <p:cNvSpPr/>
          <p:nvPr/>
        </p:nvSpPr>
        <p:spPr bwMode="gray">
          <a:xfrm>
            <a:off x="4853815" y="2910642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45" name="Right Triangle 1944">
            <a:extLst>
              <a:ext uri="{FF2B5EF4-FFF2-40B4-BE49-F238E27FC236}">
                <a16:creationId xmlns:a16="http://schemas.microsoft.com/office/drawing/2014/main" id="{88C4A149-5042-458D-861D-516DF9C62184}"/>
              </a:ext>
            </a:extLst>
          </p:cNvPr>
          <p:cNvSpPr/>
          <p:nvPr/>
        </p:nvSpPr>
        <p:spPr bwMode="gray">
          <a:xfrm rot="10800000">
            <a:off x="4853816" y="2910642"/>
            <a:ext cx="971456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48" name="Right Triangle 1947">
            <a:extLst>
              <a:ext uri="{FF2B5EF4-FFF2-40B4-BE49-F238E27FC236}">
                <a16:creationId xmlns:a16="http://schemas.microsoft.com/office/drawing/2014/main" id="{B1E84913-8781-4BF2-A9B8-3F93C2ED5B44}"/>
              </a:ext>
            </a:extLst>
          </p:cNvPr>
          <p:cNvSpPr/>
          <p:nvPr/>
        </p:nvSpPr>
        <p:spPr bwMode="gray">
          <a:xfrm>
            <a:off x="4853815" y="1935284"/>
            <a:ext cx="971456" cy="971203"/>
          </a:xfrm>
          <a:prstGeom prst="rtTriangle">
            <a:avLst/>
          </a:prstGeom>
          <a:solidFill>
            <a:sysClr val="window" lastClr="FFFFFF">
              <a:alpha val="7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49" name="Right Triangle 1948">
            <a:extLst>
              <a:ext uri="{FF2B5EF4-FFF2-40B4-BE49-F238E27FC236}">
                <a16:creationId xmlns:a16="http://schemas.microsoft.com/office/drawing/2014/main" id="{92238CB4-814A-4247-9BA6-25C7C4F20C40}"/>
              </a:ext>
            </a:extLst>
          </p:cNvPr>
          <p:cNvSpPr/>
          <p:nvPr/>
        </p:nvSpPr>
        <p:spPr bwMode="gray">
          <a:xfrm rot="10800000">
            <a:off x="4853816" y="1942028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54" name="Right Triangle 1953">
            <a:extLst>
              <a:ext uri="{FF2B5EF4-FFF2-40B4-BE49-F238E27FC236}">
                <a16:creationId xmlns:a16="http://schemas.microsoft.com/office/drawing/2014/main" id="{F97D4B2A-624C-4F0B-A240-99FAF3ED0363}"/>
              </a:ext>
            </a:extLst>
          </p:cNvPr>
          <p:cNvSpPr/>
          <p:nvPr/>
        </p:nvSpPr>
        <p:spPr bwMode="gray">
          <a:xfrm flipH="1" flipV="1">
            <a:off x="5822227" y="3879274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56" name="Right Triangle 1955">
            <a:extLst>
              <a:ext uri="{FF2B5EF4-FFF2-40B4-BE49-F238E27FC236}">
                <a16:creationId xmlns:a16="http://schemas.microsoft.com/office/drawing/2014/main" id="{08471D48-809B-47B7-ADF7-31302F343639}"/>
              </a:ext>
            </a:extLst>
          </p:cNvPr>
          <p:cNvSpPr/>
          <p:nvPr/>
        </p:nvSpPr>
        <p:spPr bwMode="gray">
          <a:xfrm flipH="1">
            <a:off x="5822227" y="2910642"/>
            <a:ext cx="971456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57" name="Right Triangle 1956">
            <a:extLst>
              <a:ext uri="{FF2B5EF4-FFF2-40B4-BE49-F238E27FC236}">
                <a16:creationId xmlns:a16="http://schemas.microsoft.com/office/drawing/2014/main" id="{5FBBD2AD-7E7A-4AF8-ADE7-5917EB76A144}"/>
              </a:ext>
            </a:extLst>
          </p:cNvPr>
          <p:cNvSpPr/>
          <p:nvPr/>
        </p:nvSpPr>
        <p:spPr bwMode="gray">
          <a:xfrm rot="10800000" flipH="1">
            <a:off x="5822227" y="2910642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59" name="Right Triangle 1958">
            <a:extLst>
              <a:ext uri="{FF2B5EF4-FFF2-40B4-BE49-F238E27FC236}">
                <a16:creationId xmlns:a16="http://schemas.microsoft.com/office/drawing/2014/main" id="{221563F9-8BA0-454A-A09A-8E732A94465F}"/>
              </a:ext>
            </a:extLst>
          </p:cNvPr>
          <p:cNvSpPr/>
          <p:nvPr/>
        </p:nvSpPr>
        <p:spPr bwMode="gray">
          <a:xfrm flipH="1">
            <a:off x="5822227" y="1942028"/>
            <a:ext cx="971456" cy="971203"/>
          </a:xfrm>
          <a:prstGeom prst="rtTriangle">
            <a:avLst/>
          </a:prstGeom>
          <a:solidFill>
            <a:sysClr val="window" lastClr="FFFFFF">
              <a:alpha val="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60" name="Right Triangle 1959">
            <a:extLst>
              <a:ext uri="{FF2B5EF4-FFF2-40B4-BE49-F238E27FC236}">
                <a16:creationId xmlns:a16="http://schemas.microsoft.com/office/drawing/2014/main" id="{8F694D62-B3D5-45BE-8E68-322292921C60}"/>
              </a:ext>
            </a:extLst>
          </p:cNvPr>
          <p:cNvSpPr/>
          <p:nvPr/>
        </p:nvSpPr>
        <p:spPr bwMode="gray">
          <a:xfrm rot="10800000" flipH="1">
            <a:off x="5822228" y="1942028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95" name="Rectangle 1694">
            <a:extLst>
              <a:ext uri="{FF2B5EF4-FFF2-40B4-BE49-F238E27FC236}">
                <a16:creationId xmlns:a16="http://schemas.microsoft.com/office/drawing/2014/main" id="{CF0B000B-1602-4E1A-8914-3360980A796A}"/>
              </a:ext>
            </a:extLst>
          </p:cNvPr>
          <p:cNvSpPr/>
          <p:nvPr/>
        </p:nvSpPr>
        <p:spPr bwMode="gray">
          <a:xfrm>
            <a:off x="2908" y="1942027"/>
            <a:ext cx="4850906" cy="2908450"/>
          </a:xfrm>
          <a:prstGeom prst="rect">
            <a:avLst/>
          </a:prstGeom>
          <a:solidFill>
            <a:srgbClr val="C6C6C8">
              <a:lumMod val="40000"/>
              <a:lumOff val="6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698" name="Right Triangle 1697">
            <a:extLst>
              <a:ext uri="{FF2B5EF4-FFF2-40B4-BE49-F238E27FC236}">
                <a16:creationId xmlns:a16="http://schemas.microsoft.com/office/drawing/2014/main" id="{8A967AB6-1A35-4BA9-B02C-1987FF6DF036}"/>
              </a:ext>
            </a:extLst>
          </p:cNvPr>
          <p:cNvSpPr/>
          <p:nvPr/>
        </p:nvSpPr>
        <p:spPr bwMode="gray">
          <a:xfrm flipV="1">
            <a:off x="1942899" y="3879274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01" name="Right Triangle 1700">
            <a:extLst>
              <a:ext uri="{FF2B5EF4-FFF2-40B4-BE49-F238E27FC236}">
                <a16:creationId xmlns:a16="http://schemas.microsoft.com/office/drawing/2014/main" id="{65BEB17A-3527-47DA-B83A-44D0DE236CCA}"/>
              </a:ext>
            </a:extLst>
          </p:cNvPr>
          <p:cNvSpPr/>
          <p:nvPr/>
        </p:nvSpPr>
        <p:spPr bwMode="gray">
          <a:xfrm>
            <a:off x="1942899" y="2910642"/>
            <a:ext cx="971456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03" name="Right Triangle 1702">
            <a:extLst>
              <a:ext uri="{FF2B5EF4-FFF2-40B4-BE49-F238E27FC236}">
                <a16:creationId xmlns:a16="http://schemas.microsoft.com/office/drawing/2014/main" id="{075412DE-7A4B-4274-B4F3-F3723B393212}"/>
              </a:ext>
            </a:extLst>
          </p:cNvPr>
          <p:cNvSpPr/>
          <p:nvPr/>
        </p:nvSpPr>
        <p:spPr bwMode="gray">
          <a:xfrm>
            <a:off x="1942899" y="1942028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04" name="Right Triangle 1703">
            <a:extLst>
              <a:ext uri="{FF2B5EF4-FFF2-40B4-BE49-F238E27FC236}">
                <a16:creationId xmlns:a16="http://schemas.microsoft.com/office/drawing/2014/main" id="{94D95818-DDBE-4E10-B3B5-517E8DB9AD54}"/>
              </a:ext>
            </a:extLst>
          </p:cNvPr>
          <p:cNvSpPr/>
          <p:nvPr/>
        </p:nvSpPr>
        <p:spPr bwMode="gray">
          <a:xfrm rot="10800000">
            <a:off x="1942900" y="1942028"/>
            <a:ext cx="971456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08" name="Right Triangle 1707">
            <a:extLst>
              <a:ext uri="{FF2B5EF4-FFF2-40B4-BE49-F238E27FC236}">
                <a16:creationId xmlns:a16="http://schemas.microsoft.com/office/drawing/2014/main" id="{B48F1ECF-5DCA-4DD5-ABA6-B080228C92B6}"/>
              </a:ext>
            </a:extLst>
          </p:cNvPr>
          <p:cNvSpPr/>
          <p:nvPr/>
        </p:nvSpPr>
        <p:spPr bwMode="gray">
          <a:xfrm flipH="1" flipV="1">
            <a:off x="2914355" y="3879274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09" name="Right Triangle 1708">
            <a:extLst>
              <a:ext uri="{FF2B5EF4-FFF2-40B4-BE49-F238E27FC236}">
                <a16:creationId xmlns:a16="http://schemas.microsoft.com/office/drawing/2014/main" id="{5C85BD51-83F7-4323-B529-4720D347A7F1}"/>
              </a:ext>
            </a:extLst>
          </p:cNvPr>
          <p:cNvSpPr/>
          <p:nvPr/>
        </p:nvSpPr>
        <p:spPr bwMode="gray">
          <a:xfrm rot="10800000" flipH="1" flipV="1">
            <a:off x="2914356" y="3879274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11" name="Right Triangle 1710">
            <a:extLst>
              <a:ext uri="{FF2B5EF4-FFF2-40B4-BE49-F238E27FC236}">
                <a16:creationId xmlns:a16="http://schemas.microsoft.com/office/drawing/2014/main" id="{8F90C316-3E5C-4804-9F3A-269CB3F78CC7}"/>
              </a:ext>
            </a:extLst>
          </p:cNvPr>
          <p:cNvSpPr/>
          <p:nvPr/>
        </p:nvSpPr>
        <p:spPr bwMode="gray">
          <a:xfrm flipH="1">
            <a:off x="2914355" y="2910642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12" name="Right Triangle 1711">
            <a:extLst>
              <a:ext uri="{FF2B5EF4-FFF2-40B4-BE49-F238E27FC236}">
                <a16:creationId xmlns:a16="http://schemas.microsoft.com/office/drawing/2014/main" id="{AD24879C-6330-40AC-B990-9E00C001F11C}"/>
              </a:ext>
            </a:extLst>
          </p:cNvPr>
          <p:cNvSpPr/>
          <p:nvPr/>
        </p:nvSpPr>
        <p:spPr bwMode="gray">
          <a:xfrm rot="10800000" flipH="1">
            <a:off x="2914356" y="2910642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15" name="Right Triangle 1714">
            <a:extLst>
              <a:ext uri="{FF2B5EF4-FFF2-40B4-BE49-F238E27FC236}">
                <a16:creationId xmlns:a16="http://schemas.microsoft.com/office/drawing/2014/main" id="{B3C2894D-717C-4C61-9CF6-EAA63EBFD4F8}"/>
              </a:ext>
            </a:extLst>
          </p:cNvPr>
          <p:cNvSpPr/>
          <p:nvPr/>
        </p:nvSpPr>
        <p:spPr bwMode="gray">
          <a:xfrm flipH="1">
            <a:off x="2914355" y="1942028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16" name="Right Triangle 1715">
            <a:extLst>
              <a:ext uri="{FF2B5EF4-FFF2-40B4-BE49-F238E27FC236}">
                <a16:creationId xmlns:a16="http://schemas.microsoft.com/office/drawing/2014/main" id="{F9464778-02DF-4573-9DBF-1E10BCA9673E}"/>
              </a:ext>
            </a:extLst>
          </p:cNvPr>
          <p:cNvSpPr/>
          <p:nvPr/>
        </p:nvSpPr>
        <p:spPr bwMode="gray">
          <a:xfrm rot="10800000" flipH="1">
            <a:off x="2914356" y="1942028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21" name="Right Triangle 1720">
            <a:extLst>
              <a:ext uri="{FF2B5EF4-FFF2-40B4-BE49-F238E27FC236}">
                <a16:creationId xmlns:a16="http://schemas.microsoft.com/office/drawing/2014/main" id="{C7EA8E37-7EEC-4358-8695-4EC9D0C5BA34}"/>
              </a:ext>
            </a:extLst>
          </p:cNvPr>
          <p:cNvSpPr/>
          <p:nvPr/>
        </p:nvSpPr>
        <p:spPr bwMode="gray">
          <a:xfrm flipV="1">
            <a:off x="3885811" y="3879274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24" name="Right Triangle 1723">
            <a:extLst>
              <a:ext uri="{FF2B5EF4-FFF2-40B4-BE49-F238E27FC236}">
                <a16:creationId xmlns:a16="http://schemas.microsoft.com/office/drawing/2014/main" id="{60949105-9A34-4BC1-9978-C6B2FFBF0256}"/>
              </a:ext>
            </a:extLst>
          </p:cNvPr>
          <p:cNvSpPr/>
          <p:nvPr/>
        </p:nvSpPr>
        <p:spPr bwMode="gray">
          <a:xfrm>
            <a:off x="3885811" y="2910642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25" name="Right Triangle 1724">
            <a:extLst>
              <a:ext uri="{FF2B5EF4-FFF2-40B4-BE49-F238E27FC236}">
                <a16:creationId xmlns:a16="http://schemas.microsoft.com/office/drawing/2014/main" id="{547950FC-DFEB-4A82-9A35-B44D1EE3CE1D}"/>
              </a:ext>
            </a:extLst>
          </p:cNvPr>
          <p:cNvSpPr/>
          <p:nvPr/>
        </p:nvSpPr>
        <p:spPr bwMode="gray">
          <a:xfrm rot="10800000">
            <a:off x="3885811" y="2910642"/>
            <a:ext cx="971456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27" name="Right Triangle 1726">
            <a:extLst>
              <a:ext uri="{FF2B5EF4-FFF2-40B4-BE49-F238E27FC236}">
                <a16:creationId xmlns:a16="http://schemas.microsoft.com/office/drawing/2014/main" id="{5A9B53D1-7AD2-4A7F-B91E-BCC2DC20EA4F}"/>
              </a:ext>
            </a:extLst>
          </p:cNvPr>
          <p:cNvSpPr/>
          <p:nvPr/>
        </p:nvSpPr>
        <p:spPr bwMode="gray">
          <a:xfrm rot="10800000">
            <a:off x="3885811" y="1942028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31" name="Right Triangle 1730">
            <a:extLst>
              <a:ext uri="{FF2B5EF4-FFF2-40B4-BE49-F238E27FC236}">
                <a16:creationId xmlns:a16="http://schemas.microsoft.com/office/drawing/2014/main" id="{01CD94E0-0488-4EC6-A6F3-ADBE8B1F213B}"/>
              </a:ext>
            </a:extLst>
          </p:cNvPr>
          <p:cNvSpPr/>
          <p:nvPr/>
        </p:nvSpPr>
        <p:spPr bwMode="gray">
          <a:xfrm flipV="1">
            <a:off x="2908" y="3879274"/>
            <a:ext cx="971456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32" name="Right Triangle 1731">
            <a:extLst>
              <a:ext uri="{FF2B5EF4-FFF2-40B4-BE49-F238E27FC236}">
                <a16:creationId xmlns:a16="http://schemas.microsoft.com/office/drawing/2014/main" id="{BFC1ADAC-57C0-402C-9D6C-09B69D1036E0}"/>
              </a:ext>
            </a:extLst>
          </p:cNvPr>
          <p:cNvSpPr/>
          <p:nvPr/>
        </p:nvSpPr>
        <p:spPr bwMode="gray">
          <a:xfrm rot="10800000" flipV="1">
            <a:off x="2909" y="3879274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35" name="Right Triangle 1734">
            <a:extLst>
              <a:ext uri="{FF2B5EF4-FFF2-40B4-BE49-F238E27FC236}">
                <a16:creationId xmlns:a16="http://schemas.microsoft.com/office/drawing/2014/main" id="{62E7957D-308B-4C70-BC13-C5ECACED85B2}"/>
              </a:ext>
            </a:extLst>
          </p:cNvPr>
          <p:cNvSpPr/>
          <p:nvPr/>
        </p:nvSpPr>
        <p:spPr bwMode="gray">
          <a:xfrm>
            <a:off x="2908" y="2910642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36" name="Right Triangle 1735">
            <a:extLst>
              <a:ext uri="{FF2B5EF4-FFF2-40B4-BE49-F238E27FC236}">
                <a16:creationId xmlns:a16="http://schemas.microsoft.com/office/drawing/2014/main" id="{616EC3B2-7AE3-4B29-9B6F-09EC1F376CD5}"/>
              </a:ext>
            </a:extLst>
          </p:cNvPr>
          <p:cNvSpPr/>
          <p:nvPr/>
        </p:nvSpPr>
        <p:spPr bwMode="gray">
          <a:xfrm rot="10800000">
            <a:off x="2909" y="2910642"/>
            <a:ext cx="971456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39" name="Right Triangle 1738">
            <a:extLst>
              <a:ext uri="{FF2B5EF4-FFF2-40B4-BE49-F238E27FC236}">
                <a16:creationId xmlns:a16="http://schemas.microsoft.com/office/drawing/2014/main" id="{B314C31D-AEF2-4F11-9551-DBA6BB14A6F0}"/>
              </a:ext>
            </a:extLst>
          </p:cNvPr>
          <p:cNvSpPr/>
          <p:nvPr/>
        </p:nvSpPr>
        <p:spPr bwMode="gray">
          <a:xfrm>
            <a:off x="2908" y="1935284"/>
            <a:ext cx="971456" cy="971203"/>
          </a:xfrm>
          <a:prstGeom prst="rtTriangle">
            <a:avLst/>
          </a:prstGeom>
          <a:solidFill>
            <a:sysClr val="window" lastClr="FFFFFF">
              <a:alpha val="7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40" name="Right Triangle 1739">
            <a:extLst>
              <a:ext uri="{FF2B5EF4-FFF2-40B4-BE49-F238E27FC236}">
                <a16:creationId xmlns:a16="http://schemas.microsoft.com/office/drawing/2014/main" id="{62D194F1-0E45-4236-BB06-134026EFBB07}"/>
              </a:ext>
            </a:extLst>
          </p:cNvPr>
          <p:cNvSpPr/>
          <p:nvPr/>
        </p:nvSpPr>
        <p:spPr bwMode="gray">
          <a:xfrm rot="10800000">
            <a:off x="2909" y="1942028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45" name="Right Triangle 1744">
            <a:extLst>
              <a:ext uri="{FF2B5EF4-FFF2-40B4-BE49-F238E27FC236}">
                <a16:creationId xmlns:a16="http://schemas.microsoft.com/office/drawing/2014/main" id="{FEC0DCDF-2BB5-4C71-B14B-D27E85DF2037}"/>
              </a:ext>
            </a:extLst>
          </p:cNvPr>
          <p:cNvSpPr/>
          <p:nvPr/>
        </p:nvSpPr>
        <p:spPr bwMode="gray">
          <a:xfrm flipH="1" flipV="1">
            <a:off x="971320" y="3879274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47" name="Right Triangle 1746">
            <a:extLst>
              <a:ext uri="{FF2B5EF4-FFF2-40B4-BE49-F238E27FC236}">
                <a16:creationId xmlns:a16="http://schemas.microsoft.com/office/drawing/2014/main" id="{123E3930-5F73-4D7E-9814-DB1AB9CAFE29}"/>
              </a:ext>
            </a:extLst>
          </p:cNvPr>
          <p:cNvSpPr/>
          <p:nvPr/>
        </p:nvSpPr>
        <p:spPr bwMode="gray">
          <a:xfrm flipH="1">
            <a:off x="971320" y="2910642"/>
            <a:ext cx="971456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48" name="Right Triangle 1747">
            <a:extLst>
              <a:ext uri="{FF2B5EF4-FFF2-40B4-BE49-F238E27FC236}">
                <a16:creationId xmlns:a16="http://schemas.microsoft.com/office/drawing/2014/main" id="{25BBDDF8-B4A2-44F5-9832-686BBCDD8A8A}"/>
              </a:ext>
            </a:extLst>
          </p:cNvPr>
          <p:cNvSpPr/>
          <p:nvPr/>
        </p:nvSpPr>
        <p:spPr bwMode="gray">
          <a:xfrm rot="10800000" flipH="1">
            <a:off x="971320" y="2910642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50" name="Right Triangle 1749">
            <a:extLst>
              <a:ext uri="{FF2B5EF4-FFF2-40B4-BE49-F238E27FC236}">
                <a16:creationId xmlns:a16="http://schemas.microsoft.com/office/drawing/2014/main" id="{189C5DF1-553A-43D6-B22E-1A2D2577EBF7}"/>
              </a:ext>
            </a:extLst>
          </p:cNvPr>
          <p:cNvSpPr/>
          <p:nvPr/>
        </p:nvSpPr>
        <p:spPr bwMode="gray">
          <a:xfrm flipH="1">
            <a:off x="971320" y="1942028"/>
            <a:ext cx="971456" cy="971203"/>
          </a:xfrm>
          <a:prstGeom prst="rtTriangle">
            <a:avLst/>
          </a:prstGeom>
          <a:solidFill>
            <a:sysClr val="window" lastClr="FFFFFF">
              <a:alpha val="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51" name="Right Triangle 1750">
            <a:extLst>
              <a:ext uri="{FF2B5EF4-FFF2-40B4-BE49-F238E27FC236}">
                <a16:creationId xmlns:a16="http://schemas.microsoft.com/office/drawing/2014/main" id="{B9253246-D884-404B-86EE-1D175BF07061}"/>
              </a:ext>
            </a:extLst>
          </p:cNvPr>
          <p:cNvSpPr/>
          <p:nvPr/>
        </p:nvSpPr>
        <p:spPr bwMode="gray">
          <a:xfrm rot="10800000" flipH="1">
            <a:off x="971321" y="1942028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56" name="Right Triangle 1755">
            <a:extLst>
              <a:ext uri="{FF2B5EF4-FFF2-40B4-BE49-F238E27FC236}">
                <a16:creationId xmlns:a16="http://schemas.microsoft.com/office/drawing/2014/main" id="{F6B5048F-B969-40B2-A297-03F167D9C592}"/>
              </a:ext>
            </a:extLst>
          </p:cNvPr>
          <p:cNvSpPr/>
          <p:nvPr/>
        </p:nvSpPr>
        <p:spPr bwMode="gray">
          <a:xfrm flipV="1">
            <a:off x="1942899" y="3879274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59" name="Right Triangle 1758">
            <a:extLst>
              <a:ext uri="{FF2B5EF4-FFF2-40B4-BE49-F238E27FC236}">
                <a16:creationId xmlns:a16="http://schemas.microsoft.com/office/drawing/2014/main" id="{76B68CF3-797A-4A0F-95DD-AA15E03B2A61}"/>
              </a:ext>
            </a:extLst>
          </p:cNvPr>
          <p:cNvSpPr/>
          <p:nvPr/>
        </p:nvSpPr>
        <p:spPr bwMode="gray">
          <a:xfrm>
            <a:off x="1942899" y="2910642"/>
            <a:ext cx="971456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61" name="Right Triangle 1760">
            <a:extLst>
              <a:ext uri="{FF2B5EF4-FFF2-40B4-BE49-F238E27FC236}">
                <a16:creationId xmlns:a16="http://schemas.microsoft.com/office/drawing/2014/main" id="{17359F58-764B-474C-9743-FFAFD928E08E}"/>
              </a:ext>
            </a:extLst>
          </p:cNvPr>
          <p:cNvSpPr/>
          <p:nvPr/>
        </p:nvSpPr>
        <p:spPr bwMode="gray">
          <a:xfrm>
            <a:off x="1942899" y="1942028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62" name="Right Triangle 1761">
            <a:extLst>
              <a:ext uri="{FF2B5EF4-FFF2-40B4-BE49-F238E27FC236}">
                <a16:creationId xmlns:a16="http://schemas.microsoft.com/office/drawing/2014/main" id="{E5066427-10CE-44BA-925E-99D54F680A6A}"/>
              </a:ext>
            </a:extLst>
          </p:cNvPr>
          <p:cNvSpPr/>
          <p:nvPr/>
        </p:nvSpPr>
        <p:spPr bwMode="gray">
          <a:xfrm rot="10800000">
            <a:off x="1942900" y="1942028"/>
            <a:ext cx="971456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66" name="Right Triangle 1765">
            <a:extLst>
              <a:ext uri="{FF2B5EF4-FFF2-40B4-BE49-F238E27FC236}">
                <a16:creationId xmlns:a16="http://schemas.microsoft.com/office/drawing/2014/main" id="{6E03E546-B9E5-4113-896A-6831698A37F0}"/>
              </a:ext>
            </a:extLst>
          </p:cNvPr>
          <p:cNvSpPr/>
          <p:nvPr/>
        </p:nvSpPr>
        <p:spPr bwMode="gray">
          <a:xfrm flipH="1" flipV="1">
            <a:off x="2914355" y="3879274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67" name="Right Triangle 1766">
            <a:extLst>
              <a:ext uri="{FF2B5EF4-FFF2-40B4-BE49-F238E27FC236}">
                <a16:creationId xmlns:a16="http://schemas.microsoft.com/office/drawing/2014/main" id="{857595F5-5247-4EA2-BF3C-80539311BD58}"/>
              </a:ext>
            </a:extLst>
          </p:cNvPr>
          <p:cNvSpPr/>
          <p:nvPr/>
        </p:nvSpPr>
        <p:spPr bwMode="gray">
          <a:xfrm rot="10800000" flipH="1" flipV="1">
            <a:off x="2914356" y="3879274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69" name="Right Triangle 1768">
            <a:extLst>
              <a:ext uri="{FF2B5EF4-FFF2-40B4-BE49-F238E27FC236}">
                <a16:creationId xmlns:a16="http://schemas.microsoft.com/office/drawing/2014/main" id="{D0280349-4488-4EE2-BF79-03EF7DFA60FF}"/>
              </a:ext>
            </a:extLst>
          </p:cNvPr>
          <p:cNvSpPr/>
          <p:nvPr/>
        </p:nvSpPr>
        <p:spPr bwMode="gray">
          <a:xfrm flipH="1">
            <a:off x="2914355" y="2910642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70" name="Right Triangle 1769">
            <a:extLst>
              <a:ext uri="{FF2B5EF4-FFF2-40B4-BE49-F238E27FC236}">
                <a16:creationId xmlns:a16="http://schemas.microsoft.com/office/drawing/2014/main" id="{AA2239CF-E830-4D23-9B25-93D76A21A76C}"/>
              </a:ext>
            </a:extLst>
          </p:cNvPr>
          <p:cNvSpPr/>
          <p:nvPr/>
        </p:nvSpPr>
        <p:spPr bwMode="gray">
          <a:xfrm rot="10800000" flipH="1">
            <a:off x="2914356" y="2910642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73" name="Right Triangle 1772">
            <a:extLst>
              <a:ext uri="{FF2B5EF4-FFF2-40B4-BE49-F238E27FC236}">
                <a16:creationId xmlns:a16="http://schemas.microsoft.com/office/drawing/2014/main" id="{54587AE8-6E60-4E6A-BDB9-B4DFEAA2CE63}"/>
              </a:ext>
            </a:extLst>
          </p:cNvPr>
          <p:cNvSpPr/>
          <p:nvPr/>
        </p:nvSpPr>
        <p:spPr bwMode="gray">
          <a:xfrm flipH="1">
            <a:off x="2914355" y="1942028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74" name="Right Triangle 1773">
            <a:extLst>
              <a:ext uri="{FF2B5EF4-FFF2-40B4-BE49-F238E27FC236}">
                <a16:creationId xmlns:a16="http://schemas.microsoft.com/office/drawing/2014/main" id="{7A64C8D6-AB8C-4C78-B679-F2D9C7D220DF}"/>
              </a:ext>
            </a:extLst>
          </p:cNvPr>
          <p:cNvSpPr/>
          <p:nvPr/>
        </p:nvSpPr>
        <p:spPr bwMode="gray">
          <a:xfrm rot="10800000" flipH="1">
            <a:off x="2914356" y="1942028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79" name="Right Triangle 1778">
            <a:extLst>
              <a:ext uri="{FF2B5EF4-FFF2-40B4-BE49-F238E27FC236}">
                <a16:creationId xmlns:a16="http://schemas.microsoft.com/office/drawing/2014/main" id="{1DDB0F26-2BB2-4866-B074-B5CD76C31B11}"/>
              </a:ext>
            </a:extLst>
          </p:cNvPr>
          <p:cNvSpPr/>
          <p:nvPr/>
        </p:nvSpPr>
        <p:spPr bwMode="gray">
          <a:xfrm flipV="1">
            <a:off x="3885811" y="3879274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82" name="Right Triangle 1781">
            <a:extLst>
              <a:ext uri="{FF2B5EF4-FFF2-40B4-BE49-F238E27FC236}">
                <a16:creationId xmlns:a16="http://schemas.microsoft.com/office/drawing/2014/main" id="{769AE132-48C2-4C5A-A5F7-A1ECCB830BC1}"/>
              </a:ext>
            </a:extLst>
          </p:cNvPr>
          <p:cNvSpPr/>
          <p:nvPr/>
        </p:nvSpPr>
        <p:spPr bwMode="gray">
          <a:xfrm>
            <a:off x="3885811" y="2910642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83" name="Right Triangle 1782">
            <a:extLst>
              <a:ext uri="{FF2B5EF4-FFF2-40B4-BE49-F238E27FC236}">
                <a16:creationId xmlns:a16="http://schemas.microsoft.com/office/drawing/2014/main" id="{CD537BA1-4CA8-4802-B442-3A497050A77A}"/>
              </a:ext>
            </a:extLst>
          </p:cNvPr>
          <p:cNvSpPr/>
          <p:nvPr/>
        </p:nvSpPr>
        <p:spPr bwMode="gray">
          <a:xfrm rot="10800000">
            <a:off x="3885811" y="2910642"/>
            <a:ext cx="971456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85" name="Right Triangle 1784">
            <a:extLst>
              <a:ext uri="{FF2B5EF4-FFF2-40B4-BE49-F238E27FC236}">
                <a16:creationId xmlns:a16="http://schemas.microsoft.com/office/drawing/2014/main" id="{74BBC111-0FCB-447D-8BCE-12D6000929AE}"/>
              </a:ext>
            </a:extLst>
          </p:cNvPr>
          <p:cNvSpPr/>
          <p:nvPr/>
        </p:nvSpPr>
        <p:spPr bwMode="gray">
          <a:xfrm rot="10800000">
            <a:off x="3885811" y="1942028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89" name="Right Triangle 1788">
            <a:extLst>
              <a:ext uri="{FF2B5EF4-FFF2-40B4-BE49-F238E27FC236}">
                <a16:creationId xmlns:a16="http://schemas.microsoft.com/office/drawing/2014/main" id="{9272D289-2481-49BF-A088-FEB0557CD47D}"/>
              </a:ext>
            </a:extLst>
          </p:cNvPr>
          <p:cNvSpPr/>
          <p:nvPr/>
        </p:nvSpPr>
        <p:spPr bwMode="gray">
          <a:xfrm flipV="1">
            <a:off x="2908" y="3879274"/>
            <a:ext cx="971456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90" name="Right Triangle 1789">
            <a:extLst>
              <a:ext uri="{FF2B5EF4-FFF2-40B4-BE49-F238E27FC236}">
                <a16:creationId xmlns:a16="http://schemas.microsoft.com/office/drawing/2014/main" id="{CCCBAA00-6234-4A70-A692-0288C1ECF2BB}"/>
              </a:ext>
            </a:extLst>
          </p:cNvPr>
          <p:cNvSpPr/>
          <p:nvPr/>
        </p:nvSpPr>
        <p:spPr bwMode="gray">
          <a:xfrm rot="10800000" flipV="1">
            <a:off x="2909" y="3879274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93" name="Right Triangle 1792">
            <a:extLst>
              <a:ext uri="{FF2B5EF4-FFF2-40B4-BE49-F238E27FC236}">
                <a16:creationId xmlns:a16="http://schemas.microsoft.com/office/drawing/2014/main" id="{4B53498C-718F-44DF-A1DD-ECB0BEB66161}"/>
              </a:ext>
            </a:extLst>
          </p:cNvPr>
          <p:cNvSpPr/>
          <p:nvPr/>
        </p:nvSpPr>
        <p:spPr bwMode="gray">
          <a:xfrm>
            <a:off x="2908" y="2910642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94" name="Right Triangle 1793">
            <a:extLst>
              <a:ext uri="{FF2B5EF4-FFF2-40B4-BE49-F238E27FC236}">
                <a16:creationId xmlns:a16="http://schemas.microsoft.com/office/drawing/2014/main" id="{05BFCB8C-A4F7-4FD5-BA47-6742D02B0A60}"/>
              </a:ext>
            </a:extLst>
          </p:cNvPr>
          <p:cNvSpPr/>
          <p:nvPr/>
        </p:nvSpPr>
        <p:spPr bwMode="gray">
          <a:xfrm rot="10800000">
            <a:off x="2909" y="2910642"/>
            <a:ext cx="971456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97" name="Right Triangle 1796">
            <a:extLst>
              <a:ext uri="{FF2B5EF4-FFF2-40B4-BE49-F238E27FC236}">
                <a16:creationId xmlns:a16="http://schemas.microsoft.com/office/drawing/2014/main" id="{5ABB911E-D696-46CD-B6F0-1A0F6209E670}"/>
              </a:ext>
            </a:extLst>
          </p:cNvPr>
          <p:cNvSpPr/>
          <p:nvPr/>
        </p:nvSpPr>
        <p:spPr bwMode="gray">
          <a:xfrm>
            <a:off x="2908" y="1935284"/>
            <a:ext cx="971456" cy="971203"/>
          </a:xfrm>
          <a:prstGeom prst="rtTriangle">
            <a:avLst/>
          </a:prstGeom>
          <a:solidFill>
            <a:sysClr val="window" lastClr="FFFFFF">
              <a:alpha val="7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98" name="Right Triangle 1797">
            <a:extLst>
              <a:ext uri="{FF2B5EF4-FFF2-40B4-BE49-F238E27FC236}">
                <a16:creationId xmlns:a16="http://schemas.microsoft.com/office/drawing/2014/main" id="{6F7C8AB5-8662-4AAB-A64E-398621F0E4BD}"/>
              </a:ext>
            </a:extLst>
          </p:cNvPr>
          <p:cNvSpPr/>
          <p:nvPr/>
        </p:nvSpPr>
        <p:spPr bwMode="gray">
          <a:xfrm rot="10800000">
            <a:off x="2909" y="1942028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03" name="Right Triangle 1802">
            <a:extLst>
              <a:ext uri="{FF2B5EF4-FFF2-40B4-BE49-F238E27FC236}">
                <a16:creationId xmlns:a16="http://schemas.microsoft.com/office/drawing/2014/main" id="{2196AC91-ACFA-45CA-B6F6-B55CAA9F13D2}"/>
              </a:ext>
            </a:extLst>
          </p:cNvPr>
          <p:cNvSpPr/>
          <p:nvPr/>
        </p:nvSpPr>
        <p:spPr bwMode="gray">
          <a:xfrm flipH="1" flipV="1">
            <a:off x="971320" y="3879274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05" name="Right Triangle 1804">
            <a:extLst>
              <a:ext uri="{FF2B5EF4-FFF2-40B4-BE49-F238E27FC236}">
                <a16:creationId xmlns:a16="http://schemas.microsoft.com/office/drawing/2014/main" id="{0EA1030F-14D9-4065-889D-D32C1B06D477}"/>
              </a:ext>
            </a:extLst>
          </p:cNvPr>
          <p:cNvSpPr/>
          <p:nvPr/>
        </p:nvSpPr>
        <p:spPr bwMode="gray">
          <a:xfrm flipH="1">
            <a:off x="971320" y="2910642"/>
            <a:ext cx="971456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06" name="Right Triangle 1805">
            <a:extLst>
              <a:ext uri="{FF2B5EF4-FFF2-40B4-BE49-F238E27FC236}">
                <a16:creationId xmlns:a16="http://schemas.microsoft.com/office/drawing/2014/main" id="{AA7759EC-0A95-4E14-BEE5-61F2802E9716}"/>
              </a:ext>
            </a:extLst>
          </p:cNvPr>
          <p:cNvSpPr/>
          <p:nvPr/>
        </p:nvSpPr>
        <p:spPr bwMode="gray">
          <a:xfrm rot="10800000" flipH="1">
            <a:off x="971320" y="2910642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08" name="Right Triangle 1807">
            <a:extLst>
              <a:ext uri="{FF2B5EF4-FFF2-40B4-BE49-F238E27FC236}">
                <a16:creationId xmlns:a16="http://schemas.microsoft.com/office/drawing/2014/main" id="{6A847B2E-2A07-49FF-80A4-73F61376E159}"/>
              </a:ext>
            </a:extLst>
          </p:cNvPr>
          <p:cNvSpPr/>
          <p:nvPr/>
        </p:nvSpPr>
        <p:spPr bwMode="gray">
          <a:xfrm flipH="1">
            <a:off x="971320" y="1942028"/>
            <a:ext cx="971456" cy="971203"/>
          </a:xfrm>
          <a:prstGeom prst="rtTriangle">
            <a:avLst/>
          </a:prstGeom>
          <a:solidFill>
            <a:sysClr val="window" lastClr="FFFFFF">
              <a:alpha val="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09" name="Right Triangle 1808">
            <a:extLst>
              <a:ext uri="{FF2B5EF4-FFF2-40B4-BE49-F238E27FC236}">
                <a16:creationId xmlns:a16="http://schemas.microsoft.com/office/drawing/2014/main" id="{F58CE748-ED9C-4BC9-868D-E1CACBCE7C84}"/>
              </a:ext>
            </a:extLst>
          </p:cNvPr>
          <p:cNvSpPr/>
          <p:nvPr/>
        </p:nvSpPr>
        <p:spPr bwMode="gray">
          <a:xfrm rot="10800000" flipH="1">
            <a:off x="971321" y="1942028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14" name="Right Triangle 1813">
            <a:extLst>
              <a:ext uri="{FF2B5EF4-FFF2-40B4-BE49-F238E27FC236}">
                <a16:creationId xmlns:a16="http://schemas.microsoft.com/office/drawing/2014/main" id="{E477FBCB-466D-4F31-8562-57F64A3CF561}"/>
              </a:ext>
            </a:extLst>
          </p:cNvPr>
          <p:cNvSpPr/>
          <p:nvPr/>
        </p:nvSpPr>
        <p:spPr bwMode="gray">
          <a:xfrm flipV="1">
            <a:off x="1942899" y="3879274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17" name="Right Triangle 1816">
            <a:extLst>
              <a:ext uri="{FF2B5EF4-FFF2-40B4-BE49-F238E27FC236}">
                <a16:creationId xmlns:a16="http://schemas.microsoft.com/office/drawing/2014/main" id="{1C347526-CD04-4D27-A45C-FC13ABF7297F}"/>
              </a:ext>
            </a:extLst>
          </p:cNvPr>
          <p:cNvSpPr/>
          <p:nvPr/>
        </p:nvSpPr>
        <p:spPr bwMode="gray">
          <a:xfrm>
            <a:off x="1942899" y="2910642"/>
            <a:ext cx="971456" cy="971203"/>
          </a:xfrm>
          <a:prstGeom prst="rtTriangle">
            <a:avLst/>
          </a:prstGeom>
          <a:solidFill>
            <a:sysClr val="window" lastClr="FFFFFF">
              <a:alpha val="8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19" name="Right Triangle 1818">
            <a:extLst>
              <a:ext uri="{FF2B5EF4-FFF2-40B4-BE49-F238E27FC236}">
                <a16:creationId xmlns:a16="http://schemas.microsoft.com/office/drawing/2014/main" id="{3E34EE62-2627-4989-A340-195113F98F1E}"/>
              </a:ext>
            </a:extLst>
          </p:cNvPr>
          <p:cNvSpPr/>
          <p:nvPr/>
        </p:nvSpPr>
        <p:spPr bwMode="gray">
          <a:xfrm>
            <a:off x="1942899" y="1942028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20" name="Right Triangle 1819">
            <a:extLst>
              <a:ext uri="{FF2B5EF4-FFF2-40B4-BE49-F238E27FC236}">
                <a16:creationId xmlns:a16="http://schemas.microsoft.com/office/drawing/2014/main" id="{49A9EB19-5852-48C0-A427-0FD3D711FE41}"/>
              </a:ext>
            </a:extLst>
          </p:cNvPr>
          <p:cNvSpPr/>
          <p:nvPr/>
        </p:nvSpPr>
        <p:spPr bwMode="gray">
          <a:xfrm rot="10800000">
            <a:off x="1942900" y="1942028"/>
            <a:ext cx="971456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24" name="Right Triangle 1823">
            <a:extLst>
              <a:ext uri="{FF2B5EF4-FFF2-40B4-BE49-F238E27FC236}">
                <a16:creationId xmlns:a16="http://schemas.microsoft.com/office/drawing/2014/main" id="{28898E91-1ED3-42A0-A2C1-BB23FFB24050}"/>
              </a:ext>
            </a:extLst>
          </p:cNvPr>
          <p:cNvSpPr/>
          <p:nvPr/>
        </p:nvSpPr>
        <p:spPr bwMode="gray">
          <a:xfrm flipH="1" flipV="1">
            <a:off x="2914355" y="3879274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25" name="Right Triangle 1824">
            <a:extLst>
              <a:ext uri="{FF2B5EF4-FFF2-40B4-BE49-F238E27FC236}">
                <a16:creationId xmlns:a16="http://schemas.microsoft.com/office/drawing/2014/main" id="{A7550308-52CC-43E1-B8CC-6AE4F6FF95E0}"/>
              </a:ext>
            </a:extLst>
          </p:cNvPr>
          <p:cNvSpPr/>
          <p:nvPr/>
        </p:nvSpPr>
        <p:spPr bwMode="gray">
          <a:xfrm rot="10800000" flipH="1" flipV="1">
            <a:off x="2914356" y="3879274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27" name="Right Triangle 1826">
            <a:extLst>
              <a:ext uri="{FF2B5EF4-FFF2-40B4-BE49-F238E27FC236}">
                <a16:creationId xmlns:a16="http://schemas.microsoft.com/office/drawing/2014/main" id="{0353330B-30EB-46DF-9B4F-7A6AA0264442}"/>
              </a:ext>
            </a:extLst>
          </p:cNvPr>
          <p:cNvSpPr/>
          <p:nvPr/>
        </p:nvSpPr>
        <p:spPr bwMode="gray">
          <a:xfrm flipH="1">
            <a:off x="2914355" y="2910642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28" name="Right Triangle 1827">
            <a:extLst>
              <a:ext uri="{FF2B5EF4-FFF2-40B4-BE49-F238E27FC236}">
                <a16:creationId xmlns:a16="http://schemas.microsoft.com/office/drawing/2014/main" id="{09E28E81-F125-4284-B17D-9A680EBE8906}"/>
              </a:ext>
            </a:extLst>
          </p:cNvPr>
          <p:cNvSpPr/>
          <p:nvPr/>
        </p:nvSpPr>
        <p:spPr bwMode="gray">
          <a:xfrm rot="10800000" flipH="1">
            <a:off x="2914356" y="2910642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31" name="Right Triangle 1830">
            <a:extLst>
              <a:ext uri="{FF2B5EF4-FFF2-40B4-BE49-F238E27FC236}">
                <a16:creationId xmlns:a16="http://schemas.microsoft.com/office/drawing/2014/main" id="{3F75B7BC-3AD6-4936-B7CE-2519174560A1}"/>
              </a:ext>
            </a:extLst>
          </p:cNvPr>
          <p:cNvSpPr/>
          <p:nvPr/>
        </p:nvSpPr>
        <p:spPr bwMode="gray">
          <a:xfrm flipH="1">
            <a:off x="2914355" y="1942028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32" name="Right Triangle 1831">
            <a:extLst>
              <a:ext uri="{FF2B5EF4-FFF2-40B4-BE49-F238E27FC236}">
                <a16:creationId xmlns:a16="http://schemas.microsoft.com/office/drawing/2014/main" id="{F6B6B5CD-DBDE-4AEE-A959-B6BBC8C2B835}"/>
              </a:ext>
            </a:extLst>
          </p:cNvPr>
          <p:cNvSpPr/>
          <p:nvPr/>
        </p:nvSpPr>
        <p:spPr bwMode="gray">
          <a:xfrm rot="10800000" flipH="1">
            <a:off x="2914356" y="1942028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37" name="Right Triangle 1836">
            <a:extLst>
              <a:ext uri="{FF2B5EF4-FFF2-40B4-BE49-F238E27FC236}">
                <a16:creationId xmlns:a16="http://schemas.microsoft.com/office/drawing/2014/main" id="{4C4ECD62-C229-489A-A9D9-380EC6BFF49A}"/>
              </a:ext>
            </a:extLst>
          </p:cNvPr>
          <p:cNvSpPr/>
          <p:nvPr/>
        </p:nvSpPr>
        <p:spPr bwMode="gray">
          <a:xfrm flipV="1">
            <a:off x="3885811" y="3879274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40" name="Right Triangle 1839">
            <a:extLst>
              <a:ext uri="{FF2B5EF4-FFF2-40B4-BE49-F238E27FC236}">
                <a16:creationId xmlns:a16="http://schemas.microsoft.com/office/drawing/2014/main" id="{C153F69D-3070-4E4F-B8FA-62E794D13CA1}"/>
              </a:ext>
            </a:extLst>
          </p:cNvPr>
          <p:cNvSpPr/>
          <p:nvPr/>
        </p:nvSpPr>
        <p:spPr bwMode="gray">
          <a:xfrm>
            <a:off x="3885811" y="2910642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41" name="Right Triangle 1840">
            <a:extLst>
              <a:ext uri="{FF2B5EF4-FFF2-40B4-BE49-F238E27FC236}">
                <a16:creationId xmlns:a16="http://schemas.microsoft.com/office/drawing/2014/main" id="{4770A06A-4476-4777-99C2-987A7E700221}"/>
              </a:ext>
            </a:extLst>
          </p:cNvPr>
          <p:cNvSpPr/>
          <p:nvPr/>
        </p:nvSpPr>
        <p:spPr bwMode="gray">
          <a:xfrm rot="10800000">
            <a:off x="3885811" y="2910642"/>
            <a:ext cx="971456" cy="971203"/>
          </a:xfrm>
          <a:prstGeom prst="rtTriangle">
            <a:avLst/>
          </a:prstGeom>
          <a:solidFill>
            <a:sysClr val="window" lastClr="FFFFFF">
              <a:alpha val="9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43" name="Right Triangle 1842">
            <a:extLst>
              <a:ext uri="{FF2B5EF4-FFF2-40B4-BE49-F238E27FC236}">
                <a16:creationId xmlns:a16="http://schemas.microsoft.com/office/drawing/2014/main" id="{31AC4ACE-2ABE-4436-BFBC-4F2D6149FB78}"/>
              </a:ext>
            </a:extLst>
          </p:cNvPr>
          <p:cNvSpPr/>
          <p:nvPr/>
        </p:nvSpPr>
        <p:spPr bwMode="gray">
          <a:xfrm rot="10800000">
            <a:off x="3885811" y="1942028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47" name="Right Triangle 1846">
            <a:extLst>
              <a:ext uri="{FF2B5EF4-FFF2-40B4-BE49-F238E27FC236}">
                <a16:creationId xmlns:a16="http://schemas.microsoft.com/office/drawing/2014/main" id="{DF6615A2-64EC-40E6-8C46-1DA3817358AD}"/>
              </a:ext>
            </a:extLst>
          </p:cNvPr>
          <p:cNvSpPr/>
          <p:nvPr/>
        </p:nvSpPr>
        <p:spPr bwMode="gray">
          <a:xfrm flipV="1">
            <a:off x="2908" y="3879274"/>
            <a:ext cx="971456" cy="971203"/>
          </a:xfrm>
          <a:prstGeom prst="rtTriangle">
            <a:avLst/>
          </a:prstGeom>
          <a:solidFill>
            <a:sysClr val="window" lastClr="FFFFFF">
              <a:alpha val="2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48" name="Right Triangle 1847">
            <a:extLst>
              <a:ext uri="{FF2B5EF4-FFF2-40B4-BE49-F238E27FC236}">
                <a16:creationId xmlns:a16="http://schemas.microsoft.com/office/drawing/2014/main" id="{3F74D7BB-A56E-4A89-88EC-9E54C34744FB}"/>
              </a:ext>
            </a:extLst>
          </p:cNvPr>
          <p:cNvSpPr/>
          <p:nvPr/>
        </p:nvSpPr>
        <p:spPr bwMode="gray">
          <a:xfrm rot="10800000" flipV="1">
            <a:off x="2909" y="3879274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51" name="Right Triangle 1850">
            <a:extLst>
              <a:ext uri="{FF2B5EF4-FFF2-40B4-BE49-F238E27FC236}">
                <a16:creationId xmlns:a16="http://schemas.microsoft.com/office/drawing/2014/main" id="{D336D7EF-74BF-4C94-BE6B-3C40CBD0DCAC}"/>
              </a:ext>
            </a:extLst>
          </p:cNvPr>
          <p:cNvSpPr/>
          <p:nvPr/>
        </p:nvSpPr>
        <p:spPr bwMode="gray">
          <a:xfrm>
            <a:off x="2908" y="2910642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52" name="Right Triangle 1851">
            <a:extLst>
              <a:ext uri="{FF2B5EF4-FFF2-40B4-BE49-F238E27FC236}">
                <a16:creationId xmlns:a16="http://schemas.microsoft.com/office/drawing/2014/main" id="{C9C99909-ECDA-4007-8D75-3521B3AB030C}"/>
              </a:ext>
            </a:extLst>
          </p:cNvPr>
          <p:cNvSpPr/>
          <p:nvPr/>
        </p:nvSpPr>
        <p:spPr bwMode="gray">
          <a:xfrm rot="10800000">
            <a:off x="2909" y="2910642"/>
            <a:ext cx="971456" cy="971203"/>
          </a:xfrm>
          <a:prstGeom prst="rtTriangle">
            <a:avLst/>
          </a:prstGeom>
          <a:solidFill>
            <a:sysClr val="window" lastClr="FFFFFF">
              <a:alpha val="1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55" name="Right Triangle 1854">
            <a:extLst>
              <a:ext uri="{FF2B5EF4-FFF2-40B4-BE49-F238E27FC236}">
                <a16:creationId xmlns:a16="http://schemas.microsoft.com/office/drawing/2014/main" id="{BCF48B1C-9DED-4215-8AA1-4E622E02FC72}"/>
              </a:ext>
            </a:extLst>
          </p:cNvPr>
          <p:cNvSpPr/>
          <p:nvPr/>
        </p:nvSpPr>
        <p:spPr bwMode="gray">
          <a:xfrm>
            <a:off x="2908" y="1935284"/>
            <a:ext cx="971456" cy="971203"/>
          </a:xfrm>
          <a:prstGeom prst="rtTriangle">
            <a:avLst/>
          </a:prstGeom>
          <a:solidFill>
            <a:sysClr val="window" lastClr="FFFFFF">
              <a:alpha val="7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56" name="Right Triangle 1855">
            <a:extLst>
              <a:ext uri="{FF2B5EF4-FFF2-40B4-BE49-F238E27FC236}">
                <a16:creationId xmlns:a16="http://schemas.microsoft.com/office/drawing/2014/main" id="{ED34EB74-8C15-4F6A-AC98-3FEE23A7F800}"/>
              </a:ext>
            </a:extLst>
          </p:cNvPr>
          <p:cNvSpPr/>
          <p:nvPr/>
        </p:nvSpPr>
        <p:spPr bwMode="gray">
          <a:xfrm rot="10800000">
            <a:off x="2909" y="1942028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61" name="Right Triangle 1860">
            <a:extLst>
              <a:ext uri="{FF2B5EF4-FFF2-40B4-BE49-F238E27FC236}">
                <a16:creationId xmlns:a16="http://schemas.microsoft.com/office/drawing/2014/main" id="{A3A204C7-DCA3-4BC9-ACE9-3B7D8A3BB3D3}"/>
              </a:ext>
            </a:extLst>
          </p:cNvPr>
          <p:cNvSpPr/>
          <p:nvPr/>
        </p:nvSpPr>
        <p:spPr bwMode="gray">
          <a:xfrm flipH="1" flipV="1">
            <a:off x="971320" y="3879274"/>
            <a:ext cx="971456" cy="971203"/>
          </a:xfrm>
          <a:prstGeom prst="rtTriangle">
            <a:avLst/>
          </a:prstGeom>
          <a:solidFill>
            <a:sysClr val="window" lastClr="FFFFFF">
              <a:alpha val="5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63" name="Right Triangle 1862">
            <a:extLst>
              <a:ext uri="{FF2B5EF4-FFF2-40B4-BE49-F238E27FC236}">
                <a16:creationId xmlns:a16="http://schemas.microsoft.com/office/drawing/2014/main" id="{005A5E7F-2B5F-453A-BEB8-7F45F12D0CE3}"/>
              </a:ext>
            </a:extLst>
          </p:cNvPr>
          <p:cNvSpPr/>
          <p:nvPr/>
        </p:nvSpPr>
        <p:spPr bwMode="gray">
          <a:xfrm flipH="1">
            <a:off x="971320" y="2910642"/>
            <a:ext cx="971456" cy="971203"/>
          </a:xfrm>
          <a:prstGeom prst="rtTriangle">
            <a:avLst/>
          </a:prstGeom>
          <a:solidFill>
            <a:sysClr val="window" lastClr="FFFFFF">
              <a:alpha val="1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64" name="Right Triangle 1863">
            <a:extLst>
              <a:ext uri="{FF2B5EF4-FFF2-40B4-BE49-F238E27FC236}">
                <a16:creationId xmlns:a16="http://schemas.microsoft.com/office/drawing/2014/main" id="{1D696492-69DB-402B-917E-B527EC4C2B11}"/>
              </a:ext>
            </a:extLst>
          </p:cNvPr>
          <p:cNvSpPr/>
          <p:nvPr/>
        </p:nvSpPr>
        <p:spPr bwMode="gray">
          <a:xfrm rot="10800000" flipH="1">
            <a:off x="971320" y="2910642"/>
            <a:ext cx="971456" cy="971203"/>
          </a:xfrm>
          <a:prstGeom prst="rtTriangle">
            <a:avLst/>
          </a:prstGeom>
          <a:solidFill>
            <a:sysClr val="window" lastClr="FFFFFF">
              <a:alpha val="6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66" name="Right Triangle 1865">
            <a:extLst>
              <a:ext uri="{FF2B5EF4-FFF2-40B4-BE49-F238E27FC236}">
                <a16:creationId xmlns:a16="http://schemas.microsoft.com/office/drawing/2014/main" id="{779C7A08-C796-4171-B04E-83BA761A3078}"/>
              </a:ext>
            </a:extLst>
          </p:cNvPr>
          <p:cNvSpPr/>
          <p:nvPr/>
        </p:nvSpPr>
        <p:spPr bwMode="gray">
          <a:xfrm flipH="1">
            <a:off x="971320" y="1942028"/>
            <a:ext cx="971456" cy="971203"/>
          </a:xfrm>
          <a:prstGeom prst="rtTriangle">
            <a:avLst/>
          </a:prstGeom>
          <a:solidFill>
            <a:sysClr val="window" lastClr="FFFFFF">
              <a:alpha val="2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67" name="Right Triangle 1866">
            <a:extLst>
              <a:ext uri="{FF2B5EF4-FFF2-40B4-BE49-F238E27FC236}">
                <a16:creationId xmlns:a16="http://schemas.microsoft.com/office/drawing/2014/main" id="{05EADE92-E526-4245-9D6E-0E14B9ECE8D7}"/>
              </a:ext>
            </a:extLst>
          </p:cNvPr>
          <p:cNvSpPr/>
          <p:nvPr/>
        </p:nvSpPr>
        <p:spPr bwMode="gray">
          <a:xfrm rot="10800000" flipH="1">
            <a:off x="971321" y="1942028"/>
            <a:ext cx="971456" cy="971203"/>
          </a:xfrm>
          <a:prstGeom prst="rtTriangle">
            <a:avLst/>
          </a:prstGeom>
          <a:solidFill>
            <a:sysClr val="window" lastClr="FFFFFF">
              <a:alpha val="13000"/>
            </a:sys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63" name="Text Placeholder 862">
            <a:extLst>
              <a:ext uri="{FF2B5EF4-FFF2-40B4-BE49-F238E27FC236}">
                <a16:creationId xmlns:a16="http://schemas.microsoft.com/office/drawing/2014/main" id="{806A8161-3A3C-4E8C-98F0-AD01607CDAE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49308" y="2633057"/>
            <a:ext cx="5246137" cy="1500187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600"/>
            </a:lvl1pPr>
            <a:lvl2pPr marL="273050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02" name="Freeform: Shape 1501">
            <a:extLst>
              <a:ext uri="{FF2B5EF4-FFF2-40B4-BE49-F238E27FC236}">
                <a16:creationId xmlns:a16="http://schemas.microsoft.com/office/drawing/2014/main" id="{5571DF59-3072-4F42-8F36-292FD20A6C4B}"/>
              </a:ext>
            </a:extLst>
          </p:cNvPr>
          <p:cNvSpPr/>
          <p:nvPr/>
        </p:nvSpPr>
        <p:spPr bwMode="black">
          <a:xfrm>
            <a:off x="565612" y="2687487"/>
            <a:ext cx="45731" cy="1412491"/>
          </a:xfrm>
          <a:custGeom>
            <a:avLst/>
            <a:gdLst>
              <a:gd name="connsiteX0" fmla="*/ 0 w 45719"/>
              <a:gd name="connsiteY0" fmla="*/ 0 h 1412491"/>
              <a:gd name="connsiteX1" fmla="*/ 45719 w 45719"/>
              <a:gd name="connsiteY1" fmla="*/ 0 h 1412491"/>
              <a:gd name="connsiteX2" fmla="*/ 45719 w 45719"/>
              <a:gd name="connsiteY2" fmla="*/ 45129 h 1412491"/>
              <a:gd name="connsiteX3" fmla="*/ 45719 w 45719"/>
              <a:gd name="connsiteY3" fmla="*/ 1367362 h 1412491"/>
              <a:gd name="connsiteX4" fmla="*/ 45719 w 45719"/>
              <a:gd name="connsiteY4" fmla="*/ 1412491 h 1412491"/>
              <a:gd name="connsiteX5" fmla="*/ 0 w 45719"/>
              <a:gd name="connsiteY5" fmla="*/ 1412491 h 1412491"/>
              <a:gd name="connsiteX6" fmla="*/ 0 w 45719"/>
              <a:gd name="connsiteY6" fmla="*/ 1367362 h 1412491"/>
              <a:gd name="connsiteX7" fmla="*/ 0 w 45719"/>
              <a:gd name="connsiteY7" fmla="*/ 45129 h 1412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19" h="1412491">
                <a:moveTo>
                  <a:pt x="0" y="0"/>
                </a:moveTo>
                <a:lnTo>
                  <a:pt x="45719" y="0"/>
                </a:lnTo>
                <a:lnTo>
                  <a:pt x="45719" y="45129"/>
                </a:lnTo>
                <a:lnTo>
                  <a:pt x="45719" y="1367362"/>
                </a:lnTo>
                <a:lnTo>
                  <a:pt x="45719" y="1412491"/>
                </a:lnTo>
                <a:lnTo>
                  <a:pt x="0" y="1412491"/>
                </a:lnTo>
                <a:lnTo>
                  <a:pt x="0" y="1367362"/>
                </a:lnTo>
                <a:lnTo>
                  <a:pt x="0" y="45129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774" name="TextBox 773">
            <a:extLst>
              <a:ext uri="{FF2B5EF4-FFF2-40B4-BE49-F238E27FC236}">
                <a16:creationId xmlns:a16="http://schemas.microsoft.com/office/drawing/2014/main" id="{BC2C04F8-C4D0-4DA4-8689-3A3303F0660F}"/>
              </a:ext>
            </a:extLst>
          </p:cNvPr>
          <p:cNvSpPr txBox="1"/>
          <p:nvPr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  <p:sp>
        <p:nvSpPr>
          <p:cNvPr id="2147" name="Oval 2146">
            <a:extLst>
              <a:ext uri="{FF2B5EF4-FFF2-40B4-BE49-F238E27FC236}">
                <a16:creationId xmlns:a16="http://schemas.microsoft.com/office/drawing/2014/main" id="{FDDA58E5-A99B-48C0-A6B7-6BAE32E46F62}"/>
              </a:ext>
            </a:extLst>
          </p:cNvPr>
          <p:cNvSpPr/>
          <p:nvPr/>
        </p:nvSpPr>
        <p:spPr bwMode="gray">
          <a:xfrm>
            <a:off x="7419954" y="1515533"/>
            <a:ext cx="3736885" cy="3735912"/>
          </a:xfrm>
          <a:prstGeom prst="ellipse">
            <a:avLst/>
          </a:prstGeom>
          <a:gradFill flip="none" rotWithShape="1">
            <a:gsLst>
              <a:gs pos="50000">
                <a:schemeClr val="accent1">
                  <a:lumMod val="95000"/>
                </a:schemeClr>
              </a:gs>
              <a:gs pos="50000">
                <a:schemeClr val="accent1">
                  <a:shade val="94000"/>
                  <a:satMod val="135000"/>
                </a:schemeClr>
              </a:gs>
            </a:gsLst>
            <a:lin ang="16200000" scaled="0"/>
            <a:tileRect/>
          </a:gradFill>
          <a:ln w="76200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0325" lvl="0" algn="ctr">
              <a:spcAft>
                <a:spcPts val="800"/>
              </a:spcAft>
            </a:pPr>
            <a:endParaRPr lang="en-US" sz="1400" kern="0" dirty="0"/>
          </a:p>
        </p:txBody>
      </p:sp>
      <p:sp>
        <p:nvSpPr>
          <p:cNvPr id="207" name="TextBox 206">
            <a:extLst>
              <a:ext uri="{FF2B5EF4-FFF2-40B4-BE49-F238E27FC236}">
                <a16:creationId xmlns:a16="http://schemas.microsoft.com/office/drawing/2014/main" id="{9A4C1EDA-607F-4088-87AA-A9D396F1406D}"/>
              </a:ext>
            </a:extLst>
          </p:cNvPr>
          <p:cNvSpPr txBox="1"/>
          <p:nvPr/>
        </p:nvSpPr>
        <p:spPr>
          <a:xfrm>
            <a:off x="2118108" y="6510279"/>
            <a:ext cx="1966005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 dirty="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997889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atement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" name="Rectangle 1012">
            <a:extLst>
              <a:ext uri="{FF2B5EF4-FFF2-40B4-BE49-F238E27FC236}">
                <a16:creationId xmlns:a16="http://schemas.microsoft.com/office/drawing/2014/main" id="{CD0EF2AC-219D-4624-9351-1D5E5D8F2D84}"/>
              </a:ext>
            </a:extLst>
          </p:cNvPr>
          <p:cNvSpPr/>
          <p:nvPr/>
        </p:nvSpPr>
        <p:spPr bwMode="gray">
          <a:xfrm>
            <a:off x="4847464" y="-27162"/>
            <a:ext cx="7376522" cy="6793722"/>
          </a:xfrm>
          <a:prstGeom prst="rect">
            <a:avLst/>
          </a:prstGeom>
          <a:solidFill>
            <a:srgbClr val="C6C6C8">
              <a:lumMod val="40000"/>
              <a:lumOff val="6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9D52D90-4743-4C8E-B735-6D8B5B4E4C0A}"/>
              </a:ext>
            </a:extLst>
          </p:cNvPr>
          <p:cNvGrpSpPr/>
          <p:nvPr/>
        </p:nvGrpSpPr>
        <p:grpSpPr bwMode="gray">
          <a:xfrm>
            <a:off x="4847462" y="-27163"/>
            <a:ext cx="1939869" cy="6793721"/>
            <a:chOff x="4846200" y="-27163"/>
            <a:chExt cx="1939364" cy="6793721"/>
          </a:xfrm>
        </p:grpSpPr>
        <p:sp>
          <p:nvSpPr>
            <p:cNvPr id="1370" name="Right Triangle 1369">
              <a:extLst>
                <a:ext uri="{FF2B5EF4-FFF2-40B4-BE49-F238E27FC236}">
                  <a16:creationId xmlns:a16="http://schemas.microsoft.com/office/drawing/2014/main" id="{3599C934-5751-456B-838E-0C52C6AAB5C8}"/>
                </a:ext>
              </a:extLst>
            </p:cNvPr>
            <p:cNvSpPr/>
            <p:nvPr/>
          </p:nvSpPr>
          <p:spPr bwMode="gray">
            <a:xfrm>
              <a:off x="4846200" y="5795355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1" name="Right Triangle 1370">
              <a:extLst>
                <a:ext uri="{FF2B5EF4-FFF2-40B4-BE49-F238E27FC236}">
                  <a16:creationId xmlns:a16="http://schemas.microsoft.com/office/drawing/2014/main" id="{85C5404B-3B4A-42F9-957C-83A6A9F34C7D}"/>
                </a:ext>
              </a:extLst>
            </p:cNvPr>
            <p:cNvSpPr/>
            <p:nvPr/>
          </p:nvSpPr>
          <p:spPr bwMode="gray">
            <a:xfrm flipV="1">
              <a:off x="4846200" y="3850989"/>
              <a:ext cx="971203" cy="971203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2" name="Right Triangle 1371">
              <a:extLst>
                <a:ext uri="{FF2B5EF4-FFF2-40B4-BE49-F238E27FC236}">
                  <a16:creationId xmlns:a16="http://schemas.microsoft.com/office/drawing/2014/main" id="{A7DA179D-62EA-437C-99FF-8EEC8EC1A7B4}"/>
                </a:ext>
              </a:extLst>
            </p:cNvPr>
            <p:cNvSpPr/>
            <p:nvPr/>
          </p:nvSpPr>
          <p:spPr bwMode="gray">
            <a:xfrm rot="10800000" flipV="1">
              <a:off x="4846201" y="385098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3" name="Right Triangle 1372">
              <a:extLst>
                <a:ext uri="{FF2B5EF4-FFF2-40B4-BE49-F238E27FC236}">
                  <a16:creationId xmlns:a16="http://schemas.microsoft.com/office/drawing/2014/main" id="{00F31AEB-95C8-4C39-A5B1-ED3C4B9C5CB9}"/>
                </a:ext>
              </a:extLst>
            </p:cNvPr>
            <p:cNvSpPr/>
            <p:nvPr/>
          </p:nvSpPr>
          <p:spPr bwMode="gray">
            <a:xfrm>
              <a:off x="4846200" y="482306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4" name="Right Triangle 1373">
              <a:extLst>
                <a:ext uri="{FF2B5EF4-FFF2-40B4-BE49-F238E27FC236}">
                  <a16:creationId xmlns:a16="http://schemas.microsoft.com/office/drawing/2014/main" id="{974DB0DE-7B2D-4294-B6F2-C4D42DD78D24}"/>
                </a:ext>
              </a:extLst>
            </p:cNvPr>
            <p:cNvSpPr/>
            <p:nvPr/>
          </p:nvSpPr>
          <p:spPr bwMode="gray">
            <a:xfrm rot="10800000">
              <a:off x="4846201" y="4823069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5" name="Right Triangle 1374">
              <a:extLst>
                <a:ext uri="{FF2B5EF4-FFF2-40B4-BE49-F238E27FC236}">
                  <a16:creationId xmlns:a16="http://schemas.microsoft.com/office/drawing/2014/main" id="{388AACE6-BE8F-41EA-91AE-02748D278CC4}"/>
                </a:ext>
              </a:extLst>
            </p:cNvPr>
            <p:cNvSpPr/>
            <p:nvPr/>
          </p:nvSpPr>
          <p:spPr bwMode="gray">
            <a:xfrm>
              <a:off x="4846200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6" name="Right Triangle 1375">
              <a:extLst>
                <a:ext uri="{FF2B5EF4-FFF2-40B4-BE49-F238E27FC236}">
                  <a16:creationId xmlns:a16="http://schemas.microsoft.com/office/drawing/2014/main" id="{21ECB941-AEBB-474B-A428-C5ED662075E8}"/>
                </a:ext>
              </a:extLst>
            </p:cNvPr>
            <p:cNvSpPr/>
            <p:nvPr/>
          </p:nvSpPr>
          <p:spPr bwMode="gray">
            <a:xfrm rot="10800000">
              <a:off x="4846201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7" name="Right Triangle 1376">
              <a:extLst>
                <a:ext uri="{FF2B5EF4-FFF2-40B4-BE49-F238E27FC236}">
                  <a16:creationId xmlns:a16="http://schemas.microsoft.com/office/drawing/2014/main" id="{539C65EF-8E93-4F75-BC5C-517D0066C60A}"/>
                </a:ext>
              </a:extLst>
            </p:cNvPr>
            <p:cNvSpPr/>
            <p:nvPr/>
          </p:nvSpPr>
          <p:spPr bwMode="gray">
            <a:xfrm flipV="1">
              <a:off x="4846200" y="941662"/>
              <a:ext cx="971203" cy="971203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8" name="Right Triangle 1377">
              <a:extLst>
                <a:ext uri="{FF2B5EF4-FFF2-40B4-BE49-F238E27FC236}">
                  <a16:creationId xmlns:a16="http://schemas.microsoft.com/office/drawing/2014/main" id="{DF2F9C5E-E238-4574-A8F4-FA4D66F4B0C3}"/>
                </a:ext>
              </a:extLst>
            </p:cNvPr>
            <p:cNvSpPr/>
            <p:nvPr/>
          </p:nvSpPr>
          <p:spPr bwMode="gray">
            <a:xfrm rot="10800000" flipV="1">
              <a:off x="4846201" y="941662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9" name="Right Triangle 1378">
              <a:extLst>
                <a:ext uri="{FF2B5EF4-FFF2-40B4-BE49-F238E27FC236}">
                  <a16:creationId xmlns:a16="http://schemas.microsoft.com/office/drawing/2014/main" id="{958D2E98-34FA-47C0-94A0-FABABD129788}"/>
                </a:ext>
              </a:extLst>
            </p:cNvPr>
            <p:cNvSpPr/>
            <p:nvPr/>
          </p:nvSpPr>
          <p:spPr bwMode="gray">
            <a:xfrm>
              <a:off x="4846200" y="1906998"/>
              <a:ext cx="971203" cy="971203"/>
            </a:xfrm>
            <a:prstGeom prst="rtTriangle">
              <a:avLst/>
            </a:prstGeom>
            <a:solidFill>
              <a:sysClr val="window" lastClr="FFFFFF">
                <a:alpha val="7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0" name="Right Triangle 1379">
              <a:extLst>
                <a:ext uri="{FF2B5EF4-FFF2-40B4-BE49-F238E27FC236}">
                  <a16:creationId xmlns:a16="http://schemas.microsoft.com/office/drawing/2014/main" id="{4A0B033B-FC04-4791-9519-5200D0F4E919}"/>
                </a:ext>
              </a:extLst>
            </p:cNvPr>
            <p:cNvSpPr/>
            <p:nvPr/>
          </p:nvSpPr>
          <p:spPr bwMode="gray">
            <a:xfrm rot="10800000">
              <a:off x="4846201" y="1913743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1" name="Right Triangle 1380">
              <a:extLst>
                <a:ext uri="{FF2B5EF4-FFF2-40B4-BE49-F238E27FC236}">
                  <a16:creationId xmlns:a16="http://schemas.microsoft.com/office/drawing/2014/main" id="{2FCA60AB-20A2-4764-9C04-BB038DAD7ADC}"/>
                </a:ext>
              </a:extLst>
            </p:cNvPr>
            <p:cNvSpPr/>
            <p:nvPr/>
          </p:nvSpPr>
          <p:spPr bwMode="gray">
            <a:xfrm>
              <a:off x="4846200" y="-27163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2" name="Right Triangle 1381">
              <a:extLst>
                <a:ext uri="{FF2B5EF4-FFF2-40B4-BE49-F238E27FC236}">
                  <a16:creationId xmlns:a16="http://schemas.microsoft.com/office/drawing/2014/main" id="{89B2792B-4D76-4733-AB42-B082E0224708}"/>
                </a:ext>
              </a:extLst>
            </p:cNvPr>
            <p:cNvSpPr/>
            <p:nvPr/>
          </p:nvSpPr>
          <p:spPr bwMode="gray">
            <a:xfrm rot="10800000">
              <a:off x="4846201" y="-22208"/>
              <a:ext cx="971203" cy="971203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3" name="Right Triangle 1382">
              <a:extLst>
                <a:ext uri="{FF2B5EF4-FFF2-40B4-BE49-F238E27FC236}">
                  <a16:creationId xmlns:a16="http://schemas.microsoft.com/office/drawing/2014/main" id="{F43A82C5-17F4-4F3F-A045-341F722D9D97}"/>
                </a:ext>
              </a:extLst>
            </p:cNvPr>
            <p:cNvSpPr/>
            <p:nvPr/>
          </p:nvSpPr>
          <p:spPr bwMode="gray">
            <a:xfrm flipH="1">
              <a:off x="5814360" y="5795355"/>
              <a:ext cx="971203" cy="971203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4" name="Right Triangle 1383">
              <a:extLst>
                <a:ext uri="{FF2B5EF4-FFF2-40B4-BE49-F238E27FC236}">
                  <a16:creationId xmlns:a16="http://schemas.microsoft.com/office/drawing/2014/main" id="{602E385A-B353-4E42-A88C-E4614A3D60FE}"/>
                </a:ext>
              </a:extLst>
            </p:cNvPr>
            <p:cNvSpPr/>
            <p:nvPr/>
          </p:nvSpPr>
          <p:spPr bwMode="gray">
            <a:xfrm rot="10800000" flipH="1">
              <a:off x="5814360" y="5795355"/>
              <a:ext cx="971203" cy="971203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5" name="Right Triangle 1384">
              <a:extLst>
                <a:ext uri="{FF2B5EF4-FFF2-40B4-BE49-F238E27FC236}">
                  <a16:creationId xmlns:a16="http://schemas.microsoft.com/office/drawing/2014/main" id="{A24376BF-B6C2-4F3C-BBAA-69E24670CDAB}"/>
                </a:ext>
              </a:extLst>
            </p:cNvPr>
            <p:cNvSpPr/>
            <p:nvPr/>
          </p:nvSpPr>
          <p:spPr bwMode="gray">
            <a:xfrm flipH="1" flipV="1">
              <a:off x="5814360" y="3850989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6" name="Right Triangle 1385">
              <a:extLst>
                <a:ext uri="{FF2B5EF4-FFF2-40B4-BE49-F238E27FC236}">
                  <a16:creationId xmlns:a16="http://schemas.microsoft.com/office/drawing/2014/main" id="{6874A72F-27CB-4565-9E3B-D22E138B0388}"/>
                </a:ext>
              </a:extLst>
            </p:cNvPr>
            <p:cNvSpPr/>
            <p:nvPr/>
          </p:nvSpPr>
          <p:spPr bwMode="gray">
            <a:xfrm rot="10800000" flipH="1">
              <a:off x="5814360" y="482306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7" name="Right Triangle 1386">
              <a:extLst>
                <a:ext uri="{FF2B5EF4-FFF2-40B4-BE49-F238E27FC236}">
                  <a16:creationId xmlns:a16="http://schemas.microsoft.com/office/drawing/2014/main" id="{F8BB93F5-B1AB-4038-850F-AF8F00FF1BED}"/>
                </a:ext>
              </a:extLst>
            </p:cNvPr>
            <p:cNvSpPr/>
            <p:nvPr/>
          </p:nvSpPr>
          <p:spPr bwMode="gray">
            <a:xfrm flipH="1">
              <a:off x="5814360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8" name="Right Triangle 1387">
              <a:extLst>
                <a:ext uri="{FF2B5EF4-FFF2-40B4-BE49-F238E27FC236}">
                  <a16:creationId xmlns:a16="http://schemas.microsoft.com/office/drawing/2014/main" id="{ED1E7BAE-8993-4BA5-9D9A-48406629D0EF}"/>
                </a:ext>
              </a:extLst>
            </p:cNvPr>
            <p:cNvSpPr/>
            <p:nvPr/>
          </p:nvSpPr>
          <p:spPr bwMode="gray">
            <a:xfrm rot="10800000" flipH="1">
              <a:off x="5814360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9" name="Right Triangle 1388">
              <a:extLst>
                <a:ext uri="{FF2B5EF4-FFF2-40B4-BE49-F238E27FC236}">
                  <a16:creationId xmlns:a16="http://schemas.microsoft.com/office/drawing/2014/main" id="{0EB2C9D0-2C27-4599-A870-9F5AAF7294B5}"/>
                </a:ext>
              </a:extLst>
            </p:cNvPr>
            <p:cNvSpPr/>
            <p:nvPr/>
          </p:nvSpPr>
          <p:spPr bwMode="gray">
            <a:xfrm flipH="1" flipV="1">
              <a:off x="5814360" y="941662"/>
              <a:ext cx="971203" cy="971203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0" name="Right Triangle 1389">
              <a:extLst>
                <a:ext uri="{FF2B5EF4-FFF2-40B4-BE49-F238E27FC236}">
                  <a16:creationId xmlns:a16="http://schemas.microsoft.com/office/drawing/2014/main" id="{2F05557C-9E39-462A-8236-62EDF6565417}"/>
                </a:ext>
              </a:extLst>
            </p:cNvPr>
            <p:cNvSpPr/>
            <p:nvPr/>
          </p:nvSpPr>
          <p:spPr bwMode="gray">
            <a:xfrm flipH="1">
              <a:off x="5814360" y="1913743"/>
              <a:ext cx="971203" cy="971203"/>
            </a:xfrm>
            <a:prstGeom prst="rtTriangle">
              <a:avLst/>
            </a:prstGeom>
            <a:solidFill>
              <a:sysClr val="window" lastClr="FFFFFF">
                <a:alpha val="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1" name="Right Triangle 1390">
              <a:extLst>
                <a:ext uri="{FF2B5EF4-FFF2-40B4-BE49-F238E27FC236}">
                  <a16:creationId xmlns:a16="http://schemas.microsoft.com/office/drawing/2014/main" id="{A5337454-BB4E-4425-8474-78A5D268E176}"/>
                </a:ext>
              </a:extLst>
            </p:cNvPr>
            <p:cNvSpPr/>
            <p:nvPr/>
          </p:nvSpPr>
          <p:spPr bwMode="gray">
            <a:xfrm rot="10800000" flipH="1">
              <a:off x="5814361" y="1913743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2" name="Right Triangle 1391">
              <a:extLst>
                <a:ext uri="{FF2B5EF4-FFF2-40B4-BE49-F238E27FC236}">
                  <a16:creationId xmlns:a16="http://schemas.microsoft.com/office/drawing/2014/main" id="{643FD79A-057C-4026-B658-5CDF0B133455}"/>
                </a:ext>
              </a:extLst>
            </p:cNvPr>
            <p:cNvSpPr/>
            <p:nvPr/>
          </p:nvSpPr>
          <p:spPr bwMode="gray">
            <a:xfrm flipH="1">
              <a:off x="5814360" y="-27163"/>
              <a:ext cx="971203" cy="971203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3" name="Right Triangle 1392">
              <a:extLst>
                <a:ext uri="{FF2B5EF4-FFF2-40B4-BE49-F238E27FC236}">
                  <a16:creationId xmlns:a16="http://schemas.microsoft.com/office/drawing/2014/main" id="{367A8D7D-AAA5-4C20-8CC6-ED9D7A0BC781}"/>
                </a:ext>
              </a:extLst>
            </p:cNvPr>
            <p:cNvSpPr/>
            <p:nvPr/>
          </p:nvSpPr>
          <p:spPr bwMode="gray">
            <a:xfrm rot="10800000" flipH="1">
              <a:off x="5814360" y="-22208"/>
              <a:ext cx="971203" cy="971203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0" name="Right Triangle 1279">
              <a:extLst>
                <a:ext uri="{FF2B5EF4-FFF2-40B4-BE49-F238E27FC236}">
                  <a16:creationId xmlns:a16="http://schemas.microsoft.com/office/drawing/2014/main" id="{EBADC093-349D-4630-9B94-A2A27401F06A}"/>
                </a:ext>
              </a:extLst>
            </p:cNvPr>
            <p:cNvSpPr/>
            <p:nvPr/>
          </p:nvSpPr>
          <p:spPr bwMode="gray">
            <a:xfrm>
              <a:off x="4846200" y="5795355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1" name="Right Triangle 1280">
              <a:extLst>
                <a:ext uri="{FF2B5EF4-FFF2-40B4-BE49-F238E27FC236}">
                  <a16:creationId xmlns:a16="http://schemas.microsoft.com/office/drawing/2014/main" id="{BF9B8E6C-4DB2-4123-A439-EE646BB6DED7}"/>
                </a:ext>
              </a:extLst>
            </p:cNvPr>
            <p:cNvSpPr/>
            <p:nvPr/>
          </p:nvSpPr>
          <p:spPr bwMode="gray">
            <a:xfrm flipV="1">
              <a:off x="4846200" y="3850989"/>
              <a:ext cx="971203" cy="971203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2" name="Right Triangle 1281">
              <a:extLst>
                <a:ext uri="{FF2B5EF4-FFF2-40B4-BE49-F238E27FC236}">
                  <a16:creationId xmlns:a16="http://schemas.microsoft.com/office/drawing/2014/main" id="{95B76C49-3437-4512-8C50-524082644981}"/>
                </a:ext>
              </a:extLst>
            </p:cNvPr>
            <p:cNvSpPr/>
            <p:nvPr/>
          </p:nvSpPr>
          <p:spPr bwMode="gray">
            <a:xfrm rot="10800000" flipV="1">
              <a:off x="4846201" y="385098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3" name="Right Triangle 1282">
              <a:extLst>
                <a:ext uri="{FF2B5EF4-FFF2-40B4-BE49-F238E27FC236}">
                  <a16:creationId xmlns:a16="http://schemas.microsoft.com/office/drawing/2014/main" id="{9A6EE615-D02E-4173-9308-2F2D43F11DB9}"/>
                </a:ext>
              </a:extLst>
            </p:cNvPr>
            <p:cNvSpPr/>
            <p:nvPr/>
          </p:nvSpPr>
          <p:spPr bwMode="gray">
            <a:xfrm>
              <a:off x="4846200" y="482306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4" name="Right Triangle 1283">
              <a:extLst>
                <a:ext uri="{FF2B5EF4-FFF2-40B4-BE49-F238E27FC236}">
                  <a16:creationId xmlns:a16="http://schemas.microsoft.com/office/drawing/2014/main" id="{13401021-AC8A-41D3-B6EA-2D35512D4B19}"/>
                </a:ext>
              </a:extLst>
            </p:cNvPr>
            <p:cNvSpPr/>
            <p:nvPr/>
          </p:nvSpPr>
          <p:spPr bwMode="gray">
            <a:xfrm rot="10800000">
              <a:off x="4846201" y="4823069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5" name="Right Triangle 1284">
              <a:extLst>
                <a:ext uri="{FF2B5EF4-FFF2-40B4-BE49-F238E27FC236}">
                  <a16:creationId xmlns:a16="http://schemas.microsoft.com/office/drawing/2014/main" id="{E8EE5833-7027-4282-B593-BCF545F26BF7}"/>
                </a:ext>
              </a:extLst>
            </p:cNvPr>
            <p:cNvSpPr/>
            <p:nvPr/>
          </p:nvSpPr>
          <p:spPr bwMode="gray">
            <a:xfrm>
              <a:off x="4846200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6" name="Right Triangle 1285">
              <a:extLst>
                <a:ext uri="{FF2B5EF4-FFF2-40B4-BE49-F238E27FC236}">
                  <a16:creationId xmlns:a16="http://schemas.microsoft.com/office/drawing/2014/main" id="{969EF942-97D1-4FE3-A8E0-703F7D8E608E}"/>
                </a:ext>
              </a:extLst>
            </p:cNvPr>
            <p:cNvSpPr/>
            <p:nvPr/>
          </p:nvSpPr>
          <p:spPr bwMode="gray">
            <a:xfrm rot="10800000">
              <a:off x="4846201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7" name="Right Triangle 1286">
              <a:extLst>
                <a:ext uri="{FF2B5EF4-FFF2-40B4-BE49-F238E27FC236}">
                  <a16:creationId xmlns:a16="http://schemas.microsoft.com/office/drawing/2014/main" id="{9F9F54CE-376D-48C3-A057-0909AE7DFB37}"/>
                </a:ext>
              </a:extLst>
            </p:cNvPr>
            <p:cNvSpPr/>
            <p:nvPr/>
          </p:nvSpPr>
          <p:spPr bwMode="gray">
            <a:xfrm flipV="1">
              <a:off x="4846200" y="941662"/>
              <a:ext cx="971203" cy="971203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8" name="Right Triangle 1287">
              <a:extLst>
                <a:ext uri="{FF2B5EF4-FFF2-40B4-BE49-F238E27FC236}">
                  <a16:creationId xmlns:a16="http://schemas.microsoft.com/office/drawing/2014/main" id="{F2D9EC31-19E6-433C-9BE3-4E8DDACCEA9D}"/>
                </a:ext>
              </a:extLst>
            </p:cNvPr>
            <p:cNvSpPr/>
            <p:nvPr/>
          </p:nvSpPr>
          <p:spPr bwMode="gray">
            <a:xfrm rot="10800000" flipV="1">
              <a:off x="4846201" y="941662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9" name="Right Triangle 1288">
              <a:extLst>
                <a:ext uri="{FF2B5EF4-FFF2-40B4-BE49-F238E27FC236}">
                  <a16:creationId xmlns:a16="http://schemas.microsoft.com/office/drawing/2014/main" id="{557F3343-FDDE-478E-B5B0-C9510D7BDFBF}"/>
                </a:ext>
              </a:extLst>
            </p:cNvPr>
            <p:cNvSpPr/>
            <p:nvPr/>
          </p:nvSpPr>
          <p:spPr bwMode="gray">
            <a:xfrm>
              <a:off x="4846200" y="1906998"/>
              <a:ext cx="971203" cy="971203"/>
            </a:xfrm>
            <a:prstGeom prst="rtTriangle">
              <a:avLst/>
            </a:prstGeom>
            <a:solidFill>
              <a:sysClr val="window" lastClr="FFFFFF">
                <a:alpha val="7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0" name="Right Triangle 1289">
              <a:extLst>
                <a:ext uri="{FF2B5EF4-FFF2-40B4-BE49-F238E27FC236}">
                  <a16:creationId xmlns:a16="http://schemas.microsoft.com/office/drawing/2014/main" id="{D991133C-D92A-4CE8-9E18-8CE6550ADB9E}"/>
                </a:ext>
              </a:extLst>
            </p:cNvPr>
            <p:cNvSpPr/>
            <p:nvPr/>
          </p:nvSpPr>
          <p:spPr bwMode="gray">
            <a:xfrm rot="10800000">
              <a:off x="4846201" y="1913743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1" name="Right Triangle 1290">
              <a:extLst>
                <a:ext uri="{FF2B5EF4-FFF2-40B4-BE49-F238E27FC236}">
                  <a16:creationId xmlns:a16="http://schemas.microsoft.com/office/drawing/2014/main" id="{36E673E0-85B7-4C0A-81C2-71DC9D567AF7}"/>
                </a:ext>
              </a:extLst>
            </p:cNvPr>
            <p:cNvSpPr/>
            <p:nvPr/>
          </p:nvSpPr>
          <p:spPr bwMode="gray">
            <a:xfrm>
              <a:off x="4846200" y="-27163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2" name="Right Triangle 1291">
              <a:extLst>
                <a:ext uri="{FF2B5EF4-FFF2-40B4-BE49-F238E27FC236}">
                  <a16:creationId xmlns:a16="http://schemas.microsoft.com/office/drawing/2014/main" id="{26CD46F5-1EED-4F90-B6C2-058AD6E414E0}"/>
                </a:ext>
              </a:extLst>
            </p:cNvPr>
            <p:cNvSpPr/>
            <p:nvPr/>
          </p:nvSpPr>
          <p:spPr bwMode="gray">
            <a:xfrm rot="10800000">
              <a:off x="4846201" y="-22208"/>
              <a:ext cx="971203" cy="971203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3" name="Right Triangle 1292">
              <a:extLst>
                <a:ext uri="{FF2B5EF4-FFF2-40B4-BE49-F238E27FC236}">
                  <a16:creationId xmlns:a16="http://schemas.microsoft.com/office/drawing/2014/main" id="{7CC1BF22-7968-4C41-BFF5-FEDB73F43026}"/>
                </a:ext>
              </a:extLst>
            </p:cNvPr>
            <p:cNvSpPr/>
            <p:nvPr/>
          </p:nvSpPr>
          <p:spPr bwMode="gray">
            <a:xfrm flipH="1">
              <a:off x="5814360" y="5795355"/>
              <a:ext cx="971203" cy="971203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4" name="Right Triangle 1293">
              <a:extLst>
                <a:ext uri="{FF2B5EF4-FFF2-40B4-BE49-F238E27FC236}">
                  <a16:creationId xmlns:a16="http://schemas.microsoft.com/office/drawing/2014/main" id="{E7B63619-0422-42F2-8D2D-08DAD5450723}"/>
                </a:ext>
              </a:extLst>
            </p:cNvPr>
            <p:cNvSpPr/>
            <p:nvPr/>
          </p:nvSpPr>
          <p:spPr bwMode="gray">
            <a:xfrm rot="10800000" flipH="1">
              <a:off x="5814360" y="5795355"/>
              <a:ext cx="971203" cy="971203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5" name="Right Triangle 1294">
              <a:extLst>
                <a:ext uri="{FF2B5EF4-FFF2-40B4-BE49-F238E27FC236}">
                  <a16:creationId xmlns:a16="http://schemas.microsoft.com/office/drawing/2014/main" id="{6CBE2C74-D9DE-4EF8-8ED4-38D34A06FA22}"/>
                </a:ext>
              </a:extLst>
            </p:cNvPr>
            <p:cNvSpPr/>
            <p:nvPr/>
          </p:nvSpPr>
          <p:spPr bwMode="gray">
            <a:xfrm flipH="1" flipV="1">
              <a:off x="5814360" y="3850989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6" name="Right Triangle 1295">
              <a:extLst>
                <a:ext uri="{FF2B5EF4-FFF2-40B4-BE49-F238E27FC236}">
                  <a16:creationId xmlns:a16="http://schemas.microsoft.com/office/drawing/2014/main" id="{EB81F80B-ACAA-43D3-9DAD-4A22BE5BEF40}"/>
                </a:ext>
              </a:extLst>
            </p:cNvPr>
            <p:cNvSpPr/>
            <p:nvPr/>
          </p:nvSpPr>
          <p:spPr bwMode="gray">
            <a:xfrm rot="10800000" flipH="1">
              <a:off x="5814360" y="482306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7" name="Right Triangle 1296">
              <a:extLst>
                <a:ext uri="{FF2B5EF4-FFF2-40B4-BE49-F238E27FC236}">
                  <a16:creationId xmlns:a16="http://schemas.microsoft.com/office/drawing/2014/main" id="{7207848F-96C9-42CE-B22A-50A4F3CFAE36}"/>
                </a:ext>
              </a:extLst>
            </p:cNvPr>
            <p:cNvSpPr/>
            <p:nvPr/>
          </p:nvSpPr>
          <p:spPr bwMode="gray">
            <a:xfrm flipH="1">
              <a:off x="5814360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8" name="Right Triangle 1297">
              <a:extLst>
                <a:ext uri="{FF2B5EF4-FFF2-40B4-BE49-F238E27FC236}">
                  <a16:creationId xmlns:a16="http://schemas.microsoft.com/office/drawing/2014/main" id="{B27F16BA-53BC-4CA7-886E-1E5D4E5E8930}"/>
                </a:ext>
              </a:extLst>
            </p:cNvPr>
            <p:cNvSpPr/>
            <p:nvPr/>
          </p:nvSpPr>
          <p:spPr bwMode="gray">
            <a:xfrm rot="10800000" flipH="1">
              <a:off x="5814360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9" name="Right Triangle 1298">
              <a:extLst>
                <a:ext uri="{FF2B5EF4-FFF2-40B4-BE49-F238E27FC236}">
                  <a16:creationId xmlns:a16="http://schemas.microsoft.com/office/drawing/2014/main" id="{F7CA9B6E-AFE1-4BB0-BB85-58B11C60F6DF}"/>
                </a:ext>
              </a:extLst>
            </p:cNvPr>
            <p:cNvSpPr/>
            <p:nvPr/>
          </p:nvSpPr>
          <p:spPr bwMode="gray">
            <a:xfrm flipH="1" flipV="1">
              <a:off x="5814360" y="941662"/>
              <a:ext cx="971203" cy="971203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00" name="Right Triangle 1299">
              <a:extLst>
                <a:ext uri="{FF2B5EF4-FFF2-40B4-BE49-F238E27FC236}">
                  <a16:creationId xmlns:a16="http://schemas.microsoft.com/office/drawing/2014/main" id="{8545CF14-65E0-420C-B4A8-87CCD904AC07}"/>
                </a:ext>
              </a:extLst>
            </p:cNvPr>
            <p:cNvSpPr/>
            <p:nvPr/>
          </p:nvSpPr>
          <p:spPr bwMode="gray">
            <a:xfrm flipH="1">
              <a:off x="5814360" y="1913743"/>
              <a:ext cx="971203" cy="971203"/>
            </a:xfrm>
            <a:prstGeom prst="rtTriangle">
              <a:avLst/>
            </a:prstGeom>
            <a:solidFill>
              <a:sysClr val="window" lastClr="FFFFFF">
                <a:alpha val="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01" name="Right Triangle 1300">
              <a:extLst>
                <a:ext uri="{FF2B5EF4-FFF2-40B4-BE49-F238E27FC236}">
                  <a16:creationId xmlns:a16="http://schemas.microsoft.com/office/drawing/2014/main" id="{3B8AC1D2-39EF-4EF1-BDEE-E0FCA38A8B18}"/>
                </a:ext>
              </a:extLst>
            </p:cNvPr>
            <p:cNvSpPr/>
            <p:nvPr/>
          </p:nvSpPr>
          <p:spPr bwMode="gray">
            <a:xfrm rot="10800000" flipH="1">
              <a:off x="5814361" y="1913743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02" name="Right Triangle 1301">
              <a:extLst>
                <a:ext uri="{FF2B5EF4-FFF2-40B4-BE49-F238E27FC236}">
                  <a16:creationId xmlns:a16="http://schemas.microsoft.com/office/drawing/2014/main" id="{A408348B-F0F2-445A-B809-160C9B914895}"/>
                </a:ext>
              </a:extLst>
            </p:cNvPr>
            <p:cNvSpPr/>
            <p:nvPr/>
          </p:nvSpPr>
          <p:spPr bwMode="gray">
            <a:xfrm flipH="1">
              <a:off x="5814360" y="-27163"/>
              <a:ext cx="971203" cy="971203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03" name="Right Triangle 1302">
              <a:extLst>
                <a:ext uri="{FF2B5EF4-FFF2-40B4-BE49-F238E27FC236}">
                  <a16:creationId xmlns:a16="http://schemas.microsoft.com/office/drawing/2014/main" id="{DC08F041-1CAC-45D5-B3A5-D6343F612AAE}"/>
                </a:ext>
              </a:extLst>
            </p:cNvPr>
            <p:cNvSpPr/>
            <p:nvPr/>
          </p:nvSpPr>
          <p:spPr bwMode="gray">
            <a:xfrm rot="10800000" flipH="1">
              <a:off x="5814360" y="-22208"/>
              <a:ext cx="971203" cy="971203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0" name="Right Triangle 1189">
              <a:extLst>
                <a:ext uri="{FF2B5EF4-FFF2-40B4-BE49-F238E27FC236}">
                  <a16:creationId xmlns:a16="http://schemas.microsoft.com/office/drawing/2014/main" id="{D62AAE2C-6FC6-49B6-836D-9B292AB71CB0}"/>
                </a:ext>
              </a:extLst>
            </p:cNvPr>
            <p:cNvSpPr/>
            <p:nvPr/>
          </p:nvSpPr>
          <p:spPr bwMode="gray">
            <a:xfrm>
              <a:off x="4846200" y="5795355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1" name="Right Triangle 1190">
              <a:extLst>
                <a:ext uri="{FF2B5EF4-FFF2-40B4-BE49-F238E27FC236}">
                  <a16:creationId xmlns:a16="http://schemas.microsoft.com/office/drawing/2014/main" id="{77461235-8841-42F8-90C1-89E9FD423EC4}"/>
                </a:ext>
              </a:extLst>
            </p:cNvPr>
            <p:cNvSpPr/>
            <p:nvPr/>
          </p:nvSpPr>
          <p:spPr bwMode="gray">
            <a:xfrm flipV="1">
              <a:off x="4846200" y="3850989"/>
              <a:ext cx="971203" cy="971203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2" name="Right Triangle 1191">
              <a:extLst>
                <a:ext uri="{FF2B5EF4-FFF2-40B4-BE49-F238E27FC236}">
                  <a16:creationId xmlns:a16="http://schemas.microsoft.com/office/drawing/2014/main" id="{66AA5011-32A8-42CD-BE1C-80B5ECC601F5}"/>
                </a:ext>
              </a:extLst>
            </p:cNvPr>
            <p:cNvSpPr/>
            <p:nvPr/>
          </p:nvSpPr>
          <p:spPr bwMode="gray">
            <a:xfrm rot="10800000" flipV="1">
              <a:off x="4846201" y="385098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3" name="Right Triangle 1192">
              <a:extLst>
                <a:ext uri="{FF2B5EF4-FFF2-40B4-BE49-F238E27FC236}">
                  <a16:creationId xmlns:a16="http://schemas.microsoft.com/office/drawing/2014/main" id="{2502D9A9-530B-4BFC-91C2-D29FA99116CE}"/>
                </a:ext>
              </a:extLst>
            </p:cNvPr>
            <p:cNvSpPr/>
            <p:nvPr/>
          </p:nvSpPr>
          <p:spPr bwMode="gray">
            <a:xfrm>
              <a:off x="4846200" y="482306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4" name="Right Triangle 1193">
              <a:extLst>
                <a:ext uri="{FF2B5EF4-FFF2-40B4-BE49-F238E27FC236}">
                  <a16:creationId xmlns:a16="http://schemas.microsoft.com/office/drawing/2014/main" id="{B6656107-FF21-440C-A3DD-FC2B68F76538}"/>
                </a:ext>
              </a:extLst>
            </p:cNvPr>
            <p:cNvSpPr/>
            <p:nvPr/>
          </p:nvSpPr>
          <p:spPr bwMode="gray">
            <a:xfrm rot="10800000">
              <a:off x="4846201" y="4823069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5" name="Right Triangle 1194">
              <a:extLst>
                <a:ext uri="{FF2B5EF4-FFF2-40B4-BE49-F238E27FC236}">
                  <a16:creationId xmlns:a16="http://schemas.microsoft.com/office/drawing/2014/main" id="{9AD230EB-B369-494E-A027-811A9DA1F8EA}"/>
                </a:ext>
              </a:extLst>
            </p:cNvPr>
            <p:cNvSpPr/>
            <p:nvPr/>
          </p:nvSpPr>
          <p:spPr bwMode="gray">
            <a:xfrm>
              <a:off x="4846200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6" name="Right Triangle 1195">
              <a:extLst>
                <a:ext uri="{FF2B5EF4-FFF2-40B4-BE49-F238E27FC236}">
                  <a16:creationId xmlns:a16="http://schemas.microsoft.com/office/drawing/2014/main" id="{FE9534E6-084F-4AC6-9ECE-7F2A72E6493C}"/>
                </a:ext>
              </a:extLst>
            </p:cNvPr>
            <p:cNvSpPr/>
            <p:nvPr/>
          </p:nvSpPr>
          <p:spPr bwMode="gray">
            <a:xfrm rot="10800000">
              <a:off x="4846201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7" name="Right Triangle 1196">
              <a:extLst>
                <a:ext uri="{FF2B5EF4-FFF2-40B4-BE49-F238E27FC236}">
                  <a16:creationId xmlns:a16="http://schemas.microsoft.com/office/drawing/2014/main" id="{5EDBACC8-F54C-439F-A50D-D231B12D83F8}"/>
                </a:ext>
              </a:extLst>
            </p:cNvPr>
            <p:cNvSpPr/>
            <p:nvPr/>
          </p:nvSpPr>
          <p:spPr bwMode="gray">
            <a:xfrm flipV="1">
              <a:off x="4846200" y="941662"/>
              <a:ext cx="971203" cy="971203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8" name="Right Triangle 1197">
              <a:extLst>
                <a:ext uri="{FF2B5EF4-FFF2-40B4-BE49-F238E27FC236}">
                  <a16:creationId xmlns:a16="http://schemas.microsoft.com/office/drawing/2014/main" id="{CEB40B3D-6E9B-4245-8879-CB3949A45B3C}"/>
                </a:ext>
              </a:extLst>
            </p:cNvPr>
            <p:cNvSpPr/>
            <p:nvPr/>
          </p:nvSpPr>
          <p:spPr bwMode="gray">
            <a:xfrm rot="10800000" flipV="1">
              <a:off x="4846201" y="941662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9" name="Right Triangle 1198">
              <a:extLst>
                <a:ext uri="{FF2B5EF4-FFF2-40B4-BE49-F238E27FC236}">
                  <a16:creationId xmlns:a16="http://schemas.microsoft.com/office/drawing/2014/main" id="{4D7EE517-176B-46DD-A735-2233137A069E}"/>
                </a:ext>
              </a:extLst>
            </p:cNvPr>
            <p:cNvSpPr/>
            <p:nvPr/>
          </p:nvSpPr>
          <p:spPr bwMode="gray">
            <a:xfrm>
              <a:off x="4846200" y="1906999"/>
              <a:ext cx="971203" cy="971203"/>
            </a:xfrm>
            <a:prstGeom prst="rtTriangle">
              <a:avLst/>
            </a:prstGeom>
            <a:solidFill>
              <a:sysClr val="window" lastClr="FFFFFF">
                <a:alpha val="7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0" name="Right Triangle 1199">
              <a:extLst>
                <a:ext uri="{FF2B5EF4-FFF2-40B4-BE49-F238E27FC236}">
                  <a16:creationId xmlns:a16="http://schemas.microsoft.com/office/drawing/2014/main" id="{81F86127-CB8B-4CE9-9FE8-E42382C2D64A}"/>
                </a:ext>
              </a:extLst>
            </p:cNvPr>
            <p:cNvSpPr/>
            <p:nvPr/>
          </p:nvSpPr>
          <p:spPr bwMode="gray">
            <a:xfrm rot="10800000">
              <a:off x="4846201" y="1913743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1" name="Right Triangle 1200">
              <a:extLst>
                <a:ext uri="{FF2B5EF4-FFF2-40B4-BE49-F238E27FC236}">
                  <a16:creationId xmlns:a16="http://schemas.microsoft.com/office/drawing/2014/main" id="{8988B86D-EC90-4A65-B2B1-15CC2DCADEF0}"/>
                </a:ext>
              </a:extLst>
            </p:cNvPr>
            <p:cNvSpPr/>
            <p:nvPr/>
          </p:nvSpPr>
          <p:spPr bwMode="gray">
            <a:xfrm>
              <a:off x="4846200" y="-27163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2" name="Right Triangle 1201">
              <a:extLst>
                <a:ext uri="{FF2B5EF4-FFF2-40B4-BE49-F238E27FC236}">
                  <a16:creationId xmlns:a16="http://schemas.microsoft.com/office/drawing/2014/main" id="{190A3333-9278-4E4B-A5B7-BD42FB3214BB}"/>
                </a:ext>
              </a:extLst>
            </p:cNvPr>
            <p:cNvSpPr/>
            <p:nvPr/>
          </p:nvSpPr>
          <p:spPr bwMode="gray">
            <a:xfrm rot="10800000">
              <a:off x="4846201" y="-22209"/>
              <a:ext cx="971203" cy="971203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3" name="Right Triangle 1202">
              <a:extLst>
                <a:ext uri="{FF2B5EF4-FFF2-40B4-BE49-F238E27FC236}">
                  <a16:creationId xmlns:a16="http://schemas.microsoft.com/office/drawing/2014/main" id="{CDE818C9-2D85-4A32-B817-12E8BCFECBA3}"/>
                </a:ext>
              </a:extLst>
            </p:cNvPr>
            <p:cNvSpPr/>
            <p:nvPr/>
          </p:nvSpPr>
          <p:spPr bwMode="gray">
            <a:xfrm flipH="1">
              <a:off x="5814360" y="5795355"/>
              <a:ext cx="971203" cy="971203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4" name="Right Triangle 1203">
              <a:extLst>
                <a:ext uri="{FF2B5EF4-FFF2-40B4-BE49-F238E27FC236}">
                  <a16:creationId xmlns:a16="http://schemas.microsoft.com/office/drawing/2014/main" id="{82E2E618-328A-4C20-9916-12C7A41F4870}"/>
                </a:ext>
              </a:extLst>
            </p:cNvPr>
            <p:cNvSpPr/>
            <p:nvPr/>
          </p:nvSpPr>
          <p:spPr bwMode="gray">
            <a:xfrm rot="10800000" flipH="1">
              <a:off x="5814360" y="5795355"/>
              <a:ext cx="971203" cy="971203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5" name="Right Triangle 1204">
              <a:extLst>
                <a:ext uri="{FF2B5EF4-FFF2-40B4-BE49-F238E27FC236}">
                  <a16:creationId xmlns:a16="http://schemas.microsoft.com/office/drawing/2014/main" id="{BBF7E102-3EBB-4D44-BEFF-ECA3F4772894}"/>
                </a:ext>
              </a:extLst>
            </p:cNvPr>
            <p:cNvSpPr/>
            <p:nvPr/>
          </p:nvSpPr>
          <p:spPr bwMode="gray">
            <a:xfrm flipH="1" flipV="1">
              <a:off x="5814360" y="3850989"/>
              <a:ext cx="971203" cy="971203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6" name="Right Triangle 1205">
              <a:extLst>
                <a:ext uri="{FF2B5EF4-FFF2-40B4-BE49-F238E27FC236}">
                  <a16:creationId xmlns:a16="http://schemas.microsoft.com/office/drawing/2014/main" id="{2FDFBDFB-CDCB-49C9-AD03-80459016C08B}"/>
                </a:ext>
              </a:extLst>
            </p:cNvPr>
            <p:cNvSpPr/>
            <p:nvPr/>
          </p:nvSpPr>
          <p:spPr bwMode="gray">
            <a:xfrm rot="10800000" flipH="1">
              <a:off x="5814360" y="482306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7" name="Right Triangle 1206">
              <a:extLst>
                <a:ext uri="{FF2B5EF4-FFF2-40B4-BE49-F238E27FC236}">
                  <a16:creationId xmlns:a16="http://schemas.microsoft.com/office/drawing/2014/main" id="{900B915C-DF22-4A35-9F41-80CB892E880C}"/>
                </a:ext>
              </a:extLst>
            </p:cNvPr>
            <p:cNvSpPr/>
            <p:nvPr/>
          </p:nvSpPr>
          <p:spPr bwMode="gray">
            <a:xfrm flipH="1">
              <a:off x="5814360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8" name="Right Triangle 1207">
              <a:extLst>
                <a:ext uri="{FF2B5EF4-FFF2-40B4-BE49-F238E27FC236}">
                  <a16:creationId xmlns:a16="http://schemas.microsoft.com/office/drawing/2014/main" id="{61245C07-04D4-4B13-B181-25F321460AC5}"/>
                </a:ext>
              </a:extLst>
            </p:cNvPr>
            <p:cNvSpPr/>
            <p:nvPr/>
          </p:nvSpPr>
          <p:spPr bwMode="gray">
            <a:xfrm rot="10800000" flipH="1">
              <a:off x="5814360" y="2882357"/>
              <a:ext cx="971203" cy="971203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09" name="Right Triangle 1208">
              <a:extLst>
                <a:ext uri="{FF2B5EF4-FFF2-40B4-BE49-F238E27FC236}">
                  <a16:creationId xmlns:a16="http://schemas.microsoft.com/office/drawing/2014/main" id="{0B3F095C-147B-40DA-B216-4CE9ABC51E27}"/>
                </a:ext>
              </a:extLst>
            </p:cNvPr>
            <p:cNvSpPr/>
            <p:nvPr/>
          </p:nvSpPr>
          <p:spPr bwMode="gray">
            <a:xfrm flipH="1" flipV="1">
              <a:off x="5814360" y="941662"/>
              <a:ext cx="971203" cy="971203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10" name="Right Triangle 1209">
              <a:extLst>
                <a:ext uri="{FF2B5EF4-FFF2-40B4-BE49-F238E27FC236}">
                  <a16:creationId xmlns:a16="http://schemas.microsoft.com/office/drawing/2014/main" id="{EAADECC5-5FB3-437B-A9D5-3040D37E1559}"/>
                </a:ext>
              </a:extLst>
            </p:cNvPr>
            <p:cNvSpPr/>
            <p:nvPr/>
          </p:nvSpPr>
          <p:spPr bwMode="gray">
            <a:xfrm flipH="1">
              <a:off x="5814360" y="1913743"/>
              <a:ext cx="971203" cy="971203"/>
            </a:xfrm>
            <a:prstGeom prst="rtTriangle">
              <a:avLst/>
            </a:prstGeom>
            <a:solidFill>
              <a:sysClr val="window" lastClr="FFFFFF">
                <a:alpha val="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11" name="Right Triangle 1210">
              <a:extLst>
                <a:ext uri="{FF2B5EF4-FFF2-40B4-BE49-F238E27FC236}">
                  <a16:creationId xmlns:a16="http://schemas.microsoft.com/office/drawing/2014/main" id="{527B9344-90BF-4E2D-AA21-FF858CBD8B19}"/>
                </a:ext>
              </a:extLst>
            </p:cNvPr>
            <p:cNvSpPr/>
            <p:nvPr/>
          </p:nvSpPr>
          <p:spPr bwMode="gray">
            <a:xfrm rot="10800000" flipH="1">
              <a:off x="5814361" y="1913743"/>
              <a:ext cx="971203" cy="971203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12" name="Right Triangle 1211">
              <a:extLst>
                <a:ext uri="{FF2B5EF4-FFF2-40B4-BE49-F238E27FC236}">
                  <a16:creationId xmlns:a16="http://schemas.microsoft.com/office/drawing/2014/main" id="{7B7BE535-DC23-4788-AF7D-AD08C73C54A8}"/>
                </a:ext>
              </a:extLst>
            </p:cNvPr>
            <p:cNvSpPr/>
            <p:nvPr/>
          </p:nvSpPr>
          <p:spPr bwMode="gray">
            <a:xfrm flipH="1">
              <a:off x="5814360" y="-27163"/>
              <a:ext cx="971203" cy="971203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13" name="Right Triangle 1212">
              <a:extLst>
                <a:ext uri="{FF2B5EF4-FFF2-40B4-BE49-F238E27FC236}">
                  <a16:creationId xmlns:a16="http://schemas.microsoft.com/office/drawing/2014/main" id="{122FC8A4-AA5B-4DD1-9AF3-25A3F664F6A7}"/>
                </a:ext>
              </a:extLst>
            </p:cNvPr>
            <p:cNvSpPr/>
            <p:nvPr/>
          </p:nvSpPr>
          <p:spPr bwMode="gray">
            <a:xfrm rot="10800000" flipH="1">
              <a:off x="5814360" y="-22209"/>
              <a:ext cx="971203" cy="971203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537" name="Group 536">
            <a:extLst>
              <a:ext uri="{FF2B5EF4-FFF2-40B4-BE49-F238E27FC236}">
                <a16:creationId xmlns:a16="http://schemas.microsoft.com/office/drawing/2014/main" id="{2BFD5E10-CDE1-41B1-8EAE-E200B19BA8E7}"/>
              </a:ext>
            </a:extLst>
          </p:cNvPr>
          <p:cNvGrpSpPr/>
          <p:nvPr/>
        </p:nvGrpSpPr>
        <p:grpSpPr bwMode="gray">
          <a:xfrm>
            <a:off x="-3444" y="-27163"/>
            <a:ext cx="4854360" cy="6793723"/>
            <a:chOff x="7741658" y="0"/>
            <a:chExt cx="4839033" cy="6774037"/>
          </a:xfrm>
        </p:grpSpPr>
        <p:sp>
          <p:nvSpPr>
            <p:cNvPr id="538" name="TextBox 537">
              <a:extLst>
                <a:ext uri="{FF2B5EF4-FFF2-40B4-BE49-F238E27FC236}">
                  <a16:creationId xmlns:a16="http://schemas.microsoft.com/office/drawing/2014/main" id="{56E6A3C1-2684-4951-9DAF-A6F54824FF3C}"/>
                </a:ext>
              </a:extLst>
            </p:cNvPr>
            <p:cNvSpPr txBox="1"/>
            <p:nvPr/>
          </p:nvSpPr>
          <p:spPr bwMode="gray">
            <a:xfrm>
              <a:off x="11490941" y="6388099"/>
              <a:ext cx="437990" cy="36512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r">
                <a:lnSpc>
                  <a:spcPct val="90000"/>
                </a:lnSpc>
              </a:pPr>
              <a:fld id="{7A51DB15-7364-4F0B-A3A0-1309F8830053}" type="slidenum">
                <a:rPr lang="en-US" sz="800" smtClean="0">
                  <a:latin typeface="+mj-lt"/>
                </a:rPr>
                <a:pPr algn="r">
                  <a:lnSpc>
                    <a:spcPct val="90000"/>
                  </a:lnSpc>
                </a:pPr>
                <a:t>‹#›</a:t>
              </a:fld>
              <a:endParaRPr lang="en-US" sz="1800" dirty="0">
                <a:latin typeface="+mj-lt"/>
              </a:endParaRPr>
            </a:p>
          </p:txBody>
        </p:sp>
        <p:sp>
          <p:nvSpPr>
            <p:cNvPr id="552" name="Rectangle 551">
              <a:extLst>
                <a:ext uri="{FF2B5EF4-FFF2-40B4-BE49-F238E27FC236}">
                  <a16:creationId xmlns:a16="http://schemas.microsoft.com/office/drawing/2014/main" id="{6733CA49-70E7-45DC-95C4-D2B51A69DBFA}"/>
                </a:ext>
              </a:extLst>
            </p:cNvPr>
            <p:cNvSpPr/>
            <p:nvPr userDrawn="1"/>
          </p:nvSpPr>
          <p:spPr bwMode="gray">
            <a:xfrm>
              <a:off x="7741658" y="1"/>
              <a:ext cx="4835590" cy="6774036"/>
            </a:xfrm>
            <a:prstGeom prst="rect">
              <a:avLst/>
            </a:prstGeom>
            <a:solidFill>
              <a:srgbClr val="C6C6C8">
                <a:lumMod val="40000"/>
                <a:lumOff val="6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564" name="Right Triangle 563">
              <a:extLst>
                <a:ext uri="{FF2B5EF4-FFF2-40B4-BE49-F238E27FC236}">
                  <a16:creationId xmlns:a16="http://schemas.microsoft.com/office/drawing/2014/main" id="{8E43B665-8807-489B-8F6A-6922F4DED471}"/>
                </a:ext>
              </a:extLst>
            </p:cNvPr>
            <p:cNvSpPr/>
            <p:nvPr/>
          </p:nvSpPr>
          <p:spPr bwMode="gray">
            <a:xfrm>
              <a:off x="9675524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76" name="Right Triangle 575">
              <a:extLst>
                <a:ext uri="{FF2B5EF4-FFF2-40B4-BE49-F238E27FC236}">
                  <a16:creationId xmlns:a16="http://schemas.microsoft.com/office/drawing/2014/main" id="{1ADAF945-83BF-4BD7-8649-2AE354DF9A34}"/>
                </a:ext>
              </a:extLst>
            </p:cNvPr>
            <p:cNvSpPr/>
            <p:nvPr/>
          </p:nvSpPr>
          <p:spPr bwMode="gray">
            <a:xfrm rot="10800000">
              <a:off x="9675524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89" name="Right Triangle 588">
              <a:extLst>
                <a:ext uri="{FF2B5EF4-FFF2-40B4-BE49-F238E27FC236}">
                  <a16:creationId xmlns:a16="http://schemas.microsoft.com/office/drawing/2014/main" id="{23917272-3942-4C8B-AB7B-FD6B718E5F32}"/>
                </a:ext>
              </a:extLst>
            </p:cNvPr>
            <p:cNvSpPr/>
            <p:nvPr/>
          </p:nvSpPr>
          <p:spPr bwMode="gray">
            <a:xfrm flipV="1">
              <a:off x="9675524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01" name="Right Triangle 600">
              <a:extLst>
                <a:ext uri="{FF2B5EF4-FFF2-40B4-BE49-F238E27FC236}">
                  <a16:creationId xmlns:a16="http://schemas.microsoft.com/office/drawing/2014/main" id="{CC39CDF1-4715-4B96-B9B0-3B74A3E8F9E0}"/>
                </a:ext>
              </a:extLst>
            </p:cNvPr>
            <p:cNvSpPr/>
            <p:nvPr/>
          </p:nvSpPr>
          <p:spPr bwMode="gray">
            <a:xfrm>
              <a:off x="9675524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4" name="Right Triangle 613">
              <a:extLst>
                <a:ext uri="{FF2B5EF4-FFF2-40B4-BE49-F238E27FC236}">
                  <a16:creationId xmlns:a16="http://schemas.microsoft.com/office/drawing/2014/main" id="{15794128-E1B0-4812-965B-D6DDCC659FFA}"/>
                </a:ext>
              </a:extLst>
            </p:cNvPr>
            <p:cNvSpPr/>
            <p:nvPr/>
          </p:nvSpPr>
          <p:spPr bwMode="gray">
            <a:xfrm rot="10800000">
              <a:off x="9675524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3" name="Right Triangle 622">
              <a:extLst>
                <a:ext uri="{FF2B5EF4-FFF2-40B4-BE49-F238E27FC236}">
                  <a16:creationId xmlns:a16="http://schemas.microsoft.com/office/drawing/2014/main" id="{C833C83D-33DD-44E8-A825-842E30519072}"/>
                </a:ext>
              </a:extLst>
            </p:cNvPr>
            <p:cNvSpPr/>
            <p:nvPr/>
          </p:nvSpPr>
          <p:spPr bwMode="gray">
            <a:xfrm>
              <a:off x="9675524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6" name="Right Triangle 635">
              <a:extLst>
                <a:ext uri="{FF2B5EF4-FFF2-40B4-BE49-F238E27FC236}">
                  <a16:creationId xmlns:a16="http://schemas.microsoft.com/office/drawing/2014/main" id="{7469EA5F-C5E4-4A65-9723-B5DB01E466E6}"/>
                </a:ext>
              </a:extLst>
            </p:cNvPr>
            <p:cNvSpPr/>
            <p:nvPr/>
          </p:nvSpPr>
          <p:spPr bwMode="gray">
            <a:xfrm flipV="1">
              <a:off x="9675524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7" name="Right Triangle 636">
              <a:extLst>
                <a:ext uri="{FF2B5EF4-FFF2-40B4-BE49-F238E27FC236}">
                  <a16:creationId xmlns:a16="http://schemas.microsoft.com/office/drawing/2014/main" id="{84056FFF-F7D6-401F-B287-34F379343EC7}"/>
                </a:ext>
              </a:extLst>
            </p:cNvPr>
            <p:cNvSpPr/>
            <p:nvPr/>
          </p:nvSpPr>
          <p:spPr bwMode="gray">
            <a:xfrm>
              <a:off x="9675524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51" name="Right Triangle 650">
              <a:extLst>
                <a:ext uri="{FF2B5EF4-FFF2-40B4-BE49-F238E27FC236}">
                  <a16:creationId xmlns:a16="http://schemas.microsoft.com/office/drawing/2014/main" id="{DE7FCE93-6C38-4B5C-9BA7-1DBBCFB7070E}"/>
                </a:ext>
              </a:extLst>
            </p:cNvPr>
            <p:cNvSpPr/>
            <p:nvPr/>
          </p:nvSpPr>
          <p:spPr bwMode="gray">
            <a:xfrm rot="10800000">
              <a:off x="9675525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63" name="Right Triangle 662">
              <a:extLst>
                <a:ext uri="{FF2B5EF4-FFF2-40B4-BE49-F238E27FC236}">
                  <a16:creationId xmlns:a16="http://schemas.microsoft.com/office/drawing/2014/main" id="{CC9725E5-2554-4231-9B46-EBFA27986AFD}"/>
                </a:ext>
              </a:extLst>
            </p:cNvPr>
            <p:cNvSpPr/>
            <p:nvPr/>
          </p:nvSpPr>
          <p:spPr bwMode="gray">
            <a:xfrm>
              <a:off x="9675524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75" name="Right Triangle 674">
              <a:extLst>
                <a:ext uri="{FF2B5EF4-FFF2-40B4-BE49-F238E27FC236}">
                  <a16:creationId xmlns:a16="http://schemas.microsoft.com/office/drawing/2014/main" id="{4C77F57B-0DDD-4459-81E1-4AD9C0329854}"/>
                </a:ext>
              </a:extLst>
            </p:cNvPr>
            <p:cNvSpPr/>
            <p:nvPr/>
          </p:nvSpPr>
          <p:spPr bwMode="gray">
            <a:xfrm rot="10800000">
              <a:off x="9675524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88" name="Right Triangle 687">
              <a:extLst>
                <a:ext uri="{FF2B5EF4-FFF2-40B4-BE49-F238E27FC236}">
                  <a16:creationId xmlns:a16="http://schemas.microsoft.com/office/drawing/2014/main" id="{86CF6C92-029A-462F-9C85-DCF82427795B}"/>
                </a:ext>
              </a:extLst>
            </p:cNvPr>
            <p:cNvSpPr/>
            <p:nvPr/>
          </p:nvSpPr>
          <p:spPr bwMode="gray">
            <a:xfrm flipH="1">
              <a:off x="10643913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00" name="Right Triangle 699">
              <a:extLst>
                <a:ext uri="{FF2B5EF4-FFF2-40B4-BE49-F238E27FC236}">
                  <a16:creationId xmlns:a16="http://schemas.microsoft.com/office/drawing/2014/main" id="{3D767A94-5771-4DD8-90BC-79CE8A72C61F}"/>
                </a:ext>
              </a:extLst>
            </p:cNvPr>
            <p:cNvSpPr/>
            <p:nvPr/>
          </p:nvSpPr>
          <p:spPr bwMode="gray">
            <a:xfrm flipH="1" flipV="1">
              <a:off x="10643913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3" name="Right Triangle 712">
              <a:extLst>
                <a:ext uri="{FF2B5EF4-FFF2-40B4-BE49-F238E27FC236}">
                  <a16:creationId xmlns:a16="http://schemas.microsoft.com/office/drawing/2014/main" id="{9C450089-4393-4E01-B03E-923ADFC7DB06}"/>
                </a:ext>
              </a:extLst>
            </p:cNvPr>
            <p:cNvSpPr/>
            <p:nvPr/>
          </p:nvSpPr>
          <p:spPr bwMode="gray">
            <a:xfrm rot="10800000" flipH="1" flipV="1">
              <a:off x="10643914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2" name="Right Triangle 721">
              <a:extLst>
                <a:ext uri="{FF2B5EF4-FFF2-40B4-BE49-F238E27FC236}">
                  <a16:creationId xmlns:a16="http://schemas.microsoft.com/office/drawing/2014/main" id="{C2F9DFFF-F0C5-4FFD-8433-7B0CA0F8FA84}"/>
                </a:ext>
              </a:extLst>
            </p:cNvPr>
            <p:cNvSpPr/>
            <p:nvPr/>
          </p:nvSpPr>
          <p:spPr bwMode="gray">
            <a:xfrm flipH="1">
              <a:off x="10643913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5" name="Right Triangle 734">
              <a:extLst>
                <a:ext uri="{FF2B5EF4-FFF2-40B4-BE49-F238E27FC236}">
                  <a16:creationId xmlns:a16="http://schemas.microsoft.com/office/drawing/2014/main" id="{B1FDA982-2DCE-4824-8098-8FC4A533C106}"/>
                </a:ext>
              </a:extLst>
            </p:cNvPr>
            <p:cNvSpPr/>
            <p:nvPr/>
          </p:nvSpPr>
          <p:spPr bwMode="gray">
            <a:xfrm flipH="1">
              <a:off x="10643913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6" name="Right Triangle 735">
              <a:extLst>
                <a:ext uri="{FF2B5EF4-FFF2-40B4-BE49-F238E27FC236}">
                  <a16:creationId xmlns:a16="http://schemas.microsoft.com/office/drawing/2014/main" id="{4D97E87E-CAC1-41D8-B5CD-3A938AF59576}"/>
                </a:ext>
              </a:extLst>
            </p:cNvPr>
            <p:cNvSpPr/>
            <p:nvPr/>
          </p:nvSpPr>
          <p:spPr bwMode="gray">
            <a:xfrm rot="10800000" flipH="1">
              <a:off x="10643914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50" name="Right Triangle 749">
              <a:extLst>
                <a:ext uri="{FF2B5EF4-FFF2-40B4-BE49-F238E27FC236}">
                  <a16:creationId xmlns:a16="http://schemas.microsoft.com/office/drawing/2014/main" id="{5D7A3A12-6DC8-4577-BC67-55A515CE6F0B}"/>
                </a:ext>
              </a:extLst>
            </p:cNvPr>
            <p:cNvSpPr/>
            <p:nvPr/>
          </p:nvSpPr>
          <p:spPr bwMode="gray">
            <a:xfrm flipH="1" flipV="1">
              <a:off x="10643913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2" name="Right Triangle 761">
              <a:extLst>
                <a:ext uri="{FF2B5EF4-FFF2-40B4-BE49-F238E27FC236}">
                  <a16:creationId xmlns:a16="http://schemas.microsoft.com/office/drawing/2014/main" id="{486E58FC-0CE6-400F-AF29-13F51B79D82F}"/>
                </a:ext>
              </a:extLst>
            </p:cNvPr>
            <p:cNvSpPr/>
            <p:nvPr/>
          </p:nvSpPr>
          <p:spPr bwMode="gray">
            <a:xfrm rot="10800000" flipH="1" flipV="1">
              <a:off x="10643913" y="96601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4" name="Right Triangle 773">
              <a:extLst>
                <a:ext uri="{FF2B5EF4-FFF2-40B4-BE49-F238E27FC236}">
                  <a16:creationId xmlns:a16="http://schemas.microsoft.com/office/drawing/2014/main" id="{5A02261E-A733-4433-806F-FA79D56835DB}"/>
                </a:ext>
              </a:extLst>
            </p:cNvPr>
            <p:cNvSpPr/>
            <p:nvPr/>
          </p:nvSpPr>
          <p:spPr bwMode="gray">
            <a:xfrm flipH="1">
              <a:off x="10643913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87" name="Right Triangle 786">
              <a:extLst>
                <a:ext uri="{FF2B5EF4-FFF2-40B4-BE49-F238E27FC236}">
                  <a16:creationId xmlns:a16="http://schemas.microsoft.com/office/drawing/2014/main" id="{56BD73FE-2BCD-4B4E-9F4C-1C84D45A821D}"/>
                </a:ext>
              </a:extLst>
            </p:cNvPr>
            <p:cNvSpPr/>
            <p:nvPr/>
          </p:nvSpPr>
          <p:spPr bwMode="gray">
            <a:xfrm rot="10800000" flipH="1">
              <a:off x="10643914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99" name="Right Triangle 798">
              <a:extLst>
                <a:ext uri="{FF2B5EF4-FFF2-40B4-BE49-F238E27FC236}">
                  <a16:creationId xmlns:a16="http://schemas.microsoft.com/office/drawing/2014/main" id="{F1F85BC1-85A5-4DB5-A273-D3D4086BBA3B}"/>
                </a:ext>
              </a:extLst>
            </p:cNvPr>
            <p:cNvSpPr/>
            <p:nvPr/>
          </p:nvSpPr>
          <p:spPr bwMode="gray">
            <a:xfrm flipH="1">
              <a:off x="10643913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12" name="Right Triangle 811">
              <a:extLst>
                <a:ext uri="{FF2B5EF4-FFF2-40B4-BE49-F238E27FC236}">
                  <a16:creationId xmlns:a16="http://schemas.microsoft.com/office/drawing/2014/main" id="{D9933762-B98F-4131-B649-F529A861786F}"/>
                </a:ext>
              </a:extLst>
            </p:cNvPr>
            <p:cNvSpPr/>
            <p:nvPr/>
          </p:nvSpPr>
          <p:spPr bwMode="gray">
            <a:xfrm rot="10800000" flipH="1">
              <a:off x="10643913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34" name="Right Triangle 833">
              <a:extLst>
                <a:ext uri="{FF2B5EF4-FFF2-40B4-BE49-F238E27FC236}">
                  <a16:creationId xmlns:a16="http://schemas.microsoft.com/office/drawing/2014/main" id="{129E2BD4-030B-4BC7-B01A-723B9D331FD1}"/>
                </a:ext>
              </a:extLst>
            </p:cNvPr>
            <p:cNvSpPr/>
            <p:nvPr/>
          </p:nvSpPr>
          <p:spPr bwMode="gray">
            <a:xfrm>
              <a:off x="11612301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35" name="Right Triangle 834">
              <a:extLst>
                <a:ext uri="{FF2B5EF4-FFF2-40B4-BE49-F238E27FC236}">
                  <a16:creationId xmlns:a16="http://schemas.microsoft.com/office/drawing/2014/main" id="{343E658E-CCA0-416B-B85D-1ECA360DFED0}"/>
                </a:ext>
              </a:extLst>
            </p:cNvPr>
            <p:cNvSpPr/>
            <p:nvPr/>
          </p:nvSpPr>
          <p:spPr bwMode="gray">
            <a:xfrm rot="10800000">
              <a:off x="11612301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61" name="Right Triangle 860">
              <a:extLst>
                <a:ext uri="{FF2B5EF4-FFF2-40B4-BE49-F238E27FC236}">
                  <a16:creationId xmlns:a16="http://schemas.microsoft.com/office/drawing/2014/main" id="{4C58AEB9-A7E5-47F8-8728-BF57EA889636}"/>
                </a:ext>
              </a:extLst>
            </p:cNvPr>
            <p:cNvSpPr/>
            <p:nvPr/>
          </p:nvSpPr>
          <p:spPr bwMode="gray">
            <a:xfrm flipV="1">
              <a:off x="11612301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62" name="Right Triangle 861">
              <a:extLst>
                <a:ext uri="{FF2B5EF4-FFF2-40B4-BE49-F238E27FC236}">
                  <a16:creationId xmlns:a16="http://schemas.microsoft.com/office/drawing/2014/main" id="{DE4B37D4-6C84-46B5-9A65-95DC4ED3C3A2}"/>
                </a:ext>
              </a:extLst>
            </p:cNvPr>
            <p:cNvSpPr/>
            <p:nvPr/>
          </p:nvSpPr>
          <p:spPr bwMode="gray">
            <a:xfrm>
              <a:off x="11612301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64" name="Right Triangle 863">
              <a:extLst>
                <a:ext uri="{FF2B5EF4-FFF2-40B4-BE49-F238E27FC236}">
                  <a16:creationId xmlns:a16="http://schemas.microsoft.com/office/drawing/2014/main" id="{74E3A82A-F2CD-481F-A235-C5BC0B30502C}"/>
                </a:ext>
              </a:extLst>
            </p:cNvPr>
            <p:cNvSpPr/>
            <p:nvPr/>
          </p:nvSpPr>
          <p:spPr bwMode="gray">
            <a:xfrm rot="10800000">
              <a:off x="11612302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65" name="Right Triangle 864">
              <a:extLst>
                <a:ext uri="{FF2B5EF4-FFF2-40B4-BE49-F238E27FC236}">
                  <a16:creationId xmlns:a16="http://schemas.microsoft.com/office/drawing/2014/main" id="{B6B44139-B951-4E98-85B4-F44B0C95CAFE}"/>
                </a:ext>
              </a:extLst>
            </p:cNvPr>
            <p:cNvSpPr/>
            <p:nvPr/>
          </p:nvSpPr>
          <p:spPr bwMode="gray">
            <a:xfrm>
              <a:off x="11612301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66" name="Right Triangle 865">
              <a:extLst>
                <a:ext uri="{FF2B5EF4-FFF2-40B4-BE49-F238E27FC236}">
                  <a16:creationId xmlns:a16="http://schemas.microsoft.com/office/drawing/2014/main" id="{46A0E742-0584-43DD-9EDD-F7DDD35872C2}"/>
                </a:ext>
              </a:extLst>
            </p:cNvPr>
            <p:cNvSpPr/>
            <p:nvPr/>
          </p:nvSpPr>
          <p:spPr bwMode="gray">
            <a:xfrm rot="10800000">
              <a:off x="11612301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9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67" name="Right Triangle 866">
              <a:extLst>
                <a:ext uri="{FF2B5EF4-FFF2-40B4-BE49-F238E27FC236}">
                  <a16:creationId xmlns:a16="http://schemas.microsoft.com/office/drawing/2014/main" id="{D9F15669-4B52-44FC-B79C-CCD6BBC174E0}"/>
                </a:ext>
              </a:extLst>
            </p:cNvPr>
            <p:cNvSpPr/>
            <p:nvPr/>
          </p:nvSpPr>
          <p:spPr bwMode="gray">
            <a:xfrm flipV="1">
              <a:off x="11612301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68" name="Right Triangle 867">
              <a:extLst>
                <a:ext uri="{FF2B5EF4-FFF2-40B4-BE49-F238E27FC236}">
                  <a16:creationId xmlns:a16="http://schemas.microsoft.com/office/drawing/2014/main" id="{488E0829-5F98-4E99-BABD-5EC33F17366A}"/>
                </a:ext>
              </a:extLst>
            </p:cNvPr>
            <p:cNvSpPr/>
            <p:nvPr/>
          </p:nvSpPr>
          <p:spPr bwMode="gray">
            <a:xfrm rot="10800000">
              <a:off x="11612301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69" name="Right Triangle 868">
              <a:extLst>
                <a:ext uri="{FF2B5EF4-FFF2-40B4-BE49-F238E27FC236}">
                  <a16:creationId xmlns:a16="http://schemas.microsoft.com/office/drawing/2014/main" id="{3C1E2CFF-5714-467A-A9C8-6A945EDD32DD}"/>
                </a:ext>
              </a:extLst>
            </p:cNvPr>
            <p:cNvSpPr/>
            <p:nvPr/>
          </p:nvSpPr>
          <p:spPr bwMode="gray">
            <a:xfrm>
              <a:off x="11612301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0" name="Right Triangle 869">
              <a:extLst>
                <a:ext uri="{FF2B5EF4-FFF2-40B4-BE49-F238E27FC236}">
                  <a16:creationId xmlns:a16="http://schemas.microsoft.com/office/drawing/2014/main" id="{8C89C430-E1B0-4D99-B3D6-465673368D1B}"/>
                </a:ext>
              </a:extLst>
            </p:cNvPr>
            <p:cNvSpPr/>
            <p:nvPr/>
          </p:nvSpPr>
          <p:spPr bwMode="gray">
            <a:xfrm rot="10800000">
              <a:off x="11612301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1" name="Right Triangle 870">
              <a:extLst>
                <a:ext uri="{FF2B5EF4-FFF2-40B4-BE49-F238E27FC236}">
                  <a16:creationId xmlns:a16="http://schemas.microsoft.com/office/drawing/2014/main" id="{7C1CF9A6-E91E-4D7C-B384-CE4B1D8F5742}"/>
                </a:ext>
              </a:extLst>
            </p:cNvPr>
            <p:cNvSpPr/>
            <p:nvPr/>
          </p:nvSpPr>
          <p:spPr bwMode="gray">
            <a:xfrm>
              <a:off x="7741658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3" name="Right Triangle 872">
              <a:extLst>
                <a:ext uri="{FF2B5EF4-FFF2-40B4-BE49-F238E27FC236}">
                  <a16:creationId xmlns:a16="http://schemas.microsoft.com/office/drawing/2014/main" id="{068F91EC-4665-423C-8167-AD57B9F41A87}"/>
                </a:ext>
              </a:extLst>
            </p:cNvPr>
            <p:cNvSpPr/>
            <p:nvPr/>
          </p:nvSpPr>
          <p:spPr bwMode="gray">
            <a:xfrm flipV="1">
              <a:off x="7741658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4" name="Right Triangle 873">
              <a:extLst>
                <a:ext uri="{FF2B5EF4-FFF2-40B4-BE49-F238E27FC236}">
                  <a16:creationId xmlns:a16="http://schemas.microsoft.com/office/drawing/2014/main" id="{C95D7B2D-B645-4D9F-B933-622E892964BA}"/>
                </a:ext>
              </a:extLst>
            </p:cNvPr>
            <p:cNvSpPr/>
            <p:nvPr/>
          </p:nvSpPr>
          <p:spPr bwMode="gray">
            <a:xfrm rot="10800000" flipV="1">
              <a:off x="7741659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5" name="Right Triangle 874">
              <a:extLst>
                <a:ext uri="{FF2B5EF4-FFF2-40B4-BE49-F238E27FC236}">
                  <a16:creationId xmlns:a16="http://schemas.microsoft.com/office/drawing/2014/main" id="{45522A93-8C3B-4BF4-8183-C206389D74B8}"/>
                </a:ext>
              </a:extLst>
            </p:cNvPr>
            <p:cNvSpPr/>
            <p:nvPr/>
          </p:nvSpPr>
          <p:spPr bwMode="gray">
            <a:xfrm>
              <a:off x="7741658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6" name="Right Triangle 875">
              <a:extLst>
                <a:ext uri="{FF2B5EF4-FFF2-40B4-BE49-F238E27FC236}">
                  <a16:creationId xmlns:a16="http://schemas.microsoft.com/office/drawing/2014/main" id="{BF73F479-DC96-4477-BF47-75820FDDE1FF}"/>
                </a:ext>
              </a:extLst>
            </p:cNvPr>
            <p:cNvSpPr/>
            <p:nvPr/>
          </p:nvSpPr>
          <p:spPr bwMode="gray">
            <a:xfrm rot="10800000">
              <a:off x="7741659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7" name="Right Triangle 876">
              <a:extLst>
                <a:ext uri="{FF2B5EF4-FFF2-40B4-BE49-F238E27FC236}">
                  <a16:creationId xmlns:a16="http://schemas.microsoft.com/office/drawing/2014/main" id="{67FA05C8-89FA-4554-82DE-325D1A828273}"/>
                </a:ext>
              </a:extLst>
            </p:cNvPr>
            <p:cNvSpPr/>
            <p:nvPr/>
          </p:nvSpPr>
          <p:spPr bwMode="gray">
            <a:xfrm>
              <a:off x="7741658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8" name="Right Triangle 877">
              <a:extLst>
                <a:ext uri="{FF2B5EF4-FFF2-40B4-BE49-F238E27FC236}">
                  <a16:creationId xmlns:a16="http://schemas.microsoft.com/office/drawing/2014/main" id="{6808AAD1-C3CC-4F2A-BFCE-96A7139D8F2C}"/>
                </a:ext>
              </a:extLst>
            </p:cNvPr>
            <p:cNvSpPr/>
            <p:nvPr/>
          </p:nvSpPr>
          <p:spPr bwMode="gray">
            <a:xfrm rot="10800000">
              <a:off x="7741659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79" name="Right Triangle 878">
              <a:extLst>
                <a:ext uri="{FF2B5EF4-FFF2-40B4-BE49-F238E27FC236}">
                  <a16:creationId xmlns:a16="http://schemas.microsoft.com/office/drawing/2014/main" id="{CB86DAB8-68F3-4510-81F0-F21F33E27E36}"/>
                </a:ext>
              </a:extLst>
            </p:cNvPr>
            <p:cNvSpPr/>
            <p:nvPr/>
          </p:nvSpPr>
          <p:spPr bwMode="gray">
            <a:xfrm flipV="1">
              <a:off x="7741658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0" name="Right Triangle 879">
              <a:extLst>
                <a:ext uri="{FF2B5EF4-FFF2-40B4-BE49-F238E27FC236}">
                  <a16:creationId xmlns:a16="http://schemas.microsoft.com/office/drawing/2014/main" id="{E091B80E-6271-409B-A1D4-0F5A40F4AC0F}"/>
                </a:ext>
              </a:extLst>
            </p:cNvPr>
            <p:cNvSpPr/>
            <p:nvPr/>
          </p:nvSpPr>
          <p:spPr bwMode="gray">
            <a:xfrm rot="10800000" flipV="1">
              <a:off x="7741659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1" name="Right Triangle 880">
              <a:extLst>
                <a:ext uri="{FF2B5EF4-FFF2-40B4-BE49-F238E27FC236}">
                  <a16:creationId xmlns:a16="http://schemas.microsoft.com/office/drawing/2014/main" id="{E290BD88-F609-4A61-A1F8-985447E1923D}"/>
                </a:ext>
              </a:extLst>
            </p:cNvPr>
            <p:cNvSpPr/>
            <p:nvPr/>
          </p:nvSpPr>
          <p:spPr bwMode="gray">
            <a:xfrm>
              <a:off x="7741658" y="1928557"/>
              <a:ext cx="968389" cy="968389"/>
            </a:xfrm>
            <a:prstGeom prst="rtTriangle">
              <a:avLst/>
            </a:prstGeom>
            <a:solidFill>
              <a:sysClr val="window" lastClr="FFFFFF">
                <a:alpha val="7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2" name="Right Triangle 881">
              <a:extLst>
                <a:ext uri="{FF2B5EF4-FFF2-40B4-BE49-F238E27FC236}">
                  <a16:creationId xmlns:a16="http://schemas.microsoft.com/office/drawing/2014/main" id="{29822025-B1D8-406D-BC93-6FA0E0111B11}"/>
                </a:ext>
              </a:extLst>
            </p:cNvPr>
            <p:cNvSpPr/>
            <p:nvPr/>
          </p:nvSpPr>
          <p:spPr bwMode="gray">
            <a:xfrm rot="10800000">
              <a:off x="7741659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3" name="Right Triangle 882">
              <a:extLst>
                <a:ext uri="{FF2B5EF4-FFF2-40B4-BE49-F238E27FC236}">
                  <a16:creationId xmlns:a16="http://schemas.microsoft.com/office/drawing/2014/main" id="{0BC81A6D-1054-4022-A365-A5263BA24525}"/>
                </a:ext>
              </a:extLst>
            </p:cNvPr>
            <p:cNvSpPr/>
            <p:nvPr/>
          </p:nvSpPr>
          <p:spPr bwMode="gray">
            <a:xfrm>
              <a:off x="7741658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4" name="Right Triangle 883">
              <a:extLst>
                <a:ext uri="{FF2B5EF4-FFF2-40B4-BE49-F238E27FC236}">
                  <a16:creationId xmlns:a16="http://schemas.microsoft.com/office/drawing/2014/main" id="{6B2A94C9-1ECC-4BB3-BA1E-87643A58442E}"/>
                </a:ext>
              </a:extLst>
            </p:cNvPr>
            <p:cNvSpPr/>
            <p:nvPr/>
          </p:nvSpPr>
          <p:spPr bwMode="gray">
            <a:xfrm rot="10800000">
              <a:off x="7741659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5" name="Right Triangle 884">
              <a:extLst>
                <a:ext uri="{FF2B5EF4-FFF2-40B4-BE49-F238E27FC236}">
                  <a16:creationId xmlns:a16="http://schemas.microsoft.com/office/drawing/2014/main" id="{55BD7130-5C31-4F06-B9A3-2E8EB3E817F2}"/>
                </a:ext>
              </a:extLst>
            </p:cNvPr>
            <p:cNvSpPr/>
            <p:nvPr/>
          </p:nvSpPr>
          <p:spPr bwMode="gray">
            <a:xfrm flipH="1">
              <a:off x="8707013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6" name="Right Triangle 885">
              <a:extLst>
                <a:ext uri="{FF2B5EF4-FFF2-40B4-BE49-F238E27FC236}">
                  <a16:creationId xmlns:a16="http://schemas.microsoft.com/office/drawing/2014/main" id="{AE516B01-2353-4C43-BE64-FF39CD281A3B}"/>
                </a:ext>
              </a:extLst>
            </p:cNvPr>
            <p:cNvSpPr/>
            <p:nvPr/>
          </p:nvSpPr>
          <p:spPr bwMode="gray">
            <a:xfrm rot="10800000" flipH="1">
              <a:off x="8707013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7" name="Right Triangle 886">
              <a:extLst>
                <a:ext uri="{FF2B5EF4-FFF2-40B4-BE49-F238E27FC236}">
                  <a16:creationId xmlns:a16="http://schemas.microsoft.com/office/drawing/2014/main" id="{C614D047-0EAA-42B6-9BAA-EEC7BF05580D}"/>
                </a:ext>
              </a:extLst>
            </p:cNvPr>
            <p:cNvSpPr/>
            <p:nvPr/>
          </p:nvSpPr>
          <p:spPr bwMode="gray">
            <a:xfrm flipH="1" flipV="1">
              <a:off x="8707013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8" name="Right Triangle 887">
              <a:extLst>
                <a:ext uri="{FF2B5EF4-FFF2-40B4-BE49-F238E27FC236}">
                  <a16:creationId xmlns:a16="http://schemas.microsoft.com/office/drawing/2014/main" id="{86D65FF7-F403-4049-9C8D-3E2EE87888DC}"/>
                </a:ext>
              </a:extLst>
            </p:cNvPr>
            <p:cNvSpPr/>
            <p:nvPr/>
          </p:nvSpPr>
          <p:spPr bwMode="gray">
            <a:xfrm rot="10800000" flipH="1">
              <a:off x="8707013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9" name="Right Triangle 888">
              <a:extLst>
                <a:ext uri="{FF2B5EF4-FFF2-40B4-BE49-F238E27FC236}">
                  <a16:creationId xmlns:a16="http://schemas.microsoft.com/office/drawing/2014/main" id="{77760CDE-8725-47B3-ABB5-19CE25C67035}"/>
                </a:ext>
              </a:extLst>
            </p:cNvPr>
            <p:cNvSpPr/>
            <p:nvPr/>
          </p:nvSpPr>
          <p:spPr bwMode="gray">
            <a:xfrm flipH="1">
              <a:off x="8707013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0" name="Right Triangle 889">
              <a:extLst>
                <a:ext uri="{FF2B5EF4-FFF2-40B4-BE49-F238E27FC236}">
                  <a16:creationId xmlns:a16="http://schemas.microsoft.com/office/drawing/2014/main" id="{9CF98F79-B290-45A8-8592-2DAFBB27BAC3}"/>
                </a:ext>
              </a:extLst>
            </p:cNvPr>
            <p:cNvSpPr/>
            <p:nvPr/>
          </p:nvSpPr>
          <p:spPr bwMode="gray">
            <a:xfrm rot="10800000" flipH="1">
              <a:off x="8707013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1" name="Right Triangle 890">
              <a:extLst>
                <a:ext uri="{FF2B5EF4-FFF2-40B4-BE49-F238E27FC236}">
                  <a16:creationId xmlns:a16="http://schemas.microsoft.com/office/drawing/2014/main" id="{C5A7CCE6-5F35-4CD5-BA9F-86D4516A901E}"/>
                </a:ext>
              </a:extLst>
            </p:cNvPr>
            <p:cNvSpPr/>
            <p:nvPr/>
          </p:nvSpPr>
          <p:spPr bwMode="gray">
            <a:xfrm flipH="1" flipV="1">
              <a:off x="8707013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2" name="Right Triangle 891">
              <a:extLst>
                <a:ext uri="{FF2B5EF4-FFF2-40B4-BE49-F238E27FC236}">
                  <a16:creationId xmlns:a16="http://schemas.microsoft.com/office/drawing/2014/main" id="{FFD224FE-E532-46E5-83AA-BA83E952CC38}"/>
                </a:ext>
              </a:extLst>
            </p:cNvPr>
            <p:cNvSpPr/>
            <p:nvPr/>
          </p:nvSpPr>
          <p:spPr bwMode="gray">
            <a:xfrm flipH="1">
              <a:off x="8707013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3" name="Right Triangle 892">
              <a:extLst>
                <a:ext uri="{FF2B5EF4-FFF2-40B4-BE49-F238E27FC236}">
                  <a16:creationId xmlns:a16="http://schemas.microsoft.com/office/drawing/2014/main" id="{06879B46-7A07-4F37-A3BB-196049244077}"/>
                </a:ext>
              </a:extLst>
            </p:cNvPr>
            <p:cNvSpPr/>
            <p:nvPr/>
          </p:nvSpPr>
          <p:spPr bwMode="gray">
            <a:xfrm rot="10800000" flipH="1">
              <a:off x="8707014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4" name="Right Triangle 893">
              <a:extLst>
                <a:ext uri="{FF2B5EF4-FFF2-40B4-BE49-F238E27FC236}">
                  <a16:creationId xmlns:a16="http://schemas.microsoft.com/office/drawing/2014/main" id="{CA13223A-4675-410F-BAE6-08DCEE5C8403}"/>
                </a:ext>
              </a:extLst>
            </p:cNvPr>
            <p:cNvSpPr/>
            <p:nvPr/>
          </p:nvSpPr>
          <p:spPr bwMode="gray">
            <a:xfrm flipH="1">
              <a:off x="8707013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5" name="Right Triangle 894">
              <a:extLst>
                <a:ext uri="{FF2B5EF4-FFF2-40B4-BE49-F238E27FC236}">
                  <a16:creationId xmlns:a16="http://schemas.microsoft.com/office/drawing/2014/main" id="{24DED9E6-8ACF-470B-A6D1-E69A595B8E49}"/>
                </a:ext>
              </a:extLst>
            </p:cNvPr>
            <p:cNvSpPr/>
            <p:nvPr/>
          </p:nvSpPr>
          <p:spPr bwMode="gray">
            <a:xfrm rot="10800000" flipH="1">
              <a:off x="8707013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6" name="Right Triangle 895">
              <a:extLst>
                <a:ext uri="{FF2B5EF4-FFF2-40B4-BE49-F238E27FC236}">
                  <a16:creationId xmlns:a16="http://schemas.microsoft.com/office/drawing/2014/main" id="{613BEF53-211F-443A-A684-330C6E0550F8}"/>
                </a:ext>
              </a:extLst>
            </p:cNvPr>
            <p:cNvSpPr/>
            <p:nvPr/>
          </p:nvSpPr>
          <p:spPr bwMode="gray">
            <a:xfrm>
              <a:off x="9675524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7" name="Right Triangle 896">
              <a:extLst>
                <a:ext uri="{FF2B5EF4-FFF2-40B4-BE49-F238E27FC236}">
                  <a16:creationId xmlns:a16="http://schemas.microsoft.com/office/drawing/2014/main" id="{9AB441EF-6D14-464D-B671-4198D86C6068}"/>
                </a:ext>
              </a:extLst>
            </p:cNvPr>
            <p:cNvSpPr/>
            <p:nvPr/>
          </p:nvSpPr>
          <p:spPr bwMode="gray">
            <a:xfrm rot="10800000">
              <a:off x="9675524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8" name="Right Triangle 897">
              <a:extLst>
                <a:ext uri="{FF2B5EF4-FFF2-40B4-BE49-F238E27FC236}">
                  <a16:creationId xmlns:a16="http://schemas.microsoft.com/office/drawing/2014/main" id="{6A6ED8C4-E72F-42BA-A8BA-01FA31A1512C}"/>
                </a:ext>
              </a:extLst>
            </p:cNvPr>
            <p:cNvSpPr/>
            <p:nvPr/>
          </p:nvSpPr>
          <p:spPr bwMode="gray">
            <a:xfrm flipV="1">
              <a:off x="9675524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9" name="Right Triangle 898">
              <a:extLst>
                <a:ext uri="{FF2B5EF4-FFF2-40B4-BE49-F238E27FC236}">
                  <a16:creationId xmlns:a16="http://schemas.microsoft.com/office/drawing/2014/main" id="{81C07A5A-A1B6-40E0-932A-55B148D8D82E}"/>
                </a:ext>
              </a:extLst>
            </p:cNvPr>
            <p:cNvSpPr/>
            <p:nvPr/>
          </p:nvSpPr>
          <p:spPr bwMode="gray">
            <a:xfrm>
              <a:off x="9675524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0" name="Right Triangle 899">
              <a:extLst>
                <a:ext uri="{FF2B5EF4-FFF2-40B4-BE49-F238E27FC236}">
                  <a16:creationId xmlns:a16="http://schemas.microsoft.com/office/drawing/2014/main" id="{D1520DF9-546C-48DF-BA1C-CD5CFABFF273}"/>
                </a:ext>
              </a:extLst>
            </p:cNvPr>
            <p:cNvSpPr/>
            <p:nvPr/>
          </p:nvSpPr>
          <p:spPr bwMode="gray">
            <a:xfrm rot="10800000">
              <a:off x="9675524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1" name="Right Triangle 900">
              <a:extLst>
                <a:ext uri="{FF2B5EF4-FFF2-40B4-BE49-F238E27FC236}">
                  <a16:creationId xmlns:a16="http://schemas.microsoft.com/office/drawing/2014/main" id="{0A35FA5A-22D3-4C28-9CCA-B9F48A692ABF}"/>
                </a:ext>
              </a:extLst>
            </p:cNvPr>
            <p:cNvSpPr/>
            <p:nvPr/>
          </p:nvSpPr>
          <p:spPr bwMode="gray">
            <a:xfrm>
              <a:off x="9675524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2" name="Right Triangle 901">
              <a:extLst>
                <a:ext uri="{FF2B5EF4-FFF2-40B4-BE49-F238E27FC236}">
                  <a16:creationId xmlns:a16="http://schemas.microsoft.com/office/drawing/2014/main" id="{274A35CB-3FAC-479B-A3A7-A457AE7798F6}"/>
                </a:ext>
              </a:extLst>
            </p:cNvPr>
            <p:cNvSpPr/>
            <p:nvPr/>
          </p:nvSpPr>
          <p:spPr bwMode="gray">
            <a:xfrm flipV="1">
              <a:off x="9675524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3" name="Right Triangle 902">
              <a:extLst>
                <a:ext uri="{FF2B5EF4-FFF2-40B4-BE49-F238E27FC236}">
                  <a16:creationId xmlns:a16="http://schemas.microsoft.com/office/drawing/2014/main" id="{7D5E6185-446C-4472-B15C-D81E0A31ED3B}"/>
                </a:ext>
              </a:extLst>
            </p:cNvPr>
            <p:cNvSpPr/>
            <p:nvPr/>
          </p:nvSpPr>
          <p:spPr bwMode="gray">
            <a:xfrm>
              <a:off x="9675524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4" name="Right Triangle 903">
              <a:extLst>
                <a:ext uri="{FF2B5EF4-FFF2-40B4-BE49-F238E27FC236}">
                  <a16:creationId xmlns:a16="http://schemas.microsoft.com/office/drawing/2014/main" id="{2B4136F9-2134-44C0-BF32-C2E0115DB647}"/>
                </a:ext>
              </a:extLst>
            </p:cNvPr>
            <p:cNvSpPr/>
            <p:nvPr/>
          </p:nvSpPr>
          <p:spPr bwMode="gray">
            <a:xfrm rot="10800000">
              <a:off x="9675525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5" name="Right Triangle 904">
              <a:extLst>
                <a:ext uri="{FF2B5EF4-FFF2-40B4-BE49-F238E27FC236}">
                  <a16:creationId xmlns:a16="http://schemas.microsoft.com/office/drawing/2014/main" id="{05C59E53-31AA-4B0C-AED9-FA3CE036063D}"/>
                </a:ext>
              </a:extLst>
            </p:cNvPr>
            <p:cNvSpPr/>
            <p:nvPr/>
          </p:nvSpPr>
          <p:spPr bwMode="gray">
            <a:xfrm>
              <a:off x="9675524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6" name="Right Triangle 905">
              <a:extLst>
                <a:ext uri="{FF2B5EF4-FFF2-40B4-BE49-F238E27FC236}">
                  <a16:creationId xmlns:a16="http://schemas.microsoft.com/office/drawing/2014/main" id="{B8AEA697-89A1-4166-AD92-0289E2BE7E22}"/>
                </a:ext>
              </a:extLst>
            </p:cNvPr>
            <p:cNvSpPr/>
            <p:nvPr/>
          </p:nvSpPr>
          <p:spPr bwMode="gray">
            <a:xfrm rot="10800000">
              <a:off x="9675524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7" name="Right Triangle 906">
              <a:extLst>
                <a:ext uri="{FF2B5EF4-FFF2-40B4-BE49-F238E27FC236}">
                  <a16:creationId xmlns:a16="http://schemas.microsoft.com/office/drawing/2014/main" id="{11479DB1-E984-4E84-90E4-21D91061D2AB}"/>
                </a:ext>
              </a:extLst>
            </p:cNvPr>
            <p:cNvSpPr/>
            <p:nvPr/>
          </p:nvSpPr>
          <p:spPr bwMode="gray">
            <a:xfrm flipH="1">
              <a:off x="10643913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8" name="Right Triangle 907">
              <a:extLst>
                <a:ext uri="{FF2B5EF4-FFF2-40B4-BE49-F238E27FC236}">
                  <a16:creationId xmlns:a16="http://schemas.microsoft.com/office/drawing/2014/main" id="{06C8B5D1-DA5A-4174-A618-A070B8D2A27C}"/>
                </a:ext>
              </a:extLst>
            </p:cNvPr>
            <p:cNvSpPr/>
            <p:nvPr/>
          </p:nvSpPr>
          <p:spPr bwMode="gray">
            <a:xfrm flipH="1" flipV="1">
              <a:off x="10643913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09" name="Right Triangle 908">
              <a:extLst>
                <a:ext uri="{FF2B5EF4-FFF2-40B4-BE49-F238E27FC236}">
                  <a16:creationId xmlns:a16="http://schemas.microsoft.com/office/drawing/2014/main" id="{440BBF95-4E4A-4168-B6FC-262C0C2915E0}"/>
                </a:ext>
              </a:extLst>
            </p:cNvPr>
            <p:cNvSpPr/>
            <p:nvPr/>
          </p:nvSpPr>
          <p:spPr bwMode="gray">
            <a:xfrm rot="10800000" flipH="1" flipV="1">
              <a:off x="10643914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0" name="Right Triangle 909">
              <a:extLst>
                <a:ext uri="{FF2B5EF4-FFF2-40B4-BE49-F238E27FC236}">
                  <a16:creationId xmlns:a16="http://schemas.microsoft.com/office/drawing/2014/main" id="{1101E7C8-FF11-4FF1-BD7F-A8FAC5704196}"/>
                </a:ext>
              </a:extLst>
            </p:cNvPr>
            <p:cNvSpPr/>
            <p:nvPr/>
          </p:nvSpPr>
          <p:spPr bwMode="gray">
            <a:xfrm flipH="1">
              <a:off x="10643913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1" name="Right Triangle 910">
              <a:extLst>
                <a:ext uri="{FF2B5EF4-FFF2-40B4-BE49-F238E27FC236}">
                  <a16:creationId xmlns:a16="http://schemas.microsoft.com/office/drawing/2014/main" id="{CAA96AD4-2E6E-4A94-AD25-2328F56B31F9}"/>
                </a:ext>
              </a:extLst>
            </p:cNvPr>
            <p:cNvSpPr/>
            <p:nvPr/>
          </p:nvSpPr>
          <p:spPr bwMode="gray">
            <a:xfrm flipH="1">
              <a:off x="10643913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2" name="Right Triangle 911">
              <a:extLst>
                <a:ext uri="{FF2B5EF4-FFF2-40B4-BE49-F238E27FC236}">
                  <a16:creationId xmlns:a16="http://schemas.microsoft.com/office/drawing/2014/main" id="{845B3953-9FBC-44E0-99E5-1AB7944A35F5}"/>
                </a:ext>
              </a:extLst>
            </p:cNvPr>
            <p:cNvSpPr/>
            <p:nvPr/>
          </p:nvSpPr>
          <p:spPr bwMode="gray">
            <a:xfrm rot="10800000" flipH="1">
              <a:off x="10643914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3" name="Right Triangle 912">
              <a:extLst>
                <a:ext uri="{FF2B5EF4-FFF2-40B4-BE49-F238E27FC236}">
                  <a16:creationId xmlns:a16="http://schemas.microsoft.com/office/drawing/2014/main" id="{3C28ECB1-EB8C-43B6-AB01-FDC3140CAD57}"/>
                </a:ext>
              </a:extLst>
            </p:cNvPr>
            <p:cNvSpPr/>
            <p:nvPr/>
          </p:nvSpPr>
          <p:spPr bwMode="gray">
            <a:xfrm flipH="1" flipV="1">
              <a:off x="10643913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4" name="Right Triangle 913">
              <a:extLst>
                <a:ext uri="{FF2B5EF4-FFF2-40B4-BE49-F238E27FC236}">
                  <a16:creationId xmlns:a16="http://schemas.microsoft.com/office/drawing/2014/main" id="{9C9E657B-5B18-48DC-B9BB-185A09305CCF}"/>
                </a:ext>
              </a:extLst>
            </p:cNvPr>
            <p:cNvSpPr/>
            <p:nvPr/>
          </p:nvSpPr>
          <p:spPr bwMode="gray">
            <a:xfrm rot="10800000" flipH="1" flipV="1">
              <a:off x="10643913" y="96601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5" name="Right Triangle 914">
              <a:extLst>
                <a:ext uri="{FF2B5EF4-FFF2-40B4-BE49-F238E27FC236}">
                  <a16:creationId xmlns:a16="http://schemas.microsoft.com/office/drawing/2014/main" id="{2BB2A6D2-CD16-4C74-B568-7CF3D491BA12}"/>
                </a:ext>
              </a:extLst>
            </p:cNvPr>
            <p:cNvSpPr/>
            <p:nvPr/>
          </p:nvSpPr>
          <p:spPr bwMode="gray">
            <a:xfrm flipH="1">
              <a:off x="10643913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6" name="Right Triangle 915">
              <a:extLst>
                <a:ext uri="{FF2B5EF4-FFF2-40B4-BE49-F238E27FC236}">
                  <a16:creationId xmlns:a16="http://schemas.microsoft.com/office/drawing/2014/main" id="{52400F0F-FDDC-4D0F-848A-077F53482BAC}"/>
                </a:ext>
              </a:extLst>
            </p:cNvPr>
            <p:cNvSpPr/>
            <p:nvPr/>
          </p:nvSpPr>
          <p:spPr bwMode="gray">
            <a:xfrm rot="10800000" flipH="1">
              <a:off x="10643914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7" name="Right Triangle 916">
              <a:extLst>
                <a:ext uri="{FF2B5EF4-FFF2-40B4-BE49-F238E27FC236}">
                  <a16:creationId xmlns:a16="http://schemas.microsoft.com/office/drawing/2014/main" id="{EC0C20FB-9A1B-44DD-98C7-74310E48842F}"/>
                </a:ext>
              </a:extLst>
            </p:cNvPr>
            <p:cNvSpPr/>
            <p:nvPr/>
          </p:nvSpPr>
          <p:spPr bwMode="gray">
            <a:xfrm flipH="1">
              <a:off x="10643913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8" name="Right Triangle 917">
              <a:extLst>
                <a:ext uri="{FF2B5EF4-FFF2-40B4-BE49-F238E27FC236}">
                  <a16:creationId xmlns:a16="http://schemas.microsoft.com/office/drawing/2014/main" id="{F4A6469D-4D3B-4773-B340-36F043E4302A}"/>
                </a:ext>
              </a:extLst>
            </p:cNvPr>
            <p:cNvSpPr/>
            <p:nvPr/>
          </p:nvSpPr>
          <p:spPr bwMode="gray">
            <a:xfrm rot="10800000" flipH="1">
              <a:off x="10643913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9" name="Right Triangle 918">
              <a:extLst>
                <a:ext uri="{FF2B5EF4-FFF2-40B4-BE49-F238E27FC236}">
                  <a16:creationId xmlns:a16="http://schemas.microsoft.com/office/drawing/2014/main" id="{F74DC442-4DD4-44D9-AD51-9EF7E8587C4C}"/>
                </a:ext>
              </a:extLst>
            </p:cNvPr>
            <p:cNvSpPr/>
            <p:nvPr/>
          </p:nvSpPr>
          <p:spPr bwMode="gray">
            <a:xfrm>
              <a:off x="11612301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0" name="Right Triangle 919">
              <a:extLst>
                <a:ext uri="{FF2B5EF4-FFF2-40B4-BE49-F238E27FC236}">
                  <a16:creationId xmlns:a16="http://schemas.microsoft.com/office/drawing/2014/main" id="{A6DDD7C3-503C-4BFD-AEED-20DDA89947BA}"/>
                </a:ext>
              </a:extLst>
            </p:cNvPr>
            <p:cNvSpPr/>
            <p:nvPr/>
          </p:nvSpPr>
          <p:spPr bwMode="gray">
            <a:xfrm rot="10800000">
              <a:off x="11612301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1" name="Right Triangle 920">
              <a:extLst>
                <a:ext uri="{FF2B5EF4-FFF2-40B4-BE49-F238E27FC236}">
                  <a16:creationId xmlns:a16="http://schemas.microsoft.com/office/drawing/2014/main" id="{EEBB37E6-5838-4AF5-BEA2-D656C3D395C0}"/>
                </a:ext>
              </a:extLst>
            </p:cNvPr>
            <p:cNvSpPr/>
            <p:nvPr/>
          </p:nvSpPr>
          <p:spPr bwMode="gray">
            <a:xfrm flipV="1">
              <a:off x="11612301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2" name="Right Triangle 921">
              <a:extLst>
                <a:ext uri="{FF2B5EF4-FFF2-40B4-BE49-F238E27FC236}">
                  <a16:creationId xmlns:a16="http://schemas.microsoft.com/office/drawing/2014/main" id="{8B410E72-3A92-4C6C-B3FA-2ACCB40B880C}"/>
                </a:ext>
              </a:extLst>
            </p:cNvPr>
            <p:cNvSpPr/>
            <p:nvPr/>
          </p:nvSpPr>
          <p:spPr bwMode="gray">
            <a:xfrm>
              <a:off x="11612301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3" name="Right Triangle 922">
              <a:extLst>
                <a:ext uri="{FF2B5EF4-FFF2-40B4-BE49-F238E27FC236}">
                  <a16:creationId xmlns:a16="http://schemas.microsoft.com/office/drawing/2014/main" id="{42532CBA-0E6B-4389-BCEB-D69648647C72}"/>
                </a:ext>
              </a:extLst>
            </p:cNvPr>
            <p:cNvSpPr/>
            <p:nvPr/>
          </p:nvSpPr>
          <p:spPr bwMode="gray">
            <a:xfrm rot="10800000">
              <a:off x="11612302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4" name="Right Triangle 923">
              <a:extLst>
                <a:ext uri="{FF2B5EF4-FFF2-40B4-BE49-F238E27FC236}">
                  <a16:creationId xmlns:a16="http://schemas.microsoft.com/office/drawing/2014/main" id="{2CD20A8A-5045-4927-A570-A162FB82B5C5}"/>
                </a:ext>
              </a:extLst>
            </p:cNvPr>
            <p:cNvSpPr/>
            <p:nvPr/>
          </p:nvSpPr>
          <p:spPr bwMode="gray">
            <a:xfrm>
              <a:off x="11612301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5" name="Right Triangle 924">
              <a:extLst>
                <a:ext uri="{FF2B5EF4-FFF2-40B4-BE49-F238E27FC236}">
                  <a16:creationId xmlns:a16="http://schemas.microsoft.com/office/drawing/2014/main" id="{7D816422-7143-46BA-8F62-98E482E23BE7}"/>
                </a:ext>
              </a:extLst>
            </p:cNvPr>
            <p:cNvSpPr/>
            <p:nvPr/>
          </p:nvSpPr>
          <p:spPr bwMode="gray">
            <a:xfrm rot="10800000">
              <a:off x="11612301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9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6" name="Right Triangle 925">
              <a:extLst>
                <a:ext uri="{FF2B5EF4-FFF2-40B4-BE49-F238E27FC236}">
                  <a16:creationId xmlns:a16="http://schemas.microsoft.com/office/drawing/2014/main" id="{7044EB79-BB10-40CE-ADA1-B2F85F7DACC5}"/>
                </a:ext>
              </a:extLst>
            </p:cNvPr>
            <p:cNvSpPr/>
            <p:nvPr/>
          </p:nvSpPr>
          <p:spPr bwMode="gray">
            <a:xfrm flipV="1">
              <a:off x="11612301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7" name="Right Triangle 926">
              <a:extLst>
                <a:ext uri="{FF2B5EF4-FFF2-40B4-BE49-F238E27FC236}">
                  <a16:creationId xmlns:a16="http://schemas.microsoft.com/office/drawing/2014/main" id="{970341FA-6B77-4D46-8E20-7216C3354A49}"/>
                </a:ext>
              </a:extLst>
            </p:cNvPr>
            <p:cNvSpPr/>
            <p:nvPr/>
          </p:nvSpPr>
          <p:spPr bwMode="gray">
            <a:xfrm rot="10800000">
              <a:off x="11612301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9" name="Right Triangle 928">
              <a:extLst>
                <a:ext uri="{FF2B5EF4-FFF2-40B4-BE49-F238E27FC236}">
                  <a16:creationId xmlns:a16="http://schemas.microsoft.com/office/drawing/2014/main" id="{2F1F9358-1CE3-4721-99E4-5FC6BBC35C10}"/>
                </a:ext>
              </a:extLst>
            </p:cNvPr>
            <p:cNvSpPr/>
            <p:nvPr/>
          </p:nvSpPr>
          <p:spPr bwMode="gray">
            <a:xfrm>
              <a:off x="11612301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0" name="Right Triangle 929">
              <a:extLst>
                <a:ext uri="{FF2B5EF4-FFF2-40B4-BE49-F238E27FC236}">
                  <a16:creationId xmlns:a16="http://schemas.microsoft.com/office/drawing/2014/main" id="{61A1F995-5B6E-477D-BB2C-20FC36B8BBA0}"/>
                </a:ext>
              </a:extLst>
            </p:cNvPr>
            <p:cNvSpPr/>
            <p:nvPr/>
          </p:nvSpPr>
          <p:spPr bwMode="gray">
            <a:xfrm rot="10800000">
              <a:off x="11612301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1" name="Right Triangle 930">
              <a:extLst>
                <a:ext uri="{FF2B5EF4-FFF2-40B4-BE49-F238E27FC236}">
                  <a16:creationId xmlns:a16="http://schemas.microsoft.com/office/drawing/2014/main" id="{CC0F21AF-0C92-4484-A6D1-D71CD269EABF}"/>
                </a:ext>
              </a:extLst>
            </p:cNvPr>
            <p:cNvSpPr/>
            <p:nvPr/>
          </p:nvSpPr>
          <p:spPr bwMode="gray">
            <a:xfrm>
              <a:off x="7741658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2" name="Right Triangle 931">
              <a:extLst>
                <a:ext uri="{FF2B5EF4-FFF2-40B4-BE49-F238E27FC236}">
                  <a16:creationId xmlns:a16="http://schemas.microsoft.com/office/drawing/2014/main" id="{115B40E0-DF64-427C-BD03-E89F069BDBD9}"/>
                </a:ext>
              </a:extLst>
            </p:cNvPr>
            <p:cNvSpPr/>
            <p:nvPr/>
          </p:nvSpPr>
          <p:spPr bwMode="gray">
            <a:xfrm flipV="1">
              <a:off x="7741658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3" name="Right Triangle 932">
              <a:extLst>
                <a:ext uri="{FF2B5EF4-FFF2-40B4-BE49-F238E27FC236}">
                  <a16:creationId xmlns:a16="http://schemas.microsoft.com/office/drawing/2014/main" id="{F23DE277-C099-48E5-95D6-7C8F413C6640}"/>
                </a:ext>
              </a:extLst>
            </p:cNvPr>
            <p:cNvSpPr/>
            <p:nvPr/>
          </p:nvSpPr>
          <p:spPr bwMode="gray">
            <a:xfrm rot="10800000" flipV="1">
              <a:off x="7741659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4" name="Right Triangle 933">
              <a:extLst>
                <a:ext uri="{FF2B5EF4-FFF2-40B4-BE49-F238E27FC236}">
                  <a16:creationId xmlns:a16="http://schemas.microsoft.com/office/drawing/2014/main" id="{D2A5CC4F-8BA5-4B27-9FBE-894B9F76BDC5}"/>
                </a:ext>
              </a:extLst>
            </p:cNvPr>
            <p:cNvSpPr/>
            <p:nvPr/>
          </p:nvSpPr>
          <p:spPr bwMode="gray">
            <a:xfrm>
              <a:off x="7741658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5" name="Right Triangle 934">
              <a:extLst>
                <a:ext uri="{FF2B5EF4-FFF2-40B4-BE49-F238E27FC236}">
                  <a16:creationId xmlns:a16="http://schemas.microsoft.com/office/drawing/2014/main" id="{640D5316-ADFF-41BF-8409-55D9EE93D1A8}"/>
                </a:ext>
              </a:extLst>
            </p:cNvPr>
            <p:cNvSpPr/>
            <p:nvPr/>
          </p:nvSpPr>
          <p:spPr bwMode="gray">
            <a:xfrm rot="10800000">
              <a:off x="7741659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6" name="Right Triangle 935">
              <a:extLst>
                <a:ext uri="{FF2B5EF4-FFF2-40B4-BE49-F238E27FC236}">
                  <a16:creationId xmlns:a16="http://schemas.microsoft.com/office/drawing/2014/main" id="{99F591C9-7523-4E5B-8692-0A8AB9B02396}"/>
                </a:ext>
              </a:extLst>
            </p:cNvPr>
            <p:cNvSpPr/>
            <p:nvPr/>
          </p:nvSpPr>
          <p:spPr bwMode="gray">
            <a:xfrm>
              <a:off x="7741658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7" name="Right Triangle 936">
              <a:extLst>
                <a:ext uri="{FF2B5EF4-FFF2-40B4-BE49-F238E27FC236}">
                  <a16:creationId xmlns:a16="http://schemas.microsoft.com/office/drawing/2014/main" id="{FC8F9097-3B21-433D-9B01-2362B0A22C76}"/>
                </a:ext>
              </a:extLst>
            </p:cNvPr>
            <p:cNvSpPr/>
            <p:nvPr/>
          </p:nvSpPr>
          <p:spPr bwMode="gray">
            <a:xfrm rot="10800000">
              <a:off x="7741659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8" name="Right Triangle 937">
              <a:extLst>
                <a:ext uri="{FF2B5EF4-FFF2-40B4-BE49-F238E27FC236}">
                  <a16:creationId xmlns:a16="http://schemas.microsoft.com/office/drawing/2014/main" id="{D89AA906-C864-428C-99CB-B67C312CC48A}"/>
                </a:ext>
              </a:extLst>
            </p:cNvPr>
            <p:cNvSpPr/>
            <p:nvPr/>
          </p:nvSpPr>
          <p:spPr bwMode="gray">
            <a:xfrm flipV="1">
              <a:off x="7741658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39" name="Right Triangle 938">
              <a:extLst>
                <a:ext uri="{FF2B5EF4-FFF2-40B4-BE49-F238E27FC236}">
                  <a16:creationId xmlns:a16="http://schemas.microsoft.com/office/drawing/2014/main" id="{73C30EAD-1C94-48BD-97F8-8656A69AE149}"/>
                </a:ext>
              </a:extLst>
            </p:cNvPr>
            <p:cNvSpPr/>
            <p:nvPr/>
          </p:nvSpPr>
          <p:spPr bwMode="gray">
            <a:xfrm rot="10800000" flipV="1">
              <a:off x="7741659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0" name="Right Triangle 939">
              <a:extLst>
                <a:ext uri="{FF2B5EF4-FFF2-40B4-BE49-F238E27FC236}">
                  <a16:creationId xmlns:a16="http://schemas.microsoft.com/office/drawing/2014/main" id="{2B9124A0-1B7E-4E3B-96C7-9BF86C1AC80B}"/>
                </a:ext>
              </a:extLst>
            </p:cNvPr>
            <p:cNvSpPr/>
            <p:nvPr/>
          </p:nvSpPr>
          <p:spPr bwMode="gray">
            <a:xfrm>
              <a:off x="7741658" y="1928557"/>
              <a:ext cx="968389" cy="968389"/>
            </a:xfrm>
            <a:prstGeom prst="rtTriangle">
              <a:avLst/>
            </a:prstGeom>
            <a:solidFill>
              <a:sysClr val="window" lastClr="FFFFFF">
                <a:alpha val="7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1" name="Right Triangle 940">
              <a:extLst>
                <a:ext uri="{FF2B5EF4-FFF2-40B4-BE49-F238E27FC236}">
                  <a16:creationId xmlns:a16="http://schemas.microsoft.com/office/drawing/2014/main" id="{FE91CCE2-0FFF-45C5-A1B2-7FD732A16D70}"/>
                </a:ext>
              </a:extLst>
            </p:cNvPr>
            <p:cNvSpPr/>
            <p:nvPr/>
          </p:nvSpPr>
          <p:spPr bwMode="gray">
            <a:xfrm rot="10800000">
              <a:off x="7741659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2" name="Right Triangle 941">
              <a:extLst>
                <a:ext uri="{FF2B5EF4-FFF2-40B4-BE49-F238E27FC236}">
                  <a16:creationId xmlns:a16="http://schemas.microsoft.com/office/drawing/2014/main" id="{8B0C61B6-319F-4B31-B053-C60565C3EBB8}"/>
                </a:ext>
              </a:extLst>
            </p:cNvPr>
            <p:cNvSpPr/>
            <p:nvPr/>
          </p:nvSpPr>
          <p:spPr bwMode="gray">
            <a:xfrm>
              <a:off x="7741658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3" name="Right Triangle 942">
              <a:extLst>
                <a:ext uri="{FF2B5EF4-FFF2-40B4-BE49-F238E27FC236}">
                  <a16:creationId xmlns:a16="http://schemas.microsoft.com/office/drawing/2014/main" id="{2903C02E-E935-448A-A380-C5E3684298DB}"/>
                </a:ext>
              </a:extLst>
            </p:cNvPr>
            <p:cNvSpPr/>
            <p:nvPr/>
          </p:nvSpPr>
          <p:spPr bwMode="gray">
            <a:xfrm rot="10800000">
              <a:off x="7741659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4" name="Right Triangle 943">
              <a:extLst>
                <a:ext uri="{FF2B5EF4-FFF2-40B4-BE49-F238E27FC236}">
                  <a16:creationId xmlns:a16="http://schemas.microsoft.com/office/drawing/2014/main" id="{05CC02E5-5ECC-4FC4-A69C-0131987B9DE2}"/>
                </a:ext>
              </a:extLst>
            </p:cNvPr>
            <p:cNvSpPr/>
            <p:nvPr/>
          </p:nvSpPr>
          <p:spPr bwMode="gray">
            <a:xfrm flipH="1">
              <a:off x="8707013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5" name="Right Triangle 944">
              <a:extLst>
                <a:ext uri="{FF2B5EF4-FFF2-40B4-BE49-F238E27FC236}">
                  <a16:creationId xmlns:a16="http://schemas.microsoft.com/office/drawing/2014/main" id="{D139E7D1-CEFC-4004-9ECE-F9580C271103}"/>
                </a:ext>
              </a:extLst>
            </p:cNvPr>
            <p:cNvSpPr/>
            <p:nvPr/>
          </p:nvSpPr>
          <p:spPr bwMode="gray">
            <a:xfrm rot="10800000" flipH="1">
              <a:off x="8707013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6" name="Right Triangle 945">
              <a:extLst>
                <a:ext uri="{FF2B5EF4-FFF2-40B4-BE49-F238E27FC236}">
                  <a16:creationId xmlns:a16="http://schemas.microsoft.com/office/drawing/2014/main" id="{820F7315-46DB-40D2-BECF-37BD46C0A2E4}"/>
                </a:ext>
              </a:extLst>
            </p:cNvPr>
            <p:cNvSpPr/>
            <p:nvPr/>
          </p:nvSpPr>
          <p:spPr bwMode="gray">
            <a:xfrm flipH="1" flipV="1">
              <a:off x="8707013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7" name="Right Triangle 946">
              <a:extLst>
                <a:ext uri="{FF2B5EF4-FFF2-40B4-BE49-F238E27FC236}">
                  <a16:creationId xmlns:a16="http://schemas.microsoft.com/office/drawing/2014/main" id="{B63E5323-8649-4A3B-8572-F66D7355A41C}"/>
                </a:ext>
              </a:extLst>
            </p:cNvPr>
            <p:cNvSpPr/>
            <p:nvPr/>
          </p:nvSpPr>
          <p:spPr bwMode="gray">
            <a:xfrm rot="10800000" flipH="1">
              <a:off x="8707013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8" name="Right Triangle 947">
              <a:extLst>
                <a:ext uri="{FF2B5EF4-FFF2-40B4-BE49-F238E27FC236}">
                  <a16:creationId xmlns:a16="http://schemas.microsoft.com/office/drawing/2014/main" id="{04AC1FCF-5837-418E-BEA1-13BFC5E93E90}"/>
                </a:ext>
              </a:extLst>
            </p:cNvPr>
            <p:cNvSpPr/>
            <p:nvPr/>
          </p:nvSpPr>
          <p:spPr bwMode="gray">
            <a:xfrm flipH="1">
              <a:off x="8707013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49" name="Right Triangle 948">
              <a:extLst>
                <a:ext uri="{FF2B5EF4-FFF2-40B4-BE49-F238E27FC236}">
                  <a16:creationId xmlns:a16="http://schemas.microsoft.com/office/drawing/2014/main" id="{041D6D05-0BA7-46A7-BC0B-99590DA569F1}"/>
                </a:ext>
              </a:extLst>
            </p:cNvPr>
            <p:cNvSpPr/>
            <p:nvPr/>
          </p:nvSpPr>
          <p:spPr bwMode="gray">
            <a:xfrm rot="10800000" flipH="1">
              <a:off x="8707013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0" name="Right Triangle 949">
              <a:extLst>
                <a:ext uri="{FF2B5EF4-FFF2-40B4-BE49-F238E27FC236}">
                  <a16:creationId xmlns:a16="http://schemas.microsoft.com/office/drawing/2014/main" id="{BF8BEC91-349C-4D67-B73B-F301B792BD9B}"/>
                </a:ext>
              </a:extLst>
            </p:cNvPr>
            <p:cNvSpPr/>
            <p:nvPr/>
          </p:nvSpPr>
          <p:spPr bwMode="gray">
            <a:xfrm flipH="1" flipV="1">
              <a:off x="8707013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1" name="Right Triangle 950">
              <a:extLst>
                <a:ext uri="{FF2B5EF4-FFF2-40B4-BE49-F238E27FC236}">
                  <a16:creationId xmlns:a16="http://schemas.microsoft.com/office/drawing/2014/main" id="{ECB859C2-A11A-47E7-AB7F-4CDB861280C4}"/>
                </a:ext>
              </a:extLst>
            </p:cNvPr>
            <p:cNvSpPr/>
            <p:nvPr/>
          </p:nvSpPr>
          <p:spPr bwMode="gray">
            <a:xfrm flipH="1">
              <a:off x="8707013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2" name="Right Triangle 951">
              <a:extLst>
                <a:ext uri="{FF2B5EF4-FFF2-40B4-BE49-F238E27FC236}">
                  <a16:creationId xmlns:a16="http://schemas.microsoft.com/office/drawing/2014/main" id="{A5159494-F4AE-4B61-A344-9C9047E036BA}"/>
                </a:ext>
              </a:extLst>
            </p:cNvPr>
            <p:cNvSpPr/>
            <p:nvPr/>
          </p:nvSpPr>
          <p:spPr bwMode="gray">
            <a:xfrm rot="10800000" flipH="1">
              <a:off x="8707014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3" name="Right Triangle 952">
              <a:extLst>
                <a:ext uri="{FF2B5EF4-FFF2-40B4-BE49-F238E27FC236}">
                  <a16:creationId xmlns:a16="http://schemas.microsoft.com/office/drawing/2014/main" id="{1F1E6FC2-B952-4C89-ADB0-86497711D0F2}"/>
                </a:ext>
              </a:extLst>
            </p:cNvPr>
            <p:cNvSpPr/>
            <p:nvPr/>
          </p:nvSpPr>
          <p:spPr bwMode="gray">
            <a:xfrm flipH="1">
              <a:off x="8707013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4" name="Right Triangle 953">
              <a:extLst>
                <a:ext uri="{FF2B5EF4-FFF2-40B4-BE49-F238E27FC236}">
                  <a16:creationId xmlns:a16="http://schemas.microsoft.com/office/drawing/2014/main" id="{D7A6FCB2-C6CD-46FE-B253-8773217BC65B}"/>
                </a:ext>
              </a:extLst>
            </p:cNvPr>
            <p:cNvSpPr/>
            <p:nvPr/>
          </p:nvSpPr>
          <p:spPr bwMode="gray">
            <a:xfrm rot="10800000" flipH="1">
              <a:off x="8707013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5" name="Right Triangle 954">
              <a:extLst>
                <a:ext uri="{FF2B5EF4-FFF2-40B4-BE49-F238E27FC236}">
                  <a16:creationId xmlns:a16="http://schemas.microsoft.com/office/drawing/2014/main" id="{149C0FE2-7E03-41E8-9BD0-FCFDA0DDA874}"/>
                </a:ext>
              </a:extLst>
            </p:cNvPr>
            <p:cNvSpPr/>
            <p:nvPr/>
          </p:nvSpPr>
          <p:spPr bwMode="gray">
            <a:xfrm>
              <a:off x="9675524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6" name="Right Triangle 955">
              <a:extLst>
                <a:ext uri="{FF2B5EF4-FFF2-40B4-BE49-F238E27FC236}">
                  <a16:creationId xmlns:a16="http://schemas.microsoft.com/office/drawing/2014/main" id="{D5FA232C-50AC-4D3F-9DA3-BA4FF38A8C9F}"/>
                </a:ext>
              </a:extLst>
            </p:cNvPr>
            <p:cNvSpPr/>
            <p:nvPr/>
          </p:nvSpPr>
          <p:spPr bwMode="gray">
            <a:xfrm rot="10800000">
              <a:off x="9675524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7" name="Right Triangle 956">
              <a:extLst>
                <a:ext uri="{FF2B5EF4-FFF2-40B4-BE49-F238E27FC236}">
                  <a16:creationId xmlns:a16="http://schemas.microsoft.com/office/drawing/2014/main" id="{717F3E84-9E79-4104-B958-69A58FAEB9B1}"/>
                </a:ext>
              </a:extLst>
            </p:cNvPr>
            <p:cNvSpPr/>
            <p:nvPr/>
          </p:nvSpPr>
          <p:spPr bwMode="gray">
            <a:xfrm flipV="1">
              <a:off x="9675524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8" name="Right Triangle 957">
              <a:extLst>
                <a:ext uri="{FF2B5EF4-FFF2-40B4-BE49-F238E27FC236}">
                  <a16:creationId xmlns:a16="http://schemas.microsoft.com/office/drawing/2014/main" id="{E0EA0E58-938F-40BB-952B-B19837F2637D}"/>
                </a:ext>
              </a:extLst>
            </p:cNvPr>
            <p:cNvSpPr/>
            <p:nvPr/>
          </p:nvSpPr>
          <p:spPr bwMode="gray">
            <a:xfrm>
              <a:off x="9675524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9" name="Right Triangle 958">
              <a:extLst>
                <a:ext uri="{FF2B5EF4-FFF2-40B4-BE49-F238E27FC236}">
                  <a16:creationId xmlns:a16="http://schemas.microsoft.com/office/drawing/2014/main" id="{413D2B14-7E80-426B-A87C-0EC70FFBDBFF}"/>
                </a:ext>
              </a:extLst>
            </p:cNvPr>
            <p:cNvSpPr/>
            <p:nvPr/>
          </p:nvSpPr>
          <p:spPr bwMode="gray">
            <a:xfrm rot="10800000">
              <a:off x="9675524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0" name="Right Triangle 959">
              <a:extLst>
                <a:ext uri="{FF2B5EF4-FFF2-40B4-BE49-F238E27FC236}">
                  <a16:creationId xmlns:a16="http://schemas.microsoft.com/office/drawing/2014/main" id="{FE0427F5-3D70-4485-97D4-F63F61EC0430}"/>
                </a:ext>
              </a:extLst>
            </p:cNvPr>
            <p:cNvSpPr/>
            <p:nvPr/>
          </p:nvSpPr>
          <p:spPr bwMode="gray">
            <a:xfrm>
              <a:off x="9675524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1" name="Right Triangle 960">
              <a:extLst>
                <a:ext uri="{FF2B5EF4-FFF2-40B4-BE49-F238E27FC236}">
                  <a16:creationId xmlns:a16="http://schemas.microsoft.com/office/drawing/2014/main" id="{26C3D920-7D70-4182-AB2D-D23FB1A27CDA}"/>
                </a:ext>
              </a:extLst>
            </p:cNvPr>
            <p:cNvSpPr/>
            <p:nvPr/>
          </p:nvSpPr>
          <p:spPr bwMode="gray">
            <a:xfrm flipV="1">
              <a:off x="9675524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2" name="Right Triangle 961">
              <a:extLst>
                <a:ext uri="{FF2B5EF4-FFF2-40B4-BE49-F238E27FC236}">
                  <a16:creationId xmlns:a16="http://schemas.microsoft.com/office/drawing/2014/main" id="{A3D107A6-2CC4-4F1A-9559-55D5F2851446}"/>
                </a:ext>
              </a:extLst>
            </p:cNvPr>
            <p:cNvSpPr/>
            <p:nvPr/>
          </p:nvSpPr>
          <p:spPr bwMode="gray">
            <a:xfrm>
              <a:off x="9675524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3" name="Right Triangle 962">
              <a:extLst>
                <a:ext uri="{FF2B5EF4-FFF2-40B4-BE49-F238E27FC236}">
                  <a16:creationId xmlns:a16="http://schemas.microsoft.com/office/drawing/2014/main" id="{3DDB3F48-AB5C-42EF-B596-5D44C42041D9}"/>
                </a:ext>
              </a:extLst>
            </p:cNvPr>
            <p:cNvSpPr/>
            <p:nvPr/>
          </p:nvSpPr>
          <p:spPr bwMode="gray">
            <a:xfrm rot="10800000">
              <a:off x="9675525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4" name="Right Triangle 963">
              <a:extLst>
                <a:ext uri="{FF2B5EF4-FFF2-40B4-BE49-F238E27FC236}">
                  <a16:creationId xmlns:a16="http://schemas.microsoft.com/office/drawing/2014/main" id="{7982FDE5-886C-4A01-81FD-6D687732F82E}"/>
                </a:ext>
              </a:extLst>
            </p:cNvPr>
            <p:cNvSpPr/>
            <p:nvPr/>
          </p:nvSpPr>
          <p:spPr bwMode="gray">
            <a:xfrm>
              <a:off x="9675524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5" name="Right Triangle 964">
              <a:extLst>
                <a:ext uri="{FF2B5EF4-FFF2-40B4-BE49-F238E27FC236}">
                  <a16:creationId xmlns:a16="http://schemas.microsoft.com/office/drawing/2014/main" id="{CD1CD2B9-B1B9-4E95-A804-9A792D6DDD3D}"/>
                </a:ext>
              </a:extLst>
            </p:cNvPr>
            <p:cNvSpPr/>
            <p:nvPr/>
          </p:nvSpPr>
          <p:spPr bwMode="gray">
            <a:xfrm rot="10800000">
              <a:off x="9675524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6" name="Right Triangle 965">
              <a:extLst>
                <a:ext uri="{FF2B5EF4-FFF2-40B4-BE49-F238E27FC236}">
                  <a16:creationId xmlns:a16="http://schemas.microsoft.com/office/drawing/2014/main" id="{FE10F74B-D77B-40D6-8974-4DB94C7D9EBC}"/>
                </a:ext>
              </a:extLst>
            </p:cNvPr>
            <p:cNvSpPr/>
            <p:nvPr/>
          </p:nvSpPr>
          <p:spPr bwMode="gray">
            <a:xfrm flipH="1">
              <a:off x="10643913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7" name="Right Triangle 966">
              <a:extLst>
                <a:ext uri="{FF2B5EF4-FFF2-40B4-BE49-F238E27FC236}">
                  <a16:creationId xmlns:a16="http://schemas.microsoft.com/office/drawing/2014/main" id="{22521D6E-B801-4696-BAFE-9255A326E561}"/>
                </a:ext>
              </a:extLst>
            </p:cNvPr>
            <p:cNvSpPr/>
            <p:nvPr/>
          </p:nvSpPr>
          <p:spPr bwMode="gray">
            <a:xfrm flipH="1" flipV="1">
              <a:off x="10643913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8" name="Right Triangle 967">
              <a:extLst>
                <a:ext uri="{FF2B5EF4-FFF2-40B4-BE49-F238E27FC236}">
                  <a16:creationId xmlns:a16="http://schemas.microsoft.com/office/drawing/2014/main" id="{B9F4B1F0-2D36-4988-8D93-426D60508686}"/>
                </a:ext>
              </a:extLst>
            </p:cNvPr>
            <p:cNvSpPr/>
            <p:nvPr/>
          </p:nvSpPr>
          <p:spPr bwMode="gray">
            <a:xfrm rot="10800000" flipH="1" flipV="1">
              <a:off x="10643914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69" name="Right Triangle 968">
              <a:extLst>
                <a:ext uri="{FF2B5EF4-FFF2-40B4-BE49-F238E27FC236}">
                  <a16:creationId xmlns:a16="http://schemas.microsoft.com/office/drawing/2014/main" id="{1E69E603-D83B-41C1-9ABF-13CC87C78255}"/>
                </a:ext>
              </a:extLst>
            </p:cNvPr>
            <p:cNvSpPr/>
            <p:nvPr/>
          </p:nvSpPr>
          <p:spPr bwMode="gray">
            <a:xfrm flipH="1">
              <a:off x="10643913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0" name="Right Triangle 969">
              <a:extLst>
                <a:ext uri="{FF2B5EF4-FFF2-40B4-BE49-F238E27FC236}">
                  <a16:creationId xmlns:a16="http://schemas.microsoft.com/office/drawing/2014/main" id="{46F6B6E6-BE1F-4257-9B6C-29084E45CCF5}"/>
                </a:ext>
              </a:extLst>
            </p:cNvPr>
            <p:cNvSpPr/>
            <p:nvPr/>
          </p:nvSpPr>
          <p:spPr bwMode="gray">
            <a:xfrm flipH="1">
              <a:off x="10643913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1" name="Right Triangle 970">
              <a:extLst>
                <a:ext uri="{FF2B5EF4-FFF2-40B4-BE49-F238E27FC236}">
                  <a16:creationId xmlns:a16="http://schemas.microsoft.com/office/drawing/2014/main" id="{F32C4258-2382-4A5E-87FE-2920A0208068}"/>
                </a:ext>
              </a:extLst>
            </p:cNvPr>
            <p:cNvSpPr/>
            <p:nvPr/>
          </p:nvSpPr>
          <p:spPr bwMode="gray">
            <a:xfrm rot="10800000" flipH="1">
              <a:off x="10643914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2" name="Right Triangle 971">
              <a:extLst>
                <a:ext uri="{FF2B5EF4-FFF2-40B4-BE49-F238E27FC236}">
                  <a16:creationId xmlns:a16="http://schemas.microsoft.com/office/drawing/2014/main" id="{7691CAA1-35CD-4DEA-B2F8-4D7075D024B5}"/>
                </a:ext>
              </a:extLst>
            </p:cNvPr>
            <p:cNvSpPr/>
            <p:nvPr/>
          </p:nvSpPr>
          <p:spPr bwMode="gray">
            <a:xfrm flipH="1" flipV="1">
              <a:off x="10643913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3" name="Right Triangle 972">
              <a:extLst>
                <a:ext uri="{FF2B5EF4-FFF2-40B4-BE49-F238E27FC236}">
                  <a16:creationId xmlns:a16="http://schemas.microsoft.com/office/drawing/2014/main" id="{6AE35B45-E4B9-4A56-808C-3F401E66FF4E}"/>
                </a:ext>
              </a:extLst>
            </p:cNvPr>
            <p:cNvSpPr/>
            <p:nvPr/>
          </p:nvSpPr>
          <p:spPr bwMode="gray">
            <a:xfrm rot="10800000" flipH="1" flipV="1">
              <a:off x="10643913" y="96601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4" name="Right Triangle 973">
              <a:extLst>
                <a:ext uri="{FF2B5EF4-FFF2-40B4-BE49-F238E27FC236}">
                  <a16:creationId xmlns:a16="http://schemas.microsoft.com/office/drawing/2014/main" id="{0B20D10C-9D40-425A-95B4-CF9B9A27E269}"/>
                </a:ext>
              </a:extLst>
            </p:cNvPr>
            <p:cNvSpPr/>
            <p:nvPr/>
          </p:nvSpPr>
          <p:spPr bwMode="gray">
            <a:xfrm flipH="1">
              <a:off x="10643913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5" name="Right Triangle 974">
              <a:extLst>
                <a:ext uri="{FF2B5EF4-FFF2-40B4-BE49-F238E27FC236}">
                  <a16:creationId xmlns:a16="http://schemas.microsoft.com/office/drawing/2014/main" id="{53456E2B-9556-479F-95E5-1A11BEE292F2}"/>
                </a:ext>
              </a:extLst>
            </p:cNvPr>
            <p:cNvSpPr/>
            <p:nvPr/>
          </p:nvSpPr>
          <p:spPr bwMode="gray">
            <a:xfrm rot="10800000" flipH="1">
              <a:off x="10643914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6" name="Right Triangle 975">
              <a:extLst>
                <a:ext uri="{FF2B5EF4-FFF2-40B4-BE49-F238E27FC236}">
                  <a16:creationId xmlns:a16="http://schemas.microsoft.com/office/drawing/2014/main" id="{37179DC9-DA24-4661-8CDE-829238E61245}"/>
                </a:ext>
              </a:extLst>
            </p:cNvPr>
            <p:cNvSpPr/>
            <p:nvPr/>
          </p:nvSpPr>
          <p:spPr bwMode="gray">
            <a:xfrm flipH="1">
              <a:off x="10643913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7" name="Right Triangle 976">
              <a:extLst>
                <a:ext uri="{FF2B5EF4-FFF2-40B4-BE49-F238E27FC236}">
                  <a16:creationId xmlns:a16="http://schemas.microsoft.com/office/drawing/2014/main" id="{82C85D2A-83CB-4EDE-B1CB-C3F718F1616B}"/>
                </a:ext>
              </a:extLst>
            </p:cNvPr>
            <p:cNvSpPr/>
            <p:nvPr/>
          </p:nvSpPr>
          <p:spPr bwMode="gray">
            <a:xfrm rot="10800000" flipH="1">
              <a:off x="10643913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8" name="Right Triangle 977">
              <a:extLst>
                <a:ext uri="{FF2B5EF4-FFF2-40B4-BE49-F238E27FC236}">
                  <a16:creationId xmlns:a16="http://schemas.microsoft.com/office/drawing/2014/main" id="{B669C0FF-3098-4F73-B51E-211E0C137B53}"/>
                </a:ext>
              </a:extLst>
            </p:cNvPr>
            <p:cNvSpPr/>
            <p:nvPr/>
          </p:nvSpPr>
          <p:spPr bwMode="gray">
            <a:xfrm>
              <a:off x="11612301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9" name="Right Triangle 978">
              <a:extLst>
                <a:ext uri="{FF2B5EF4-FFF2-40B4-BE49-F238E27FC236}">
                  <a16:creationId xmlns:a16="http://schemas.microsoft.com/office/drawing/2014/main" id="{3DFDE573-A49E-4FB2-BF57-79F2D0951F7D}"/>
                </a:ext>
              </a:extLst>
            </p:cNvPr>
            <p:cNvSpPr/>
            <p:nvPr/>
          </p:nvSpPr>
          <p:spPr bwMode="gray">
            <a:xfrm rot="10800000">
              <a:off x="11612301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0" name="Right Triangle 979">
              <a:extLst>
                <a:ext uri="{FF2B5EF4-FFF2-40B4-BE49-F238E27FC236}">
                  <a16:creationId xmlns:a16="http://schemas.microsoft.com/office/drawing/2014/main" id="{20D755AD-095F-42A9-BEB5-E8EE2BB32754}"/>
                </a:ext>
              </a:extLst>
            </p:cNvPr>
            <p:cNvSpPr/>
            <p:nvPr/>
          </p:nvSpPr>
          <p:spPr bwMode="gray">
            <a:xfrm flipV="1">
              <a:off x="11612301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1" name="Right Triangle 980">
              <a:extLst>
                <a:ext uri="{FF2B5EF4-FFF2-40B4-BE49-F238E27FC236}">
                  <a16:creationId xmlns:a16="http://schemas.microsoft.com/office/drawing/2014/main" id="{6101939A-9CD6-4196-8A26-0AF5E1EE6349}"/>
                </a:ext>
              </a:extLst>
            </p:cNvPr>
            <p:cNvSpPr/>
            <p:nvPr/>
          </p:nvSpPr>
          <p:spPr bwMode="gray">
            <a:xfrm>
              <a:off x="11612301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2" name="Right Triangle 981">
              <a:extLst>
                <a:ext uri="{FF2B5EF4-FFF2-40B4-BE49-F238E27FC236}">
                  <a16:creationId xmlns:a16="http://schemas.microsoft.com/office/drawing/2014/main" id="{D8217653-1F40-420C-A6C8-F998C4D2C8B4}"/>
                </a:ext>
              </a:extLst>
            </p:cNvPr>
            <p:cNvSpPr/>
            <p:nvPr/>
          </p:nvSpPr>
          <p:spPr bwMode="gray">
            <a:xfrm rot="10800000">
              <a:off x="11612302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3" name="Right Triangle 982">
              <a:extLst>
                <a:ext uri="{FF2B5EF4-FFF2-40B4-BE49-F238E27FC236}">
                  <a16:creationId xmlns:a16="http://schemas.microsoft.com/office/drawing/2014/main" id="{219A6D25-52E7-4BB0-A611-0880A4E99949}"/>
                </a:ext>
              </a:extLst>
            </p:cNvPr>
            <p:cNvSpPr/>
            <p:nvPr/>
          </p:nvSpPr>
          <p:spPr bwMode="gray">
            <a:xfrm>
              <a:off x="11612301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4" name="Right Triangle 983">
              <a:extLst>
                <a:ext uri="{FF2B5EF4-FFF2-40B4-BE49-F238E27FC236}">
                  <a16:creationId xmlns:a16="http://schemas.microsoft.com/office/drawing/2014/main" id="{86C5D6FB-5879-4077-815A-DFF7CD084233}"/>
                </a:ext>
              </a:extLst>
            </p:cNvPr>
            <p:cNvSpPr/>
            <p:nvPr/>
          </p:nvSpPr>
          <p:spPr bwMode="gray">
            <a:xfrm rot="10800000">
              <a:off x="11612301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9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5" name="Right Triangle 984">
              <a:extLst>
                <a:ext uri="{FF2B5EF4-FFF2-40B4-BE49-F238E27FC236}">
                  <a16:creationId xmlns:a16="http://schemas.microsoft.com/office/drawing/2014/main" id="{71AB491A-6C62-4B7E-AACF-2A58193D972C}"/>
                </a:ext>
              </a:extLst>
            </p:cNvPr>
            <p:cNvSpPr/>
            <p:nvPr/>
          </p:nvSpPr>
          <p:spPr bwMode="gray">
            <a:xfrm flipV="1">
              <a:off x="11612301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6" name="Right Triangle 985">
              <a:extLst>
                <a:ext uri="{FF2B5EF4-FFF2-40B4-BE49-F238E27FC236}">
                  <a16:creationId xmlns:a16="http://schemas.microsoft.com/office/drawing/2014/main" id="{6C7214F1-A832-47CA-9BA1-01440D35032A}"/>
                </a:ext>
              </a:extLst>
            </p:cNvPr>
            <p:cNvSpPr/>
            <p:nvPr/>
          </p:nvSpPr>
          <p:spPr bwMode="gray">
            <a:xfrm rot="10800000">
              <a:off x="11612301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7" name="Right Triangle 986">
              <a:extLst>
                <a:ext uri="{FF2B5EF4-FFF2-40B4-BE49-F238E27FC236}">
                  <a16:creationId xmlns:a16="http://schemas.microsoft.com/office/drawing/2014/main" id="{F03C9DDA-B81A-43AF-98AB-37A040A10868}"/>
                </a:ext>
              </a:extLst>
            </p:cNvPr>
            <p:cNvSpPr/>
            <p:nvPr/>
          </p:nvSpPr>
          <p:spPr bwMode="gray">
            <a:xfrm>
              <a:off x="11612301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8" name="Right Triangle 987">
              <a:extLst>
                <a:ext uri="{FF2B5EF4-FFF2-40B4-BE49-F238E27FC236}">
                  <a16:creationId xmlns:a16="http://schemas.microsoft.com/office/drawing/2014/main" id="{1AA1B570-244C-48D2-9DE5-849CDE78B1FC}"/>
                </a:ext>
              </a:extLst>
            </p:cNvPr>
            <p:cNvSpPr/>
            <p:nvPr/>
          </p:nvSpPr>
          <p:spPr bwMode="gray">
            <a:xfrm rot="10800000">
              <a:off x="11612301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9" name="Right Triangle 988">
              <a:extLst>
                <a:ext uri="{FF2B5EF4-FFF2-40B4-BE49-F238E27FC236}">
                  <a16:creationId xmlns:a16="http://schemas.microsoft.com/office/drawing/2014/main" id="{D1AC8B20-475A-4235-B03A-45472EA1C350}"/>
                </a:ext>
              </a:extLst>
            </p:cNvPr>
            <p:cNvSpPr/>
            <p:nvPr/>
          </p:nvSpPr>
          <p:spPr bwMode="gray">
            <a:xfrm>
              <a:off x="7741658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0" name="Right Triangle 989">
              <a:extLst>
                <a:ext uri="{FF2B5EF4-FFF2-40B4-BE49-F238E27FC236}">
                  <a16:creationId xmlns:a16="http://schemas.microsoft.com/office/drawing/2014/main" id="{CDC9BF14-C211-4C70-8246-F4C2F271C056}"/>
                </a:ext>
              </a:extLst>
            </p:cNvPr>
            <p:cNvSpPr/>
            <p:nvPr/>
          </p:nvSpPr>
          <p:spPr bwMode="gray">
            <a:xfrm flipV="1">
              <a:off x="7741658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1" name="Right Triangle 990">
              <a:extLst>
                <a:ext uri="{FF2B5EF4-FFF2-40B4-BE49-F238E27FC236}">
                  <a16:creationId xmlns:a16="http://schemas.microsoft.com/office/drawing/2014/main" id="{65050C68-C257-4DED-9DF9-B18E2648FC38}"/>
                </a:ext>
              </a:extLst>
            </p:cNvPr>
            <p:cNvSpPr/>
            <p:nvPr/>
          </p:nvSpPr>
          <p:spPr bwMode="gray">
            <a:xfrm rot="10800000" flipV="1">
              <a:off x="7741659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2" name="Right Triangle 991">
              <a:extLst>
                <a:ext uri="{FF2B5EF4-FFF2-40B4-BE49-F238E27FC236}">
                  <a16:creationId xmlns:a16="http://schemas.microsoft.com/office/drawing/2014/main" id="{1C60248A-816C-4962-BE8E-37BD436D1E50}"/>
                </a:ext>
              </a:extLst>
            </p:cNvPr>
            <p:cNvSpPr/>
            <p:nvPr/>
          </p:nvSpPr>
          <p:spPr bwMode="gray">
            <a:xfrm>
              <a:off x="7741658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3" name="Right Triangle 992">
              <a:extLst>
                <a:ext uri="{FF2B5EF4-FFF2-40B4-BE49-F238E27FC236}">
                  <a16:creationId xmlns:a16="http://schemas.microsoft.com/office/drawing/2014/main" id="{EC9E614F-18A1-4B0F-B35D-5031EC2A7464}"/>
                </a:ext>
              </a:extLst>
            </p:cNvPr>
            <p:cNvSpPr/>
            <p:nvPr/>
          </p:nvSpPr>
          <p:spPr bwMode="gray">
            <a:xfrm rot="10800000">
              <a:off x="7741659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4" name="Right Triangle 993">
              <a:extLst>
                <a:ext uri="{FF2B5EF4-FFF2-40B4-BE49-F238E27FC236}">
                  <a16:creationId xmlns:a16="http://schemas.microsoft.com/office/drawing/2014/main" id="{897AC2A1-264B-4276-9E95-156372EF1364}"/>
                </a:ext>
              </a:extLst>
            </p:cNvPr>
            <p:cNvSpPr/>
            <p:nvPr/>
          </p:nvSpPr>
          <p:spPr bwMode="gray">
            <a:xfrm>
              <a:off x="7741658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5" name="Right Triangle 994">
              <a:extLst>
                <a:ext uri="{FF2B5EF4-FFF2-40B4-BE49-F238E27FC236}">
                  <a16:creationId xmlns:a16="http://schemas.microsoft.com/office/drawing/2014/main" id="{C453D5B8-F6C9-4AF9-9A26-5CC755DD7027}"/>
                </a:ext>
              </a:extLst>
            </p:cNvPr>
            <p:cNvSpPr/>
            <p:nvPr/>
          </p:nvSpPr>
          <p:spPr bwMode="gray">
            <a:xfrm rot="10800000">
              <a:off x="7741659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6" name="Right Triangle 995">
              <a:extLst>
                <a:ext uri="{FF2B5EF4-FFF2-40B4-BE49-F238E27FC236}">
                  <a16:creationId xmlns:a16="http://schemas.microsoft.com/office/drawing/2014/main" id="{5DC7F235-8BAE-4132-8C67-7073D3345CD1}"/>
                </a:ext>
              </a:extLst>
            </p:cNvPr>
            <p:cNvSpPr/>
            <p:nvPr/>
          </p:nvSpPr>
          <p:spPr bwMode="gray">
            <a:xfrm flipV="1">
              <a:off x="7741658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2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7" name="Right Triangle 996">
              <a:extLst>
                <a:ext uri="{FF2B5EF4-FFF2-40B4-BE49-F238E27FC236}">
                  <a16:creationId xmlns:a16="http://schemas.microsoft.com/office/drawing/2014/main" id="{3EE6E4C8-D620-40D4-9039-55DC80B61F92}"/>
                </a:ext>
              </a:extLst>
            </p:cNvPr>
            <p:cNvSpPr/>
            <p:nvPr/>
          </p:nvSpPr>
          <p:spPr bwMode="gray">
            <a:xfrm rot="10800000" flipV="1">
              <a:off x="7741659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8" name="Right Triangle 997">
              <a:extLst>
                <a:ext uri="{FF2B5EF4-FFF2-40B4-BE49-F238E27FC236}">
                  <a16:creationId xmlns:a16="http://schemas.microsoft.com/office/drawing/2014/main" id="{5BB48CA8-AA57-41C8-91FC-DFB71BE6AB6E}"/>
                </a:ext>
              </a:extLst>
            </p:cNvPr>
            <p:cNvSpPr/>
            <p:nvPr/>
          </p:nvSpPr>
          <p:spPr bwMode="gray">
            <a:xfrm>
              <a:off x="7741658" y="1928557"/>
              <a:ext cx="968389" cy="968389"/>
            </a:xfrm>
            <a:prstGeom prst="rtTriangle">
              <a:avLst/>
            </a:prstGeom>
            <a:solidFill>
              <a:sysClr val="window" lastClr="FFFFFF">
                <a:alpha val="7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9" name="Right Triangle 998">
              <a:extLst>
                <a:ext uri="{FF2B5EF4-FFF2-40B4-BE49-F238E27FC236}">
                  <a16:creationId xmlns:a16="http://schemas.microsoft.com/office/drawing/2014/main" id="{41778C0E-9D17-4FBB-BA93-64FFC5858FD4}"/>
                </a:ext>
              </a:extLst>
            </p:cNvPr>
            <p:cNvSpPr/>
            <p:nvPr/>
          </p:nvSpPr>
          <p:spPr bwMode="gray">
            <a:xfrm rot="10800000">
              <a:off x="7741659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0" name="Right Triangle 999">
              <a:extLst>
                <a:ext uri="{FF2B5EF4-FFF2-40B4-BE49-F238E27FC236}">
                  <a16:creationId xmlns:a16="http://schemas.microsoft.com/office/drawing/2014/main" id="{0ADD2D2A-8E46-4733-8B33-3E792507EE24}"/>
                </a:ext>
              </a:extLst>
            </p:cNvPr>
            <p:cNvSpPr/>
            <p:nvPr/>
          </p:nvSpPr>
          <p:spPr bwMode="gray">
            <a:xfrm>
              <a:off x="7741658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1" name="Right Triangle 1000">
              <a:extLst>
                <a:ext uri="{FF2B5EF4-FFF2-40B4-BE49-F238E27FC236}">
                  <a16:creationId xmlns:a16="http://schemas.microsoft.com/office/drawing/2014/main" id="{1508B2EF-89B2-4FD0-825B-C1BF6C53A58D}"/>
                </a:ext>
              </a:extLst>
            </p:cNvPr>
            <p:cNvSpPr/>
            <p:nvPr/>
          </p:nvSpPr>
          <p:spPr bwMode="gray">
            <a:xfrm rot="10800000">
              <a:off x="7741659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2" name="Right Triangle 1001">
              <a:extLst>
                <a:ext uri="{FF2B5EF4-FFF2-40B4-BE49-F238E27FC236}">
                  <a16:creationId xmlns:a16="http://schemas.microsoft.com/office/drawing/2014/main" id="{FAFA9745-664B-4CA0-8E19-C05C588BB395}"/>
                </a:ext>
              </a:extLst>
            </p:cNvPr>
            <p:cNvSpPr/>
            <p:nvPr/>
          </p:nvSpPr>
          <p:spPr bwMode="gray">
            <a:xfrm flipH="1">
              <a:off x="8707013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3" name="Right Triangle 1002">
              <a:extLst>
                <a:ext uri="{FF2B5EF4-FFF2-40B4-BE49-F238E27FC236}">
                  <a16:creationId xmlns:a16="http://schemas.microsoft.com/office/drawing/2014/main" id="{9DAC7B9A-9E99-44FC-8BF1-F528422032C6}"/>
                </a:ext>
              </a:extLst>
            </p:cNvPr>
            <p:cNvSpPr/>
            <p:nvPr/>
          </p:nvSpPr>
          <p:spPr bwMode="gray">
            <a:xfrm rot="10800000" flipH="1">
              <a:off x="8707013" y="5805646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4" name="Right Triangle 1003">
              <a:extLst>
                <a:ext uri="{FF2B5EF4-FFF2-40B4-BE49-F238E27FC236}">
                  <a16:creationId xmlns:a16="http://schemas.microsoft.com/office/drawing/2014/main" id="{96DAE9FD-AC57-44F3-A886-E02BBE30EB51}"/>
                </a:ext>
              </a:extLst>
            </p:cNvPr>
            <p:cNvSpPr/>
            <p:nvPr/>
          </p:nvSpPr>
          <p:spPr bwMode="gray">
            <a:xfrm flipH="1" flipV="1">
              <a:off x="8707013" y="3866914"/>
              <a:ext cx="968389" cy="968389"/>
            </a:xfrm>
            <a:prstGeom prst="rtTriangle">
              <a:avLst/>
            </a:prstGeom>
            <a:solidFill>
              <a:sysClr val="window" lastClr="FFFFFF">
                <a:alpha val="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5" name="Right Triangle 1004">
              <a:extLst>
                <a:ext uri="{FF2B5EF4-FFF2-40B4-BE49-F238E27FC236}">
                  <a16:creationId xmlns:a16="http://schemas.microsoft.com/office/drawing/2014/main" id="{FC99857F-2AE1-4F0B-A84F-A262C1F4F622}"/>
                </a:ext>
              </a:extLst>
            </p:cNvPr>
            <p:cNvSpPr/>
            <p:nvPr/>
          </p:nvSpPr>
          <p:spPr bwMode="gray">
            <a:xfrm rot="10800000" flipH="1">
              <a:off x="8707013" y="4836178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6" name="Right Triangle 1005">
              <a:extLst>
                <a:ext uri="{FF2B5EF4-FFF2-40B4-BE49-F238E27FC236}">
                  <a16:creationId xmlns:a16="http://schemas.microsoft.com/office/drawing/2014/main" id="{ABE5721F-2B20-4F94-B67F-37DAF0257A67}"/>
                </a:ext>
              </a:extLst>
            </p:cNvPr>
            <p:cNvSpPr/>
            <p:nvPr/>
          </p:nvSpPr>
          <p:spPr bwMode="gray">
            <a:xfrm flipH="1">
              <a:off x="8707013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7" name="Right Triangle 1006">
              <a:extLst>
                <a:ext uri="{FF2B5EF4-FFF2-40B4-BE49-F238E27FC236}">
                  <a16:creationId xmlns:a16="http://schemas.microsoft.com/office/drawing/2014/main" id="{86FB1B1A-D3D0-4849-9CA7-636626A6C8B7}"/>
                </a:ext>
              </a:extLst>
            </p:cNvPr>
            <p:cNvSpPr/>
            <p:nvPr/>
          </p:nvSpPr>
          <p:spPr bwMode="gray">
            <a:xfrm rot="10800000" flipH="1">
              <a:off x="8707013" y="2901089"/>
              <a:ext cx="968389" cy="968389"/>
            </a:xfrm>
            <a:prstGeom prst="rtTriangle">
              <a:avLst/>
            </a:prstGeom>
            <a:solidFill>
              <a:sysClr val="window" lastClr="FFFFFF">
                <a:alpha val="6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8" name="Right Triangle 1007">
              <a:extLst>
                <a:ext uri="{FF2B5EF4-FFF2-40B4-BE49-F238E27FC236}">
                  <a16:creationId xmlns:a16="http://schemas.microsoft.com/office/drawing/2014/main" id="{0779F498-F6FC-4E46-8A66-B205327E06DE}"/>
                </a:ext>
              </a:extLst>
            </p:cNvPr>
            <p:cNvSpPr/>
            <p:nvPr/>
          </p:nvSpPr>
          <p:spPr bwMode="gray">
            <a:xfrm flipH="1" flipV="1">
              <a:off x="8707013" y="966018"/>
              <a:ext cx="968389" cy="968389"/>
            </a:xfrm>
            <a:prstGeom prst="rtTriangle">
              <a:avLst/>
            </a:prstGeom>
            <a:solidFill>
              <a:sysClr val="window" lastClr="FFFFFF">
                <a:alpha val="8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09" name="Right Triangle 1008">
              <a:extLst>
                <a:ext uri="{FF2B5EF4-FFF2-40B4-BE49-F238E27FC236}">
                  <a16:creationId xmlns:a16="http://schemas.microsoft.com/office/drawing/2014/main" id="{F9D28728-C448-4BCC-AE27-5A139E40AEE1}"/>
                </a:ext>
              </a:extLst>
            </p:cNvPr>
            <p:cNvSpPr/>
            <p:nvPr/>
          </p:nvSpPr>
          <p:spPr bwMode="gray">
            <a:xfrm flipH="1">
              <a:off x="8707013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10" name="Right Triangle 1009">
              <a:extLst>
                <a:ext uri="{FF2B5EF4-FFF2-40B4-BE49-F238E27FC236}">
                  <a16:creationId xmlns:a16="http://schemas.microsoft.com/office/drawing/2014/main" id="{35E537E1-31E4-45DC-855D-8C77CF8D5A4D}"/>
                </a:ext>
              </a:extLst>
            </p:cNvPr>
            <p:cNvSpPr/>
            <p:nvPr/>
          </p:nvSpPr>
          <p:spPr bwMode="gray">
            <a:xfrm rot="10800000" flipH="1">
              <a:off x="8707014" y="1935282"/>
              <a:ext cx="968389" cy="968389"/>
            </a:xfrm>
            <a:prstGeom prst="rtTriangle">
              <a:avLst/>
            </a:prstGeom>
            <a:solidFill>
              <a:sysClr val="window" lastClr="FFFFFF">
                <a:alpha val="13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11" name="Right Triangle 1010">
              <a:extLst>
                <a:ext uri="{FF2B5EF4-FFF2-40B4-BE49-F238E27FC236}">
                  <a16:creationId xmlns:a16="http://schemas.microsoft.com/office/drawing/2014/main" id="{97A286FA-A667-4339-8B3B-D578F1C19DD0}"/>
                </a:ext>
              </a:extLst>
            </p:cNvPr>
            <p:cNvSpPr/>
            <p:nvPr/>
          </p:nvSpPr>
          <p:spPr bwMode="gray">
            <a:xfrm flipH="1">
              <a:off x="8707013" y="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12" name="Right Triangle 1011">
              <a:extLst>
                <a:ext uri="{FF2B5EF4-FFF2-40B4-BE49-F238E27FC236}">
                  <a16:creationId xmlns:a16="http://schemas.microsoft.com/office/drawing/2014/main" id="{D51F8E61-7A46-44E1-BD4E-19882ECCF8AE}"/>
                </a:ext>
              </a:extLst>
            </p:cNvPr>
            <p:cNvSpPr/>
            <p:nvPr/>
          </p:nvSpPr>
          <p:spPr bwMode="gray">
            <a:xfrm rot="10800000" flipH="1">
              <a:off x="8707013" y="4940"/>
              <a:ext cx="968389" cy="968389"/>
            </a:xfrm>
            <a:prstGeom prst="rtTriangle">
              <a:avLst/>
            </a:prstGeom>
            <a:solidFill>
              <a:sysClr val="window" lastClr="FFFFFF">
                <a:alpha val="12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5DD6E7D-B875-48DF-B6A8-450BD6AE171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787456" y="1"/>
            <a:ext cx="5404545" cy="67659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63" name="Text Placeholder 862">
            <a:extLst>
              <a:ext uri="{FF2B5EF4-FFF2-40B4-BE49-F238E27FC236}">
                <a16:creationId xmlns:a16="http://schemas.microsoft.com/office/drawing/2014/main" id="{806A8161-3A3C-4E8C-98F0-AD01607CDAE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49308" y="2625192"/>
            <a:ext cx="5246137" cy="1500187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600"/>
            </a:lvl1pPr>
            <a:lvl2pPr marL="273050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72" name="Rectangle 871">
            <a:extLst>
              <a:ext uri="{FF2B5EF4-FFF2-40B4-BE49-F238E27FC236}">
                <a16:creationId xmlns:a16="http://schemas.microsoft.com/office/drawing/2014/main" id="{6471A44C-0240-4D32-A1C2-B7E58448C427}"/>
              </a:ext>
            </a:extLst>
          </p:cNvPr>
          <p:cNvSpPr/>
          <p:nvPr/>
        </p:nvSpPr>
        <p:spPr bwMode="ltGray">
          <a:xfrm>
            <a:off x="-3443" y="6766560"/>
            <a:ext cx="12195441" cy="91440"/>
          </a:xfrm>
          <a:prstGeom prst="rect">
            <a:avLst/>
          </a:prstGeom>
          <a:gradFill flip="none" rotWithShape="1">
            <a:gsLst>
              <a:gs pos="0">
                <a:srgbClr val="AADB1E"/>
              </a:gs>
              <a:gs pos="25000">
                <a:schemeClr val="accent4"/>
              </a:gs>
              <a:gs pos="100000">
                <a:srgbClr val="003D79"/>
              </a:gs>
              <a:gs pos="50000">
                <a:schemeClr val="accent1"/>
              </a:gs>
              <a:gs pos="75000">
                <a:schemeClr val="accent3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  <p:grpSp>
        <p:nvGrpSpPr>
          <p:cNvPr id="1129" name="Group 1128">
            <a:extLst>
              <a:ext uri="{FF2B5EF4-FFF2-40B4-BE49-F238E27FC236}">
                <a16:creationId xmlns:a16="http://schemas.microsoft.com/office/drawing/2014/main" id="{66764AA4-C392-4C69-974A-C7CE49FEB0B9}"/>
              </a:ext>
            </a:extLst>
          </p:cNvPr>
          <p:cNvGrpSpPr/>
          <p:nvPr/>
        </p:nvGrpSpPr>
        <p:grpSpPr bwMode="black">
          <a:xfrm>
            <a:off x="618040" y="6446045"/>
            <a:ext cx="1100079" cy="173355"/>
            <a:chOff x="-84138" y="5622925"/>
            <a:chExt cx="4330701" cy="682626"/>
          </a:xfrm>
        </p:grpSpPr>
        <p:sp>
          <p:nvSpPr>
            <p:cNvPr id="1130" name="Freeform 6">
              <a:extLst>
                <a:ext uri="{FF2B5EF4-FFF2-40B4-BE49-F238E27FC236}">
                  <a16:creationId xmlns:a16="http://schemas.microsoft.com/office/drawing/2014/main" id="{B7235521-DFA3-4FE8-AD1B-4D4A25B27DB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1131" name="Freeform 7">
              <a:extLst>
                <a:ext uri="{FF2B5EF4-FFF2-40B4-BE49-F238E27FC236}">
                  <a16:creationId xmlns:a16="http://schemas.microsoft.com/office/drawing/2014/main" id="{2E469487-ABC8-4A80-9CE4-747949D059F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1132" name="Freeform 8">
              <a:extLst>
                <a:ext uri="{FF2B5EF4-FFF2-40B4-BE49-F238E27FC236}">
                  <a16:creationId xmlns:a16="http://schemas.microsoft.com/office/drawing/2014/main" id="{A6B015BD-72F9-4BD2-84C2-0246CCDE236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1133" name="Freeform 9">
              <a:extLst>
                <a:ext uri="{FF2B5EF4-FFF2-40B4-BE49-F238E27FC236}">
                  <a16:creationId xmlns:a16="http://schemas.microsoft.com/office/drawing/2014/main" id="{54804375-3F44-46DC-8753-BDC2B55F689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1134" name="Freeform 10">
              <a:extLst>
                <a:ext uri="{FF2B5EF4-FFF2-40B4-BE49-F238E27FC236}">
                  <a16:creationId xmlns:a16="http://schemas.microsoft.com/office/drawing/2014/main" id="{D3D2471D-B7BE-4028-A203-858BBDABE80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1135" name="Freeform 11">
              <a:extLst>
                <a:ext uri="{FF2B5EF4-FFF2-40B4-BE49-F238E27FC236}">
                  <a16:creationId xmlns:a16="http://schemas.microsoft.com/office/drawing/2014/main" id="{4CB9E2A8-8617-429C-B073-F966EDB4DAC3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1136" name="Freeform 12">
              <a:extLst>
                <a:ext uri="{FF2B5EF4-FFF2-40B4-BE49-F238E27FC236}">
                  <a16:creationId xmlns:a16="http://schemas.microsoft.com/office/drawing/2014/main" id="{71A43D73-6DE7-4E70-A52B-D910CAE4CA3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</p:grpSp>
      <p:sp>
        <p:nvSpPr>
          <p:cNvPr id="502" name="Freeform: Shape 501">
            <a:extLst>
              <a:ext uri="{FF2B5EF4-FFF2-40B4-BE49-F238E27FC236}">
                <a16:creationId xmlns:a16="http://schemas.microsoft.com/office/drawing/2014/main" id="{CD63DCC4-8271-40D4-A5AA-50A309573A43}"/>
              </a:ext>
            </a:extLst>
          </p:cNvPr>
          <p:cNvSpPr/>
          <p:nvPr/>
        </p:nvSpPr>
        <p:spPr bwMode="black">
          <a:xfrm>
            <a:off x="565612" y="2687487"/>
            <a:ext cx="45731" cy="1412491"/>
          </a:xfrm>
          <a:custGeom>
            <a:avLst/>
            <a:gdLst>
              <a:gd name="connsiteX0" fmla="*/ 0 w 45719"/>
              <a:gd name="connsiteY0" fmla="*/ 0 h 1412491"/>
              <a:gd name="connsiteX1" fmla="*/ 45719 w 45719"/>
              <a:gd name="connsiteY1" fmla="*/ 0 h 1412491"/>
              <a:gd name="connsiteX2" fmla="*/ 45719 w 45719"/>
              <a:gd name="connsiteY2" fmla="*/ 45129 h 1412491"/>
              <a:gd name="connsiteX3" fmla="*/ 45719 w 45719"/>
              <a:gd name="connsiteY3" fmla="*/ 1367362 h 1412491"/>
              <a:gd name="connsiteX4" fmla="*/ 45719 w 45719"/>
              <a:gd name="connsiteY4" fmla="*/ 1412491 h 1412491"/>
              <a:gd name="connsiteX5" fmla="*/ 0 w 45719"/>
              <a:gd name="connsiteY5" fmla="*/ 1412491 h 1412491"/>
              <a:gd name="connsiteX6" fmla="*/ 0 w 45719"/>
              <a:gd name="connsiteY6" fmla="*/ 1367362 h 1412491"/>
              <a:gd name="connsiteX7" fmla="*/ 0 w 45719"/>
              <a:gd name="connsiteY7" fmla="*/ 45129 h 1412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19" h="1412491">
                <a:moveTo>
                  <a:pt x="0" y="0"/>
                </a:moveTo>
                <a:lnTo>
                  <a:pt x="45719" y="0"/>
                </a:lnTo>
                <a:lnTo>
                  <a:pt x="45719" y="45129"/>
                </a:lnTo>
                <a:lnTo>
                  <a:pt x="45719" y="1367362"/>
                </a:lnTo>
                <a:lnTo>
                  <a:pt x="45719" y="1412491"/>
                </a:lnTo>
                <a:lnTo>
                  <a:pt x="0" y="1412491"/>
                </a:lnTo>
                <a:lnTo>
                  <a:pt x="0" y="1367362"/>
                </a:lnTo>
                <a:lnTo>
                  <a:pt x="0" y="45129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267" name="TextBox 266">
            <a:extLst>
              <a:ext uri="{FF2B5EF4-FFF2-40B4-BE49-F238E27FC236}">
                <a16:creationId xmlns:a16="http://schemas.microsoft.com/office/drawing/2014/main" id="{2CFE3100-9B19-45D2-989A-461FFF0A766A}"/>
              </a:ext>
            </a:extLst>
          </p:cNvPr>
          <p:cNvSpPr txBox="1"/>
          <p:nvPr/>
        </p:nvSpPr>
        <p:spPr>
          <a:xfrm>
            <a:off x="2118108" y="6510279"/>
            <a:ext cx="1966005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 dirty="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559738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371601"/>
            <a:ext cx="7924799" cy="464819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37614" y="1371601"/>
            <a:ext cx="2844800" cy="4648199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111049-A980-9A4B-BDCF-935BD3D35A43}" type="datetimeFigureOut">
              <a:rPr lang="en-US" smtClean="0"/>
              <a:t>24-Sep-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9C9BFC-FCFF-7247-B387-15C2934714B0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wipe dir="r"/>
      </p:transition>
    </mc:Choice>
    <mc:Fallback xmlns="">
      <p:transition xmlns:p14="http://schemas.microsoft.com/office/powerpoint/2010/main" spd="slow">
        <p:wipe dir="r"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ist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0F1D41E-848B-4178-A0D2-2A18C6921400}"/>
              </a:ext>
            </a:extLst>
          </p:cNvPr>
          <p:cNvSpPr/>
          <p:nvPr/>
        </p:nvSpPr>
        <p:spPr bwMode="hidden">
          <a:xfrm>
            <a:off x="0" y="0"/>
            <a:ext cx="12191997" cy="433228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6" name="Right Triangle 5">
            <a:extLst>
              <a:ext uri="{FF2B5EF4-FFF2-40B4-BE49-F238E27FC236}">
                <a16:creationId xmlns:a16="http://schemas.microsoft.com/office/drawing/2014/main" id="{33F19DD3-CF82-47C1-A5CA-791D0612BF86}"/>
              </a:ext>
            </a:extLst>
          </p:cNvPr>
          <p:cNvSpPr/>
          <p:nvPr/>
        </p:nvSpPr>
        <p:spPr bwMode="hidden">
          <a:xfrm>
            <a:off x="5194" y="0"/>
            <a:ext cx="4330240" cy="4329112"/>
          </a:xfrm>
          <a:prstGeom prst="rtTriangle">
            <a:avLst/>
          </a:prstGeom>
          <a:solidFill>
            <a:schemeClr val="accent1">
              <a:lumMod val="75000"/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1ED419A-30D8-44AB-9256-156B54D449CD}"/>
              </a:ext>
            </a:extLst>
          </p:cNvPr>
          <p:cNvSpPr/>
          <p:nvPr/>
        </p:nvSpPr>
        <p:spPr bwMode="white">
          <a:xfrm>
            <a:off x="672702" y="722997"/>
            <a:ext cx="4471564" cy="4470400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441D50E-6C1F-492D-AA2F-1CE1D494AAF1}"/>
              </a:ext>
            </a:extLst>
          </p:cNvPr>
          <p:cNvSpPr/>
          <p:nvPr>
            <p:custDataLst>
              <p:tags r:id="rId1"/>
            </p:custDataLst>
          </p:nvPr>
        </p:nvSpPr>
        <p:spPr bwMode="white">
          <a:xfrm>
            <a:off x="5851370" y="2509012"/>
            <a:ext cx="45731" cy="136736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E4BDA96F-134D-4855-8751-F1043ABF3B4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7588" y="2667000"/>
            <a:ext cx="5352857" cy="1016000"/>
          </a:xfrm>
        </p:spPr>
        <p:txBody>
          <a:bodyPr anchor="ctr"/>
          <a:lstStyle>
            <a:lvl1pPr>
              <a:spcBef>
                <a:spcPts val="0"/>
              </a:spcBef>
              <a:defRPr sz="3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Chart Placeholder 22">
            <a:extLst>
              <a:ext uri="{FF2B5EF4-FFF2-40B4-BE49-F238E27FC236}">
                <a16:creationId xmlns:a16="http://schemas.microsoft.com/office/drawing/2014/main" id="{4093E53D-7586-4113-99BD-F45F1343692F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662845" y="722997"/>
            <a:ext cx="4481423" cy="448025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Click to insert a </a:t>
            </a:r>
            <a:br>
              <a:rPr lang="en-US" dirty="0"/>
            </a:br>
            <a:r>
              <a:rPr lang="en-US" dirty="0"/>
              <a:t>Doughnut char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C4F4198-4BE0-4282-8B86-20DED598DC1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8489" y="5507147"/>
            <a:ext cx="1371421" cy="423862"/>
          </a:xfrm>
        </p:spPr>
        <p:txBody>
          <a:bodyPr/>
          <a:lstStyle>
            <a:lvl1pPr algn="l">
              <a:defRPr sz="12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0" name="Text Placeholder 12">
            <a:extLst>
              <a:ext uri="{FF2B5EF4-FFF2-40B4-BE49-F238E27FC236}">
                <a16:creationId xmlns:a16="http://schemas.microsoft.com/office/drawing/2014/main" id="{4B5F4E67-F2E8-4777-B495-668C321DCBA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437051" y="5507147"/>
            <a:ext cx="1371421" cy="423862"/>
          </a:xfrm>
        </p:spPr>
        <p:txBody>
          <a:bodyPr/>
          <a:lstStyle>
            <a:lvl1pPr algn="l">
              <a:defRPr sz="12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1" name="Text Placeholder 12">
            <a:extLst>
              <a:ext uri="{FF2B5EF4-FFF2-40B4-BE49-F238E27FC236}">
                <a16:creationId xmlns:a16="http://schemas.microsoft.com/office/drawing/2014/main" id="{704846F3-64ED-4181-8AEC-68B9734DA96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62213" y="5507147"/>
            <a:ext cx="1371421" cy="423862"/>
          </a:xfrm>
        </p:spPr>
        <p:txBody>
          <a:bodyPr/>
          <a:lstStyle>
            <a:lvl1pPr algn="l">
              <a:defRPr sz="12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2" name="Text Placeholder 12">
            <a:extLst>
              <a:ext uri="{FF2B5EF4-FFF2-40B4-BE49-F238E27FC236}">
                <a16:creationId xmlns:a16="http://schemas.microsoft.com/office/drawing/2014/main" id="{DD17F439-D919-44B7-889F-96A1DAF172D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89695" y="5507147"/>
            <a:ext cx="1371421" cy="423862"/>
          </a:xfrm>
        </p:spPr>
        <p:txBody>
          <a:bodyPr/>
          <a:lstStyle>
            <a:lvl1pPr algn="l">
              <a:defRPr sz="1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3" name="Text Placeholder 12">
            <a:extLst>
              <a:ext uri="{FF2B5EF4-FFF2-40B4-BE49-F238E27FC236}">
                <a16:creationId xmlns:a16="http://schemas.microsoft.com/office/drawing/2014/main" id="{0DA74846-CC03-44FE-9AE5-4975E808F8A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922735" y="5507147"/>
            <a:ext cx="1371421" cy="423862"/>
          </a:xfrm>
        </p:spPr>
        <p:txBody>
          <a:bodyPr/>
          <a:lstStyle>
            <a:lvl1pPr algn="l">
              <a:defRPr sz="12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4" name="Text Placeholder 12">
            <a:extLst>
              <a:ext uri="{FF2B5EF4-FFF2-40B4-BE49-F238E27FC236}">
                <a16:creationId xmlns:a16="http://schemas.microsoft.com/office/drawing/2014/main" id="{EB51A67B-FBDC-4AB8-B81A-6B6B96D04F4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752568" y="5507147"/>
            <a:ext cx="1371421" cy="423862"/>
          </a:xfrm>
        </p:spPr>
        <p:txBody>
          <a:bodyPr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6C03ACE7-B591-43FD-A636-47D01F482F04}"/>
              </a:ext>
            </a:extLst>
          </p:cNvPr>
          <p:cNvSpPr txBox="1"/>
          <p:nvPr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83CE7EA-9EA2-4DF1-B906-6A42393236D8}"/>
              </a:ext>
            </a:extLst>
          </p:cNvPr>
          <p:cNvSpPr txBox="1"/>
          <p:nvPr/>
        </p:nvSpPr>
        <p:spPr>
          <a:xfrm>
            <a:off x="2118108" y="6510279"/>
            <a:ext cx="1966005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 dirty="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490750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55025D71-18A5-4A22-8386-917E1B08C46A}"/>
              </a:ext>
            </a:extLst>
          </p:cNvPr>
          <p:cNvSpPr txBox="1"/>
          <p:nvPr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E1BCD8C-97DA-4F07-B9DD-4F3DE630D041}"/>
              </a:ext>
            </a:extLst>
          </p:cNvPr>
          <p:cNvSpPr txBox="1"/>
          <p:nvPr/>
        </p:nvSpPr>
        <p:spPr>
          <a:xfrm>
            <a:off x="2118108" y="6510279"/>
            <a:ext cx="1966005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 dirty="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259450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 / 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EA73C23-56DE-4A7B-B974-6593CE39F4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ltGray">
          <a:xfrm flipH="1" flipV="1">
            <a:off x="4130988" y="0"/>
            <a:ext cx="8061012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193" y="3728720"/>
            <a:ext cx="6429002" cy="1229360"/>
          </a:xfrm>
        </p:spPr>
        <p:txBody>
          <a:bodyPr wrap="square" anchor="b"/>
          <a:lstStyle>
            <a:lvl1pPr algn="l">
              <a:defRPr sz="5000" b="0" cap="none" baseline="0"/>
            </a:lvl1pPr>
          </a:lstStyle>
          <a:p>
            <a:r>
              <a:rPr lang="en-US" dirty="0"/>
              <a:t>Thank You</a:t>
            </a:r>
          </a:p>
        </p:txBody>
      </p: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78885EFB-2229-4796-8D57-8C571C2535ED}"/>
              </a:ext>
            </a:extLst>
          </p:cNvPr>
          <p:cNvGrpSpPr/>
          <p:nvPr/>
        </p:nvGrpSpPr>
        <p:grpSpPr bwMode="black">
          <a:xfrm>
            <a:off x="618040" y="6446045"/>
            <a:ext cx="1100079" cy="173355"/>
            <a:chOff x="-84138" y="5622925"/>
            <a:chExt cx="4330701" cy="682626"/>
          </a:xfrm>
        </p:grpSpPr>
        <p:sp>
          <p:nvSpPr>
            <p:cNvPr id="141" name="Freeform 6">
              <a:extLst>
                <a:ext uri="{FF2B5EF4-FFF2-40B4-BE49-F238E27FC236}">
                  <a16:creationId xmlns:a16="http://schemas.microsoft.com/office/drawing/2014/main" id="{CED77201-EF96-4E69-992A-CF56FF08D6C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142" name="Freeform 7">
              <a:extLst>
                <a:ext uri="{FF2B5EF4-FFF2-40B4-BE49-F238E27FC236}">
                  <a16:creationId xmlns:a16="http://schemas.microsoft.com/office/drawing/2014/main" id="{F0E8F838-CCAD-4AD0-BFCB-F9EBD64AA16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143" name="Freeform 8">
              <a:extLst>
                <a:ext uri="{FF2B5EF4-FFF2-40B4-BE49-F238E27FC236}">
                  <a16:creationId xmlns:a16="http://schemas.microsoft.com/office/drawing/2014/main" id="{DAD5F303-4B2B-4BA7-9E3E-CF2ECE2DE1D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144" name="Freeform 9">
              <a:extLst>
                <a:ext uri="{FF2B5EF4-FFF2-40B4-BE49-F238E27FC236}">
                  <a16:creationId xmlns:a16="http://schemas.microsoft.com/office/drawing/2014/main" id="{32B47895-6440-4252-83A9-6D02AEBE7B9B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145" name="Freeform 10">
              <a:extLst>
                <a:ext uri="{FF2B5EF4-FFF2-40B4-BE49-F238E27FC236}">
                  <a16:creationId xmlns:a16="http://schemas.microsoft.com/office/drawing/2014/main" id="{8C4B9FB6-DFBC-448B-B083-4BA70D71CE1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146" name="Freeform 11">
              <a:extLst>
                <a:ext uri="{FF2B5EF4-FFF2-40B4-BE49-F238E27FC236}">
                  <a16:creationId xmlns:a16="http://schemas.microsoft.com/office/drawing/2014/main" id="{29826BF7-37CF-42AD-A881-1A8C836A493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147" name="Freeform 12">
              <a:extLst>
                <a:ext uri="{FF2B5EF4-FFF2-40B4-BE49-F238E27FC236}">
                  <a16:creationId xmlns:a16="http://schemas.microsoft.com/office/drawing/2014/main" id="{6CD892BB-45E6-46AC-9E99-F58D53FB63D6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D61B41E9-D951-4347-864C-73789BD1F80F}"/>
              </a:ext>
            </a:extLst>
          </p:cNvPr>
          <p:cNvSpPr txBox="1"/>
          <p:nvPr/>
        </p:nvSpPr>
        <p:spPr>
          <a:xfrm>
            <a:off x="2118108" y="6510279"/>
            <a:ext cx="1966005" cy="150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/>
                </a:solidFill>
                <a:latin typeface="+mj-lt"/>
              </a:rPr>
              <a:t>Confidential   </a:t>
            </a:r>
            <a:r>
              <a:rPr lang="en-US" sz="8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 ©</a:t>
            </a:r>
            <a:r>
              <a:rPr lang="is-IS" sz="800" dirty="0">
                <a:solidFill>
                  <a:schemeClr val="tx1"/>
                </a:solidFill>
                <a:latin typeface="+mj-lt"/>
              </a:rPr>
              <a:t>2018</a:t>
            </a:r>
            <a:r>
              <a:rPr lang="en-US" sz="800" dirty="0">
                <a:solidFill>
                  <a:schemeClr val="tx1"/>
                </a:solidFill>
                <a:latin typeface="+mj-lt"/>
              </a:rPr>
              <a:t> VMware, Inc.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525523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ont Che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EA75217-7D87-4C71-8F80-833477FCB149}"/>
              </a:ext>
            </a:extLst>
          </p:cNvPr>
          <p:cNvSpPr/>
          <p:nvPr/>
        </p:nvSpPr>
        <p:spPr bwMode="hidden">
          <a:xfrm>
            <a:off x="1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49AC7DF-BFC1-4044-BB52-C9946AD8A327}"/>
              </a:ext>
            </a:extLst>
          </p:cNvPr>
          <p:cNvSpPr txBox="1">
            <a:spLocks/>
          </p:cNvSpPr>
          <p:nvPr/>
        </p:nvSpPr>
        <p:spPr>
          <a:xfrm>
            <a:off x="564716" y="366687"/>
            <a:ext cx="11003870" cy="7061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5000" dirty="0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3C12014-9EC5-4F8C-BD3D-B60E85EC9FFD}"/>
              </a:ext>
            </a:extLst>
          </p:cNvPr>
          <p:cNvSpPr txBox="1"/>
          <p:nvPr/>
        </p:nvSpPr>
        <p:spPr>
          <a:xfrm>
            <a:off x="621057" y="3906061"/>
            <a:ext cx="10965543" cy="23807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30000"/>
              </a:lnSpc>
            </a:pPr>
            <a:r>
              <a:rPr lang="en-US" sz="1800" dirty="0">
                <a:solidFill>
                  <a:schemeClr val="bg1"/>
                </a:solidFill>
              </a:rPr>
              <a:t>If yes, you are good to go!</a:t>
            </a:r>
          </a:p>
          <a:p>
            <a:pPr>
              <a:lnSpc>
                <a:spcPct val="130000"/>
              </a:lnSpc>
            </a:pPr>
            <a:r>
              <a:rPr lang="en-US" sz="1800" dirty="0">
                <a:solidFill>
                  <a:schemeClr val="bg1"/>
                </a:solidFill>
              </a:rPr>
              <a:t>If the answer is no, you do not have the Metropolis font installed.</a:t>
            </a:r>
          </a:p>
          <a:p>
            <a:pPr>
              <a:lnSpc>
                <a:spcPct val="130000"/>
              </a:lnSpc>
            </a:pPr>
            <a:endParaRPr lang="en-US" sz="180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dirty="0">
                <a:solidFill>
                  <a:schemeClr val="bg1"/>
                </a:solidFill>
              </a:rPr>
              <a:t>Click here to download the font: </a:t>
            </a:r>
            <a:r>
              <a:rPr lang="en-US" sz="1800" dirty="0">
                <a:solidFill>
                  <a:schemeClr val="tx2"/>
                </a:solidFill>
                <a:hlinkClick r:id="rId2"/>
              </a:rPr>
              <a:t>www.vmware.com/brand</a:t>
            </a:r>
            <a:r>
              <a:rPr lang="en-US" sz="1800" baseline="0" dirty="0">
                <a:solidFill>
                  <a:schemeClr val="bg1"/>
                </a:solidFill>
              </a:rPr>
              <a:t> </a:t>
            </a:r>
          </a:p>
          <a:p>
            <a:pPr marL="400050" marR="0" lvl="0" indent="-227013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sz="1800" strike="noStrike" baseline="0" dirty="0">
                <a:solidFill>
                  <a:schemeClr val="bg1"/>
                </a:solidFill>
              </a:rPr>
              <a:t>Log in with SSO and select the Brand Assets tab in the portal</a:t>
            </a:r>
          </a:p>
          <a:p>
            <a:pPr>
              <a:lnSpc>
                <a:spcPct val="130000"/>
              </a:lnSpc>
            </a:pPr>
            <a:r>
              <a:rPr lang="en-US" sz="1800" dirty="0">
                <a:solidFill>
                  <a:schemeClr val="bg1"/>
                </a:solidFill>
              </a:rPr>
              <a:t>Need more information on how to install fonts? </a:t>
            </a:r>
            <a:br>
              <a:rPr lang="en-US" sz="1800" dirty="0">
                <a:solidFill>
                  <a:schemeClr val="bg1"/>
                </a:solidFill>
              </a:rPr>
            </a:br>
            <a:r>
              <a:rPr lang="en-US" sz="1800" dirty="0">
                <a:solidFill>
                  <a:schemeClr val="bg1"/>
                </a:solidFill>
              </a:rPr>
              <a:t>Refer to the quick-start section in the template guideline or contact Oasis.</a:t>
            </a:r>
          </a:p>
          <a:p>
            <a:pPr>
              <a:lnSpc>
                <a:spcPct val="130000"/>
              </a:lnSpc>
            </a:pPr>
            <a:r>
              <a:rPr lang="en-US" sz="1800" dirty="0">
                <a:solidFill>
                  <a:schemeClr val="bg1"/>
                </a:solidFill>
              </a:rPr>
              <a:t> </a:t>
            </a:r>
            <a:endParaRPr lang="en-US" sz="3200" dirty="0">
              <a:solidFill>
                <a:schemeClr val="bg1"/>
              </a:solidFill>
            </a:endParaRPr>
          </a:p>
        </p:txBody>
      </p:sp>
      <p:grpSp>
        <p:nvGrpSpPr>
          <p:cNvPr id="25" name="Group 4">
            <a:extLst>
              <a:ext uri="{FF2B5EF4-FFF2-40B4-BE49-F238E27FC236}">
                <a16:creationId xmlns:a16="http://schemas.microsoft.com/office/drawing/2014/main" id="{B78C1ED4-5F96-47A3-9C43-F6672F5A0A43}"/>
              </a:ext>
            </a:extLst>
          </p:cNvPr>
          <p:cNvGrpSpPr>
            <a:grpSpLocks noChangeAspect="1"/>
          </p:cNvGrpSpPr>
          <p:nvPr/>
        </p:nvGrpSpPr>
        <p:grpSpPr bwMode="black">
          <a:xfrm>
            <a:off x="621057" y="2249109"/>
            <a:ext cx="5116624" cy="542314"/>
            <a:chOff x="901" y="1857"/>
            <a:chExt cx="5716" cy="606"/>
          </a:xfrm>
          <a:solidFill>
            <a:schemeClr val="bg1"/>
          </a:solidFill>
        </p:grpSpPr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6893F64C-5733-4A41-A4C0-08B9B0763432}"/>
                </a:ext>
              </a:extLst>
            </p:cNvPr>
            <p:cNvSpPr>
              <a:spLocks/>
            </p:cNvSpPr>
            <p:nvPr/>
          </p:nvSpPr>
          <p:spPr bwMode="black">
            <a:xfrm>
              <a:off x="901" y="1873"/>
              <a:ext cx="378" cy="472"/>
            </a:xfrm>
            <a:custGeom>
              <a:avLst/>
              <a:gdLst>
                <a:gd name="T0" fmla="*/ 162 w 378"/>
                <a:gd name="T1" fmla="*/ 51 h 472"/>
                <a:gd name="T2" fmla="*/ 0 w 378"/>
                <a:gd name="T3" fmla="*/ 51 h 472"/>
                <a:gd name="T4" fmla="*/ 0 w 378"/>
                <a:gd name="T5" fmla="*/ 0 h 472"/>
                <a:gd name="T6" fmla="*/ 378 w 378"/>
                <a:gd name="T7" fmla="*/ 0 h 472"/>
                <a:gd name="T8" fmla="*/ 378 w 378"/>
                <a:gd name="T9" fmla="*/ 51 h 472"/>
                <a:gd name="T10" fmla="*/ 217 w 378"/>
                <a:gd name="T11" fmla="*/ 51 h 472"/>
                <a:gd name="T12" fmla="*/ 217 w 378"/>
                <a:gd name="T13" fmla="*/ 472 h 472"/>
                <a:gd name="T14" fmla="*/ 162 w 378"/>
                <a:gd name="T15" fmla="*/ 472 h 472"/>
                <a:gd name="T16" fmla="*/ 162 w 378"/>
                <a:gd name="T17" fmla="*/ 51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8" h="472">
                  <a:moveTo>
                    <a:pt x="162" y="51"/>
                  </a:moveTo>
                  <a:lnTo>
                    <a:pt x="0" y="51"/>
                  </a:lnTo>
                  <a:lnTo>
                    <a:pt x="0" y="0"/>
                  </a:lnTo>
                  <a:lnTo>
                    <a:pt x="378" y="0"/>
                  </a:lnTo>
                  <a:lnTo>
                    <a:pt x="378" y="51"/>
                  </a:lnTo>
                  <a:lnTo>
                    <a:pt x="217" y="51"/>
                  </a:lnTo>
                  <a:lnTo>
                    <a:pt x="217" y="472"/>
                  </a:lnTo>
                  <a:lnTo>
                    <a:pt x="162" y="472"/>
                  </a:lnTo>
                  <a:lnTo>
                    <a:pt x="162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CD9B8C87-89AE-40B9-A968-988D8580FB80}"/>
                </a:ext>
              </a:extLst>
            </p:cNvPr>
            <p:cNvSpPr>
              <a:spLocks/>
            </p:cNvSpPr>
            <p:nvPr/>
          </p:nvSpPr>
          <p:spPr bwMode="black">
            <a:xfrm>
              <a:off x="1364" y="1865"/>
              <a:ext cx="307" cy="480"/>
            </a:xfrm>
            <a:custGeom>
              <a:avLst/>
              <a:gdLst>
                <a:gd name="T0" fmla="*/ 251 w 251"/>
                <a:gd name="T1" fmla="*/ 211 h 399"/>
                <a:gd name="T2" fmla="*/ 251 w 251"/>
                <a:gd name="T3" fmla="*/ 399 h 399"/>
                <a:gd name="T4" fmla="*/ 208 w 251"/>
                <a:gd name="T5" fmla="*/ 399 h 399"/>
                <a:gd name="T6" fmla="*/ 208 w 251"/>
                <a:gd name="T7" fmla="*/ 216 h 399"/>
                <a:gd name="T8" fmla="*/ 134 w 251"/>
                <a:gd name="T9" fmla="*/ 135 h 399"/>
                <a:gd name="T10" fmla="*/ 43 w 251"/>
                <a:gd name="T11" fmla="*/ 211 h 399"/>
                <a:gd name="T12" fmla="*/ 43 w 251"/>
                <a:gd name="T13" fmla="*/ 399 h 399"/>
                <a:gd name="T14" fmla="*/ 0 w 251"/>
                <a:gd name="T15" fmla="*/ 399 h 399"/>
                <a:gd name="T16" fmla="*/ 0 w 251"/>
                <a:gd name="T17" fmla="*/ 0 h 399"/>
                <a:gd name="T18" fmla="*/ 43 w 251"/>
                <a:gd name="T19" fmla="*/ 0 h 399"/>
                <a:gd name="T20" fmla="*/ 43 w 251"/>
                <a:gd name="T21" fmla="*/ 151 h 399"/>
                <a:gd name="T22" fmla="*/ 140 w 251"/>
                <a:gd name="T23" fmla="*/ 97 h 399"/>
                <a:gd name="T24" fmla="*/ 251 w 251"/>
                <a:gd name="T25" fmla="*/ 211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1" h="399">
                  <a:moveTo>
                    <a:pt x="251" y="211"/>
                  </a:moveTo>
                  <a:cubicBezTo>
                    <a:pt x="251" y="399"/>
                    <a:pt x="251" y="399"/>
                    <a:pt x="251" y="399"/>
                  </a:cubicBezTo>
                  <a:cubicBezTo>
                    <a:pt x="208" y="399"/>
                    <a:pt x="208" y="399"/>
                    <a:pt x="208" y="399"/>
                  </a:cubicBezTo>
                  <a:cubicBezTo>
                    <a:pt x="208" y="216"/>
                    <a:pt x="208" y="216"/>
                    <a:pt x="208" y="216"/>
                  </a:cubicBezTo>
                  <a:cubicBezTo>
                    <a:pt x="208" y="169"/>
                    <a:pt x="178" y="135"/>
                    <a:pt x="134" y="135"/>
                  </a:cubicBezTo>
                  <a:cubicBezTo>
                    <a:pt x="85" y="135"/>
                    <a:pt x="43" y="170"/>
                    <a:pt x="43" y="211"/>
                  </a:cubicBezTo>
                  <a:cubicBezTo>
                    <a:pt x="43" y="399"/>
                    <a:pt x="43" y="399"/>
                    <a:pt x="43" y="399"/>
                  </a:cubicBezTo>
                  <a:cubicBezTo>
                    <a:pt x="0" y="399"/>
                    <a:pt x="0" y="399"/>
                    <a:pt x="0" y="39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3" y="151"/>
                    <a:pt x="43" y="151"/>
                    <a:pt x="43" y="151"/>
                  </a:cubicBezTo>
                  <a:cubicBezTo>
                    <a:pt x="60" y="119"/>
                    <a:pt x="98" y="97"/>
                    <a:pt x="140" y="97"/>
                  </a:cubicBezTo>
                  <a:cubicBezTo>
                    <a:pt x="205" y="97"/>
                    <a:pt x="251" y="144"/>
                    <a:pt x="251" y="2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id="{002BD709-64FB-44DB-A81E-BCC570D9EA6B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767" y="1857"/>
              <a:ext cx="70" cy="488"/>
            </a:xfrm>
            <a:custGeom>
              <a:avLst/>
              <a:gdLst>
                <a:gd name="T0" fmla="*/ 0 w 57"/>
                <a:gd name="T1" fmla="*/ 28 h 406"/>
                <a:gd name="T2" fmla="*/ 29 w 57"/>
                <a:gd name="T3" fmla="*/ 0 h 406"/>
                <a:gd name="T4" fmla="*/ 57 w 57"/>
                <a:gd name="T5" fmla="*/ 28 h 406"/>
                <a:gd name="T6" fmla="*/ 29 w 57"/>
                <a:gd name="T7" fmla="*/ 57 h 406"/>
                <a:gd name="T8" fmla="*/ 0 w 57"/>
                <a:gd name="T9" fmla="*/ 28 h 406"/>
                <a:gd name="T10" fmla="*/ 7 w 57"/>
                <a:gd name="T11" fmla="*/ 110 h 406"/>
                <a:gd name="T12" fmla="*/ 50 w 57"/>
                <a:gd name="T13" fmla="*/ 110 h 406"/>
                <a:gd name="T14" fmla="*/ 50 w 57"/>
                <a:gd name="T15" fmla="*/ 406 h 406"/>
                <a:gd name="T16" fmla="*/ 7 w 57"/>
                <a:gd name="T17" fmla="*/ 406 h 406"/>
                <a:gd name="T18" fmla="*/ 7 w 57"/>
                <a:gd name="T19" fmla="*/ 110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406">
                  <a:moveTo>
                    <a:pt x="0" y="28"/>
                  </a:moveTo>
                  <a:cubicBezTo>
                    <a:pt x="0" y="13"/>
                    <a:pt x="13" y="0"/>
                    <a:pt x="29" y="0"/>
                  </a:cubicBezTo>
                  <a:cubicBezTo>
                    <a:pt x="44" y="0"/>
                    <a:pt x="57" y="13"/>
                    <a:pt x="57" y="28"/>
                  </a:cubicBezTo>
                  <a:cubicBezTo>
                    <a:pt x="57" y="44"/>
                    <a:pt x="44" y="57"/>
                    <a:pt x="29" y="57"/>
                  </a:cubicBezTo>
                  <a:cubicBezTo>
                    <a:pt x="13" y="57"/>
                    <a:pt x="0" y="44"/>
                    <a:pt x="0" y="28"/>
                  </a:cubicBezTo>
                  <a:close/>
                  <a:moveTo>
                    <a:pt x="7" y="110"/>
                  </a:moveTo>
                  <a:cubicBezTo>
                    <a:pt x="50" y="110"/>
                    <a:pt x="50" y="110"/>
                    <a:pt x="50" y="110"/>
                  </a:cubicBezTo>
                  <a:cubicBezTo>
                    <a:pt x="50" y="406"/>
                    <a:pt x="50" y="406"/>
                    <a:pt x="50" y="406"/>
                  </a:cubicBezTo>
                  <a:cubicBezTo>
                    <a:pt x="7" y="406"/>
                    <a:pt x="7" y="406"/>
                    <a:pt x="7" y="406"/>
                  </a:cubicBezTo>
                  <a:lnTo>
                    <a:pt x="7" y="1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926C9A2F-AD42-40CE-AD48-16ED2F5E2C23}"/>
                </a:ext>
              </a:extLst>
            </p:cNvPr>
            <p:cNvSpPr>
              <a:spLocks/>
            </p:cNvSpPr>
            <p:nvPr/>
          </p:nvSpPr>
          <p:spPr bwMode="black">
            <a:xfrm>
              <a:off x="1912" y="1982"/>
              <a:ext cx="281" cy="370"/>
            </a:xfrm>
            <a:custGeom>
              <a:avLst/>
              <a:gdLst>
                <a:gd name="T0" fmla="*/ 0 w 230"/>
                <a:gd name="T1" fmla="*/ 264 h 308"/>
                <a:gd name="T2" fmla="*/ 23 w 230"/>
                <a:gd name="T3" fmla="*/ 233 h 308"/>
                <a:gd name="T4" fmla="*/ 122 w 230"/>
                <a:gd name="T5" fmla="*/ 270 h 308"/>
                <a:gd name="T6" fmla="*/ 188 w 230"/>
                <a:gd name="T7" fmla="*/ 224 h 308"/>
                <a:gd name="T8" fmla="*/ 113 w 230"/>
                <a:gd name="T9" fmla="*/ 170 h 308"/>
                <a:gd name="T10" fmla="*/ 15 w 230"/>
                <a:gd name="T11" fmla="*/ 86 h 308"/>
                <a:gd name="T12" fmla="*/ 118 w 230"/>
                <a:gd name="T13" fmla="*/ 0 h 308"/>
                <a:gd name="T14" fmla="*/ 223 w 230"/>
                <a:gd name="T15" fmla="*/ 33 h 308"/>
                <a:gd name="T16" fmla="*/ 203 w 230"/>
                <a:gd name="T17" fmla="*/ 66 h 308"/>
                <a:gd name="T18" fmla="*/ 118 w 230"/>
                <a:gd name="T19" fmla="*/ 38 h 308"/>
                <a:gd name="T20" fmla="*/ 57 w 230"/>
                <a:gd name="T21" fmla="*/ 81 h 308"/>
                <a:gd name="T22" fmla="*/ 134 w 230"/>
                <a:gd name="T23" fmla="*/ 133 h 308"/>
                <a:gd name="T24" fmla="*/ 230 w 230"/>
                <a:gd name="T25" fmla="*/ 219 h 308"/>
                <a:gd name="T26" fmla="*/ 122 w 230"/>
                <a:gd name="T27" fmla="*/ 308 h 308"/>
                <a:gd name="T28" fmla="*/ 0 w 230"/>
                <a:gd name="T29" fmla="*/ 264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0" h="308">
                  <a:moveTo>
                    <a:pt x="0" y="264"/>
                  </a:moveTo>
                  <a:cubicBezTo>
                    <a:pt x="23" y="233"/>
                    <a:pt x="23" y="233"/>
                    <a:pt x="23" y="233"/>
                  </a:cubicBezTo>
                  <a:cubicBezTo>
                    <a:pt x="56" y="258"/>
                    <a:pt x="90" y="270"/>
                    <a:pt x="122" y="270"/>
                  </a:cubicBezTo>
                  <a:cubicBezTo>
                    <a:pt x="161" y="270"/>
                    <a:pt x="188" y="252"/>
                    <a:pt x="188" y="224"/>
                  </a:cubicBezTo>
                  <a:cubicBezTo>
                    <a:pt x="188" y="192"/>
                    <a:pt x="153" y="182"/>
                    <a:pt x="113" y="170"/>
                  </a:cubicBezTo>
                  <a:cubicBezTo>
                    <a:pt x="42" y="150"/>
                    <a:pt x="15" y="129"/>
                    <a:pt x="15" y="86"/>
                  </a:cubicBezTo>
                  <a:cubicBezTo>
                    <a:pt x="15" y="33"/>
                    <a:pt x="59" y="0"/>
                    <a:pt x="118" y="0"/>
                  </a:cubicBezTo>
                  <a:cubicBezTo>
                    <a:pt x="154" y="0"/>
                    <a:pt x="192" y="12"/>
                    <a:pt x="223" y="33"/>
                  </a:cubicBezTo>
                  <a:cubicBezTo>
                    <a:pt x="203" y="66"/>
                    <a:pt x="203" y="66"/>
                    <a:pt x="203" y="66"/>
                  </a:cubicBezTo>
                  <a:cubicBezTo>
                    <a:pt x="173" y="47"/>
                    <a:pt x="144" y="38"/>
                    <a:pt x="118" y="38"/>
                  </a:cubicBezTo>
                  <a:cubicBezTo>
                    <a:pt x="85" y="38"/>
                    <a:pt x="57" y="53"/>
                    <a:pt x="57" y="81"/>
                  </a:cubicBezTo>
                  <a:cubicBezTo>
                    <a:pt x="57" y="107"/>
                    <a:pt x="79" y="115"/>
                    <a:pt x="134" y="133"/>
                  </a:cubicBezTo>
                  <a:cubicBezTo>
                    <a:pt x="181" y="147"/>
                    <a:pt x="230" y="163"/>
                    <a:pt x="230" y="219"/>
                  </a:cubicBezTo>
                  <a:cubicBezTo>
                    <a:pt x="230" y="274"/>
                    <a:pt x="184" y="308"/>
                    <a:pt x="122" y="308"/>
                  </a:cubicBezTo>
                  <a:cubicBezTo>
                    <a:pt x="81" y="308"/>
                    <a:pt x="36" y="293"/>
                    <a:pt x="0" y="2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AF6E45DA-A3A4-4FA3-9A95-1F83D1FA42C5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2473" y="1857"/>
              <a:ext cx="70" cy="488"/>
            </a:xfrm>
            <a:custGeom>
              <a:avLst/>
              <a:gdLst>
                <a:gd name="T0" fmla="*/ 0 w 57"/>
                <a:gd name="T1" fmla="*/ 28 h 406"/>
                <a:gd name="T2" fmla="*/ 29 w 57"/>
                <a:gd name="T3" fmla="*/ 0 h 406"/>
                <a:gd name="T4" fmla="*/ 57 w 57"/>
                <a:gd name="T5" fmla="*/ 28 h 406"/>
                <a:gd name="T6" fmla="*/ 29 w 57"/>
                <a:gd name="T7" fmla="*/ 57 h 406"/>
                <a:gd name="T8" fmla="*/ 0 w 57"/>
                <a:gd name="T9" fmla="*/ 28 h 406"/>
                <a:gd name="T10" fmla="*/ 7 w 57"/>
                <a:gd name="T11" fmla="*/ 110 h 406"/>
                <a:gd name="T12" fmla="*/ 50 w 57"/>
                <a:gd name="T13" fmla="*/ 110 h 406"/>
                <a:gd name="T14" fmla="*/ 50 w 57"/>
                <a:gd name="T15" fmla="*/ 406 h 406"/>
                <a:gd name="T16" fmla="*/ 7 w 57"/>
                <a:gd name="T17" fmla="*/ 406 h 406"/>
                <a:gd name="T18" fmla="*/ 7 w 57"/>
                <a:gd name="T19" fmla="*/ 110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406">
                  <a:moveTo>
                    <a:pt x="0" y="28"/>
                  </a:moveTo>
                  <a:cubicBezTo>
                    <a:pt x="0" y="13"/>
                    <a:pt x="13" y="0"/>
                    <a:pt x="29" y="0"/>
                  </a:cubicBezTo>
                  <a:cubicBezTo>
                    <a:pt x="44" y="0"/>
                    <a:pt x="57" y="13"/>
                    <a:pt x="57" y="28"/>
                  </a:cubicBezTo>
                  <a:cubicBezTo>
                    <a:pt x="57" y="44"/>
                    <a:pt x="44" y="57"/>
                    <a:pt x="29" y="57"/>
                  </a:cubicBezTo>
                  <a:cubicBezTo>
                    <a:pt x="13" y="57"/>
                    <a:pt x="0" y="44"/>
                    <a:pt x="0" y="28"/>
                  </a:cubicBezTo>
                  <a:close/>
                  <a:moveTo>
                    <a:pt x="7" y="110"/>
                  </a:moveTo>
                  <a:cubicBezTo>
                    <a:pt x="50" y="110"/>
                    <a:pt x="50" y="110"/>
                    <a:pt x="50" y="110"/>
                  </a:cubicBezTo>
                  <a:cubicBezTo>
                    <a:pt x="50" y="406"/>
                    <a:pt x="50" y="406"/>
                    <a:pt x="50" y="406"/>
                  </a:cubicBezTo>
                  <a:cubicBezTo>
                    <a:pt x="7" y="406"/>
                    <a:pt x="7" y="406"/>
                    <a:pt x="7" y="406"/>
                  </a:cubicBezTo>
                  <a:lnTo>
                    <a:pt x="7" y="1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31" name="Freeform 10">
              <a:extLst>
                <a:ext uri="{FF2B5EF4-FFF2-40B4-BE49-F238E27FC236}">
                  <a16:creationId xmlns:a16="http://schemas.microsoft.com/office/drawing/2014/main" id="{0E9BB012-66AD-4575-AACA-AA4D8882A4B6}"/>
                </a:ext>
              </a:extLst>
            </p:cNvPr>
            <p:cNvSpPr>
              <a:spLocks/>
            </p:cNvSpPr>
            <p:nvPr/>
          </p:nvSpPr>
          <p:spPr bwMode="black">
            <a:xfrm>
              <a:off x="2617" y="1982"/>
              <a:ext cx="282" cy="370"/>
            </a:xfrm>
            <a:custGeom>
              <a:avLst/>
              <a:gdLst>
                <a:gd name="T0" fmla="*/ 0 w 230"/>
                <a:gd name="T1" fmla="*/ 264 h 308"/>
                <a:gd name="T2" fmla="*/ 23 w 230"/>
                <a:gd name="T3" fmla="*/ 233 h 308"/>
                <a:gd name="T4" fmla="*/ 122 w 230"/>
                <a:gd name="T5" fmla="*/ 270 h 308"/>
                <a:gd name="T6" fmla="*/ 188 w 230"/>
                <a:gd name="T7" fmla="*/ 224 h 308"/>
                <a:gd name="T8" fmla="*/ 113 w 230"/>
                <a:gd name="T9" fmla="*/ 170 h 308"/>
                <a:gd name="T10" fmla="*/ 15 w 230"/>
                <a:gd name="T11" fmla="*/ 86 h 308"/>
                <a:gd name="T12" fmla="*/ 118 w 230"/>
                <a:gd name="T13" fmla="*/ 0 h 308"/>
                <a:gd name="T14" fmla="*/ 224 w 230"/>
                <a:gd name="T15" fmla="*/ 33 h 308"/>
                <a:gd name="T16" fmla="*/ 203 w 230"/>
                <a:gd name="T17" fmla="*/ 66 h 308"/>
                <a:gd name="T18" fmla="*/ 118 w 230"/>
                <a:gd name="T19" fmla="*/ 38 h 308"/>
                <a:gd name="T20" fmla="*/ 57 w 230"/>
                <a:gd name="T21" fmla="*/ 81 h 308"/>
                <a:gd name="T22" fmla="*/ 134 w 230"/>
                <a:gd name="T23" fmla="*/ 133 h 308"/>
                <a:gd name="T24" fmla="*/ 230 w 230"/>
                <a:gd name="T25" fmla="*/ 219 h 308"/>
                <a:gd name="T26" fmla="*/ 122 w 230"/>
                <a:gd name="T27" fmla="*/ 308 h 308"/>
                <a:gd name="T28" fmla="*/ 0 w 230"/>
                <a:gd name="T29" fmla="*/ 264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0" h="308">
                  <a:moveTo>
                    <a:pt x="0" y="264"/>
                  </a:moveTo>
                  <a:cubicBezTo>
                    <a:pt x="23" y="233"/>
                    <a:pt x="23" y="233"/>
                    <a:pt x="23" y="233"/>
                  </a:cubicBezTo>
                  <a:cubicBezTo>
                    <a:pt x="56" y="258"/>
                    <a:pt x="90" y="270"/>
                    <a:pt x="122" y="270"/>
                  </a:cubicBezTo>
                  <a:cubicBezTo>
                    <a:pt x="161" y="270"/>
                    <a:pt x="188" y="252"/>
                    <a:pt x="188" y="224"/>
                  </a:cubicBezTo>
                  <a:cubicBezTo>
                    <a:pt x="188" y="192"/>
                    <a:pt x="153" y="182"/>
                    <a:pt x="113" y="170"/>
                  </a:cubicBezTo>
                  <a:cubicBezTo>
                    <a:pt x="42" y="150"/>
                    <a:pt x="15" y="129"/>
                    <a:pt x="15" y="86"/>
                  </a:cubicBezTo>
                  <a:cubicBezTo>
                    <a:pt x="15" y="33"/>
                    <a:pt x="59" y="0"/>
                    <a:pt x="118" y="0"/>
                  </a:cubicBezTo>
                  <a:cubicBezTo>
                    <a:pt x="154" y="0"/>
                    <a:pt x="192" y="12"/>
                    <a:pt x="224" y="33"/>
                  </a:cubicBezTo>
                  <a:cubicBezTo>
                    <a:pt x="203" y="66"/>
                    <a:pt x="203" y="66"/>
                    <a:pt x="203" y="66"/>
                  </a:cubicBezTo>
                  <a:cubicBezTo>
                    <a:pt x="173" y="47"/>
                    <a:pt x="144" y="38"/>
                    <a:pt x="118" y="38"/>
                  </a:cubicBezTo>
                  <a:cubicBezTo>
                    <a:pt x="85" y="38"/>
                    <a:pt x="57" y="53"/>
                    <a:pt x="57" y="81"/>
                  </a:cubicBezTo>
                  <a:cubicBezTo>
                    <a:pt x="57" y="107"/>
                    <a:pt x="79" y="115"/>
                    <a:pt x="134" y="133"/>
                  </a:cubicBezTo>
                  <a:cubicBezTo>
                    <a:pt x="181" y="147"/>
                    <a:pt x="230" y="163"/>
                    <a:pt x="230" y="219"/>
                  </a:cubicBezTo>
                  <a:cubicBezTo>
                    <a:pt x="230" y="274"/>
                    <a:pt x="184" y="308"/>
                    <a:pt x="122" y="308"/>
                  </a:cubicBezTo>
                  <a:cubicBezTo>
                    <a:pt x="81" y="308"/>
                    <a:pt x="36" y="293"/>
                    <a:pt x="0" y="2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16C674FD-9428-487D-86F2-E34B74F88508}"/>
                </a:ext>
              </a:extLst>
            </p:cNvPr>
            <p:cNvSpPr>
              <a:spLocks/>
            </p:cNvSpPr>
            <p:nvPr/>
          </p:nvSpPr>
          <p:spPr bwMode="black">
            <a:xfrm>
              <a:off x="3201" y="1873"/>
              <a:ext cx="464" cy="472"/>
            </a:xfrm>
            <a:custGeom>
              <a:avLst/>
              <a:gdLst>
                <a:gd name="T0" fmla="*/ 0 w 464"/>
                <a:gd name="T1" fmla="*/ 0 h 472"/>
                <a:gd name="T2" fmla="*/ 53 w 464"/>
                <a:gd name="T3" fmla="*/ 0 h 472"/>
                <a:gd name="T4" fmla="*/ 232 w 464"/>
                <a:gd name="T5" fmla="*/ 329 h 472"/>
                <a:gd name="T6" fmla="*/ 411 w 464"/>
                <a:gd name="T7" fmla="*/ 0 h 472"/>
                <a:gd name="T8" fmla="*/ 464 w 464"/>
                <a:gd name="T9" fmla="*/ 0 h 472"/>
                <a:gd name="T10" fmla="*/ 464 w 464"/>
                <a:gd name="T11" fmla="*/ 472 h 472"/>
                <a:gd name="T12" fmla="*/ 411 w 464"/>
                <a:gd name="T13" fmla="*/ 472 h 472"/>
                <a:gd name="T14" fmla="*/ 411 w 464"/>
                <a:gd name="T15" fmla="*/ 115 h 472"/>
                <a:gd name="T16" fmla="*/ 232 w 464"/>
                <a:gd name="T17" fmla="*/ 445 h 472"/>
                <a:gd name="T18" fmla="*/ 53 w 464"/>
                <a:gd name="T19" fmla="*/ 115 h 472"/>
                <a:gd name="T20" fmla="*/ 53 w 464"/>
                <a:gd name="T21" fmla="*/ 472 h 472"/>
                <a:gd name="T22" fmla="*/ 0 w 464"/>
                <a:gd name="T23" fmla="*/ 472 h 472"/>
                <a:gd name="T24" fmla="*/ 0 w 464"/>
                <a:gd name="T25" fmla="*/ 0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4" h="472">
                  <a:moveTo>
                    <a:pt x="0" y="0"/>
                  </a:moveTo>
                  <a:lnTo>
                    <a:pt x="53" y="0"/>
                  </a:lnTo>
                  <a:lnTo>
                    <a:pt x="232" y="329"/>
                  </a:lnTo>
                  <a:lnTo>
                    <a:pt x="411" y="0"/>
                  </a:lnTo>
                  <a:lnTo>
                    <a:pt x="464" y="0"/>
                  </a:lnTo>
                  <a:lnTo>
                    <a:pt x="464" y="472"/>
                  </a:lnTo>
                  <a:lnTo>
                    <a:pt x="411" y="472"/>
                  </a:lnTo>
                  <a:lnTo>
                    <a:pt x="411" y="115"/>
                  </a:lnTo>
                  <a:lnTo>
                    <a:pt x="232" y="445"/>
                  </a:lnTo>
                  <a:lnTo>
                    <a:pt x="53" y="115"/>
                  </a:lnTo>
                  <a:lnTo>
                    <a:pt x="53" y="472"/>
                  </a:lnTo>
                  <a:lnTo>
                    <a:pt x="0" y="47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33" name="Freeform 12">
              <a:extLst>
                <a:ext uri="{FF2B5EF4-FFF2-40B4-BE49-F238E27FC236}">
                  <a16:creationId xmlns:a16="http://schemas.microsoft.com/office/drawing/2014/main" id="{5A7840E1-3DFB-4EFA-830E-6F280C833C9D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3764" y="1982"/>
              <a:ext cx="349" cy="370"/>
            </a:xfrm>
            <a:custGeom>
              <a:avLst/>
              <a:gdLst>
                <a:gd name="T0" fmla="*/ 242 w 285"/>
                <a:gd name="T1" fmla="*/ 235 h 308"/>
                <a:gd name="T2" fmla="*/ 268 w 285"/>
                <a:gd name="T3" fmla="*/ 263 h 308"/>
                <a:gd name="T4" fmla="*/ 150 w 285"/>
                <a:gd name="T5" fmla="*/ 308 h 308"/>
                <a:gd name="T6" fmla="*/ 0 w 285"/>
                <a:gd name="T7" fmla="*/ 153 h 308"/>
                <a:gd name="T8" fmla="*/ 146 w 285"/>
                <a:gd name="T9" fmla="*/ 0 h 308"/>
                <a:gd name="T10" fmla="*/ 285 w 285"/>
                <a:gd name="T11" fmla="*/ 170 h 308"/>
                <a:gd name="T12" fmla="*/ 44 w 285"/>
                <a:gd name="T13" fmla="*/ 170 h 308"/>
                <a:gd name="T14" fmla="*/ 149 w 285"/>
                <a:gd name="T15" fmla="*/ 270 h 308"/>
                <a:gd name="T16" fmla="*/ 242 w 285"/>
                <a:gd name="T17" fmla="*/ 235 h 308"/>
                <a:gd name="T18" fmla="*/ 45 w 285"/>
                <a:gd name="T19" fmla="*/ 132 h 308"/>
                <a:gd name="T20" fmla="*/ 243 w 285"/>
                <a:gd name="T21" fmla="*/ 132 h 308"/>
                <a:gd name="T22" fmla="*/ 147 w 285"/>
                <a:gd name="T23" fmla="*/ 38 h 308"/>
                <a:gd name="T24" fmla="*/ 45 w 285"/>
                <a:gd name="T25" fmla="*/ 132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308">
                  <a:moveTo>
                    <a:pt x="242" y="235"/>
                  </a:moveTo>
                  <a:cubicBezTo>
                    <a:pt x="268" y="263"/>
                    <a:pt x="268" y="263"/>
                    <a:pt x="268" y="263"/>
                  </a:cubicBezTo>
                  <a:cubicBezTo>
                    <a:pt x="243" y="291"/>
                    <a:pt x="191" y="308"/>
                    <a:pt x="150" y="308"/>
                  </a:cubicBezTo>
                  <a:cubicBezTo>
                    <a:pt x="71" y="308"/>
                    <a:pt x="0" y="244"/>
                    <a:pt x="0" y="153"/>
                  </a:cubicBezTo>
                  <a:cubicBezTo>
                    <a:pt x="0" y="65"/>
                    <a:pt x="66" y="0"/>
                    <a:pt x="146" y="0"/>
                  </a:cubicBezTo>
                  <a:cubicBezTo>
                    <a:pt x="235" y="0"/>
                    <a:pt x="285" y="67"/>
                    <a:pt x="285" y="170"/>
                  </a:cubicBezTo>
                  <a:cubicBezTo>
                    <a:pt x="44" y="170"/>
                    <a:pt x="44" y="170"/>
                    <a:pt x="44" y="170"/>
                  </a:cubicBezTo>
                  <a:cubicBezTo>
                    <a:pt x="50" y="228"/>
                    <a:pt x="91" y="270"/>
                    <a:pt x="149" y="270"/>
                  </a:cubicBezTo>
                  <a:cubicBezTo>
                    <a:pt x="184" y="270"/>
                    <a:pt x="224" y="255"/>
                    <a:pt x="242" y="235"/>
                  </a:cubicBezTo>
                  <a:close/>
                  <a:moveTo>
                    <a:pt x="45" y="132"/>
                  </a:moveTo>
                  <a:cubicBezTo>
                    <a:pt x="243" y="132"/>
                    <a:pt x="243" y="132"/>
                    <a:pt x="243" y="132"/>
                  </a:cubicBezTo>
                  <a:cubicBezTo>
                    <a:pt x="238" y="79"/>
                    <a:pt x="206" y="38"/>
                    <a:pt x="147" y="38"/>
                  </a:cubicBezTo>
                  <a:cubicBezTo>
                    <a:pt x="95" y="38"/>
                    <a:pt x="53" y="75"/>
                    <a:pt x="45" y="1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34" name="Freeform 13">
              <a:extLst>
                <a:ext uri="{FF2B5EF4-FFF2-40B4-BE49-F238E27FC236}">
                  <a16:creationId xmlns:a16="http://schemas.microsoft.com/office/drawing/2014/main" id="{FE8FA87F-3177-4DEA-9E9C-DDA472353330}"/>
                </a:ext>
              </a:extLst>
            </p:cNvPr>
            <p:cNvSpPr>
              <a:spLocks/>
            </p:cNvSpPr>
            <p:nvPr/>
          </p:nvSpPr>
          <p:spPr bwMode="black">
            <a:xfrm>
              <a:off x="4172" y="1892"/>
              <a:ext cx="211" cy="460"/>
            </a:xfrm>
            <a:custGeom>
              <a:avLst/>
              <a:gdLst>
                <a:gd name="T0" fmla="*/ 173 w 173"/>
                <a:gd name="T1" fmla="*/ 365 h 383"/>
                <a:gd name="T2" fmla="*/ 119 w 173"/>
                <a:gd name="T3" fmla="*/ 383 h 383"/>
                <a:gd name="T4" fmla="*/ 47 w 173"/>
                <a:gd name="T5" fmla="*/ 308 h 383"/>
                <a:gd name="T6" fmla="*/ 47 w 173"/>
                <a:gd name="T7" fmla="*/ 120 h 383"/>
                <a:gd name="T8" fmla="*/ 0 w 173"/>
                <a:gd name="T9" fmla="*/ 120 h 383"/>
                <a:gd name="T10" fmla="*/ 0 w 173"/>
                <a:gd name="T11" fmla="*/ 81 h 383"/>
                <a:gd name="T12" fmla="*/ 47 w 173"/>
                <a:gd name="T13" fmla="*/ 81 h 383"/>
                <a:gd name="T14" fmla="*/ 47 w 173"/>
                <a:gd name="T15" fmla="*/ 0 h 383"/>
                <a:gd name="T16" fmla="*/ 89 w 173"/>
                <a:gd name="T17" fmla="*/ 0 h 383"/>
                <a:gd name="T18" fmla="*/ 89 w 173"/>
                <a:gd name="T19" fmla="*/ 81 h 383"/>
                <a:gd name="T20" fmla="*/ 162 w 173"/>
                <a:gd name="T21" fmla="*/ 81 h 383"/>
                <a:gd name="T22" fmla="*/ 162 w 173"/>
                <a:gd name="T23" fmla="*/ 120 h 383"/>
                <a:gd name="T24" fmla="*/ 89 w 173"/>
                <a:gd name="T25" fmla="*/ 120 h 383"/>
                <a:gd name="T26" fmla="*/ 89 w 173"/>
                <a:gd name="T27" fmla="*/ 308 h 383"/>
                <a:gd name="T28" fmla="*/ 121 w 173"/>
                <a:gd name="T29" fmla="*/ 345 h 383"/>
                <a:gd name="T30" fmla="*/ 152 w 173"/>
                <a:gd name="T31" fmla="*/ 333 h 383"/>
                <a:gd name="T32" fmla="*/ 173 w 173"/>
                <a:gd name="T33" fmla="*/ 365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3" h="383">
                  <a:moveTo>
                    <a:pt x="173" y="365"/>
                  </a:moveTo>
                  <a:cubicBezTo>
                    <a:pt x="158" y="377"/>
                    <a:pt x="139" y="383"/>
                    <a:pt x="119" y="383"/>
                  </a:cubicBezTo>
                  <a:cubicBezTo>
                    <a:pt x="76" y="383"/>
                    <a:pt x="47" y="352"/>
                    <a:pt x="47" y="308"/>
                  </a:cubicBezTo>
                  <a:cubicBezTo>
                    <a:pt x="47" y="120"/>
                    <a:pt x="47" y="120"/>
                    <a:pt x="47" y="120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47" y="81"/>
                    <a:pt x="47" y="81"/>
                    <a:pt x="47" y="81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9" y="81"/>
                    <a:pt x="89" y="81"/>
                    <a:pt x="89" y="81"/>
                  </a:cubicBezTo>
                  <a:cubicBezTo>
                    <a:pt x="162" y="81"/>
                    <a:pt x="162" y="81"/>
                    <a:pt x="162" y="81"/>
                  </a:cubicBezTo>
                  <a:cubicBezTo>
                    <a:pt x="162" y="120"/>
                    <a:pt x="162" y="120"/>
                    <a:pt x="162" y="120"/>
                  </a:cubicBezTo>
                  <a:cubicBezTo>
                    <a:pt x="89" y="120"/>
                    <a:pt x="89" y="120"/>
                    <a:pt x="89" y="120"/>
                  </a:cubicBezTo>
                  <a:cubicBezTo>
                    <a:pt x="89" y="308"/>
                    <a:pt x="89" y="308"/>
                    <a:pt x="89" y="308"/>
                  </a:cubicBezTo>
                  <a:cubicBezTo>
                    <a:pt x="89" y="330"/>
                    <a:pt x="104" y="345"/>
                    <a:pt x="121" y="345"/>
                  </a:cubicBezTo>
                  <a:cubicBezTo>
                    <a:pt x="135" y="345"/>
                    <a:pt x="146" y="340"/>
                    <a:pt x="152" y="333"/>
                  </a:cubicBezTo>
                  <a:lnTo>
                    <a:pt x="173" y="3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35" name="Freeform 14">
              <a:extLst>
                <a:ext uri="{FF2B5EF4-FFF2-40B4-BE49-F238E27FC236}">
                  <a16:creationId xmlns:a16="http://schemas.microsoft.com/office/drawing/2014/main" id="{C9209808-6696-40D2-BB08-D21DE71C53D8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63" y="1982"/>
              <a:ext cx="192" cy="363"/>
            </a:xfrm>
            <a:custGeom>
              <a:avLst/>
              <a:gdLst>
                <a:gd name="T0" fmla="*/ 157 w 157"/>
                <a:gd name="T1" fmla="*/ 0 h 302"/>
                <a:gd name="T2" fmla="*/ 157 w 157"/>
                <a:gd name="T3" fmla="*/ 38 h 302"/>
                <a:gd name="T4" fmla="*/ 43 w 157"/>
                <a:gd name="T5" fmla="*/ 137 h 302"/>
                <a:gd name="T6" fmla="*/ 43 w 157"/>
                <a:gd name="T7" fmla="*/ 302 h 302"/>
                <a:gd name="T8" fmla="*/ 0 w 157"/>
                <a:gd name="T9" fmla="*/ 302 h 302"/>
                <a:gd name="T10" fmla="*/ 0 w 157"/>
                <a:gd name="T11" fmla="*/ 6 h 302"/>
                <a:gd name="T12" fmla="*/ 43 w 157"/>
                <a:gd name="T13" fmla="*/ 6 h 302"/>
                <a:gd name="T14" fmla="*/ 43 w 157"/>
                <a:gd name="T15" fmla="*/ 64 h 302"/>
                <a:gd name="T16" fmla="*/ 157 w 157"/>
                <a:gd name="T17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302">
                  <a:moveTo>
                    <a:pt x="157" y="0"/>
                  </a:moveTo>
                  <a:cubicBezTo>
                    <a:pt x="157" y="38"/>
                    <a:pt x="157" y="38"/>
                    <a:pt x="157" y="38"/>
                  </a:cubicBezTo>
                  <a:cubicBezTo>
                    <a:pt x="90" y="38"/>
                    <a:pt x="43" y="79"/>
                    <a:pt x="43" y="137"/>
                  </a:cubicBezTo>
                  <a:cubicBezTo>
                    <a:pt x="43" y="302"/>
                    <a:pt x="43" y="302"/>
                    <a:pt x="43" y="302"/>
                  </a:cubicBezTo>
                  <a:cubicBezTo>
                    <a:pt x="0" y="302"/>
                    <a:pt x="0" y="302"/>
                    <a:pt x="0" y="30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3" y="64"/>
                    <a:pt x="43" y="64"/>
                    <a:pt x="43" y="64"/>
                  </a:cubicBezTo>
                  <a:cubicBezTo>
                    <a:pt x="60" y="25"/>
                    <a:pt x="103" y="0"/>
                    <a:pt x="15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36" name="Freeform 15">
              <a:extLst>
                <a:ext uri="{FF2B5EF4-FFF2-40B4-BE49-F238E27FC236}">
                  <a16:creationId xmlns:a16="http://schemas.microsoft.com/office/drawing/2014/main" id="{1D3B2A8C-316B-4B50-9091-1B4AC66484A5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4695" y="1982"/>
              <a:ext cx="374" cy="370"/>
            </a:xfrm>
            <a:custGeom>
              <a:avLst/>
              <a:gdLst>
                <a:gd name="T0" fmla="*/ 0 w 306"/>
                <a:gd name="T1" fmla="*/ 154 h 308"/>
                <a:gd name="T2" fmla="*/ 153 w 306"/>
                <a:gd name="T3" fmla="*/ 0 h 308"/>
                <a:gd name="T4" fmla="*/ 306 w 306"/>
                <a:gd name="T5" fmla="*/ 154 h 308"/>
                <a:gd name="T6" fmla="*/ 153 w 306"/>
                <a:gd name="T7" fmla="*/ 308 h 308"/>
                <a:gd name="T8" fmla="*/ 0 w 306"/>
                <a:gd name="T9" fmla="*/ 154 h 308"/>
                <a:gd name="T10" fmla="*/ 261 w 306"/>
                <a:gd name="T11" fmla="*/ 154 h 308"/>
                <a:gd name="T12" fmla="*/ 153 w 306"/>
                <a:gd name="T13" fmla="*/ 38 h 308"/>
                <a:gd name="T14" fmla="*/ 46 w 306"/>
                <a:gd name="T15" fmla="*/ 154 h 308"/>
                <a:gd name="T16" fmla="*/ 153 w 306"/>
                <a:gd name="T17" fmla="*/ 270 h 308"/>
                <a:gd name="T18" fmla="*/ 261 w 306"/>
                <a:gd name="T19" fmla="*/ 154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6" h="308">
                  <a:moveTo>
                    <a:pt x="0" y="154"/>
                  </a:moveTo>
                  <a:cubicBezTo>
                    <a:pt x="0" y="70"/>
                    <a:pt x="71" y="0"/>
                    <a:pt x="153" y="0"/>
                  </a:cubicBezTo>
                  <a:cubicBezTo>
                    <a:pt x="236" y="0"/>
                    <a:pt x="306" y="70"/>
                    <a:pt x="306" y="154"/>
                  </a:cubicBezTo>
                  <a:cubicBezTo>
                    <a:pt x="306" y="238"/>
                    <a:pt x="236" y="308"/>
                    <a:pt x="153" y="308"/>
                  </a:cubicBezTo>
                  <a:cubicBezTo>
                    <a:pt x="71" y="308"/>
                    <a:pt x="0" y="238"/>
                    <a:pt x="0" y="154"/>
                  </a:cubicBezTo>
                  <a:close/>
                  <a:moveTo>
                    <a:pt x="261" y="154"/>
                  </a:moveTo>
                  <a:cubicBezTo>
                    <a:pt x="261" y="91"/>
                    <a:pt x="212" y="38"/>
                    <a:pt x="153" y="38"/>
                  </a:cubicBezTo>
                  <a:cubicBezTo>
                    <a:pt x="95" y="38"/>
                    <a:pt x="46" y="91"/>
                    <a:pt x="46" y="154"/>
                  </a:cubicBezTo>
                  <a:cubicBezTo>
                    <a:pt x="46" y="217"/>
                    <a:pt x="95" y="270"/>
                    <a:pt x="153" y="270"/>
                  </a:cubicBezTo>
                  <a:cubicBezTo>
                    <a:pt x="212" y="270"/>
                    <a:pt x="261" y="217"/>
                    <a:pt x="261" y="1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37" name="Freeform 16">
              <a:extLst>
                <a:ext uri="{FF2B5EF4-FFF2-40B4-BE49-F238E27FC236}">
                  <a16:creationId xmlns:a16="http://schemas.microsoft.com/office/drawing/2014/main" id="{15C78FBB-9428-49FA-A406-331F81A8781F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5161" y="1982"/>
              <a:ext cx="350" cy="481"/>
            </a:xfrm>
            <a:custGeom>
              <a:avLst/>
              <a:gdLst>
                <a:gd name="T0" fmla="*/ 286 w 286"/>
                <a:gd name="T1" fmla="*/ 154 h 400"/>
                <a:gd name="T2" fmla="*/ 150 w 286"/>
                <a:gd name="T3" fmla="*/ 308 h 400"/>
                <a:gd name="T4" fmla="*/ 42 w 286"/>
                <a:gd name="T5" fmla="*/ 246 h 400"/>
                <a:gd name="T6" fmla="*/ 42 w 286"/>
                <a:gd name="T7" fmla="*/ 400 h 400"/>
                <a:gd name="T8" fmla="*/ 0 w 286"/>
                <a:gd name="T9" fmla="*/ 400 h 400"/>
                <a:gd name="T10" fmla="*/ 0 w 286"/>
                <a:gd name="T11" fmla="*/ 6 h 400"/>
                <a:gd name="T12" fmla="*/ 42 w 286"/>
                <a:gd name="T13" fmla="*/ 6 h 400"/>
                <a:gd name="T14" fmla="*/ 42 w 286"/>
                <a:gd name="T15" fmla="*/ 62 h 400"/>
                <a:gd name="T16" fmla="*/ 150 w 286"/>
                <a:gd name="T17" fmla="*/ 0 h 400"/>
                <a:gd name="T18" fmla="*/ 286 w 286"/>
                <a:gd name="T19" fmla="*/ 154 h 400"/>
                <a:gd name="T20" fmla="*/ 240 w 286"/>
                <a:gd name="T21" fmla="*/ 154 h 400"/>
                <a:gd name="T22" fmla="*/ 142 w 286"/>
                <a:gd name="T23" fmla="*/ 38 h 400"/>
                <a:gd name="T24" fmla="*/ 42 w 286"/>
                <a:gd name="T25" fmla="*/ 154 h 400"/>
                <a:gd name="T26" fmla="*/ 142 w 286"/>
                <a:gd name="T27" fmla="*/ 270 h 400"/>
                <a:gd name="T28" fmla="*/ 240 w 286"/>
                <a:gd name="T29" fmla="*/ 154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6" h="400">
                  <a:moveTo>
                    <a:pt x="286" y="154"/>
                  </a:moveTo>
                  <a:cubicBezTo>
                    <a:pt x="286" y="244"/>
                    <a:pt x="227" y="308"/>
                    <a:pt x="150" y="308"/>
                  </a:cubicBezTo>
                  <a:cubicBezTo>
                    <a:pt x="102" y="308"/>
                    <a:pt x="65" y="285"/>
                    <a:pt x="42" y="246"/>
                  </a:cubicBezTo>
                  <a:cubicBezTo>
                    <a:pt x="42" y="400"/>
                    <a:pt x="42" y="400"/>
                    <a:pt x="42" y="400"/>
                  </a:cubicBezTo>
                  <a:cubicBezTo>
                    <a:pt x="0" y="400"/>
                    <a:pt x="0" y="400"/>
                    <a:pt x="0" y="40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42" y="62"/>
                    <a:pt x="42" y="62"/>
                    <a:pt x="42" y="62"/>
                  </a:cubicBezTo>
                  <a:cubicBezTo>
                    <a:pt x="65" y="23"/>
                    <a:pt x="102" y="0"/>
                    <a:pt x="150" y="0"/>
                  </a:cubicBezTo>
                  <a:cubicBezTo>
                    <a:pt x="227" y="0"/>
                    <a:pt x="286" y="64"/>
                    <a:pt x="286" y="154"/>
                  </a:cubicBezTo>
                  <a:close/>
                  <a:moveTo>
                    <a:pt x="240" y="154"/>
                  </a:moveTo>
                  <a:cubicBezTo>
                    <a:pt x="240" y="86"/>
                    <a:pt x="199" y="38"/>
                    <a:pt x="142" y="38"/>
                  </a:cubicBezTo>
                  <a:cubicBezTo>
                    <a:pt x="83" y="38"/>
                    <a:pt x="42" y="86"/>
                    <a:pt x="42" y="154"/>
                  </a:cubicBezTo>
                  <a:cubicBezTo>
                    <a:pt x="42" y="222"/>
                    <a:pt x="83" y="270"/>
                    <a:pt x="142" y="270"/>
                  </a:cubicBezTo>
                  <a:cubicBezTo>
                    <a:pt x="199" y="270"/>
                    <a:pt x="240" y="222"/>
                    <a:pt x="240" y="1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38" name="Freeform 17">
              <a:extLst>
                <a:ext uri="{FF2B5EF4-FFF2-40B4-BE49-F238E27FC236}">
                  <a16:creationId xmlns:a16="http://schemas.microsoft.com/office/drawing/2014/main" id="{C1B41AC2-DF88-418C-89A8-77AE1C13487A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5582" y="1982"/>
              <a:ext cx="373" cy="370"/>
            </a:xfrm>
            <a:custGeom>
              <a:avLst/>
              <a:gdLst>
                <a:gd name="T0" fmla="*/ 0 w 305"/>
                <a:gd name="T1" fmla="*/ 154 h 308"/>
                <a:gd name="T2" fmla="*/ 153 w 305"/>
                <a:gd name="T3" fmla="*/ 0 h 308"/>
                <a:gd name="T4" fmla="*/ 305 w 305"/>
                <a:gd name="T5" fmla="*/ 154 h 308"/>
                <a:gd name="T6" fmla="*/ 153 w 305"/>
                <a:gd name="T7" fmla="*/ 308 h 308"/>
                <a:gd name="T8" fmla="*/ 0 w 305"/>
                <a:gd name="T9" fmla="*/ 154 h 308"/>
                <a:gd name="T10" fmla="*/ 260 w 305"/>
                <a:gd name="T11" fmla="*/ 154 h 308"/>
                <a:gd name="T12" fmla="*/ 153 w 305"/>
                <a:gd name="T13" fmla="*/ 38 h 308"/>
                <a:gd name="T14" fmla="*/ 45 w 305"/>
                <a:gd name="T15" fmla="*/ 154 h 308"/>
                <a:gd name="T16" fmla="*/ 153 w 305"/>
                <a:gd name="T17" fmla="*/ 270 h 308"/>
                <a:gd name="T18" fmla="*/ 260 w 305"/>
                <a:gd name="T19" fmla="*/ 154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5" h="308">
                  <a:moveTo>
                    <a:pt x="0" y="154"/>
                  </a:moveTo>
                  <a:cubicBezTo>
                    <a:pt x="0" y="70"/>
                    <a:pt x="70" y="0"/>
                    <a:pt x="153" y="0"/>
                  </a:cubicBezTo>
                  <a:cubicBezTo>
                    <a:pt x="235" y="0"/>
                    <a:pt x="305" y="70"/>
                    <a:pt x="305" y="154"/>
                  </a:cubicBezTo>
                  <a:cubicBezTo>
                    <a:pt x="305" y="238"/>
                    <a:pt x="235" y="308"/>
                    <a:pt x="153" y="308"/>
                  </a:cubicBezTo>
                  <a:cubicBezTo>
                    <a:pt x="70" y="308"/>
                    <a:pt x="0" y="238"/>
                    <a:pt x="0" y="154"/>
                  </a:cubicBezTo>
                  <a:close/>
                  <a:moveTo>
                    <a:pt x="260" y="154"/>
                  </a:moveTo>
                  <a:cubicBezTo>
                    <a:pt x="260" y="91"/>
                    <a:pt x="211" y="38"/>
                    <a:pt x="153" y="38"/>
                  </a:cubicBezTo>
                  <a:cubicBezTo>
                    <a:pt x="94" y="38"/>
                    <a:pt x="45" y="91"/>
                    <a:pt x="45" y="154"/>
                  </a:cubicBezTo>
                  <a:cubicBezTo>
                    <a:pt x="45" y="217"/>
                    <a:pt x="94" y="270"/>
                    <a:pt x="153" y="270"/>
                  </a:cubicBezTo>
                  <a:cubicBezTo>
                    <a:pt x="211" y="270"/>
                    <a:pt x="260" y="217"/>
                    <a:pt x="260" y="1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39" name="Rectangle 18">
              <a:extLst>
                <a:ext uri="{FF2B5EF4-FFF2-40B4-BE49-F238E27FC236}">
                  <a16:creationId xmlns:a16="http://schemas.microsoft.com/office/drawing/2014/main" id="{8A52667A-7197-4718-A7CC-9DB76FD15044}"/>
                </a:ext>
              </a:extLst>
            </p:cNvPr>
            <p:cNvSpPr>
              <a:spLocks noChangeArrowheads="1"/>
            </p:cNvSpPr>
            <p:nvPr/>
          </p:nvSpPr>
          <p:spPr bwMode="black">
            <a:xfrm>
              <a:off x="6042" y="1865"/>
              <a:ext cx="52" cy="48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40" name="Freeform 19">
              <a:extLst>
                <a:ext uri="{FF2B5EF4-FFF2-40B4-BE49-F238E27FC236}">
                  <a16:creationId xmlns:a16="http://schemas.microsoft.com/office/drawing/2014/main" id="{6E7E8DE2-C426-4707-B205-0D5D93A76152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6191" y="1857"/>
              <a:ext cx="68" cy="488"/>
            </a:xfrm>
            <a:custGeom>
              <a:avLst/>
              <a:gdLst>
                <a:gd name="T0" fmla="*/ 0 w 56"/>
                <a:gd name="T1" fmla="*/ 28 h 406"/>
                <a:gd name="T2" fmla="*/ 29 w 56"/>
                <a:gd name="T3" fmla="*/ 0 h 406"/>
                <a:gd name="T4" fmla="*/ 56 w 56"/>
                <a:gd name="T5" fmla="*/ 28 h 406"/>
                <a:gd name="T6" fmla="*/ 29 w 56"/>
                <a:gd name="T7" fmla="*/ 57 h 406"/>
                <a:gd name="T8" fmla="*/ 0 w 56"/>
                <a:gd name="T9" fmla="*/ 28 h 406"/>
                <a:gd name="T10" fmla="*/ 7 w 56"/>
                <a:gd name="T11" fmla="*/ 110 h 406"/>
                <a:gd name="T12" fmla="*/ 50 w 56"/>
                <a:gd name="T13" fmla="*/ 110 h 406"/>
                <a:gd name="T14" fmla="*/ 50 w 56"/>
                <a:gd name="T15" fmla="*/ 406 h 406"/>
                <a:gd name="T16" fmla="*/ 7 w 56"/>
                <a:gd name="T17" fmla="*/ 406 h 406"/>
                <a:gd name="T18" fmla="*/ 7 w 56"/>
                <a:gd name="T19" fmla="*/ 110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406">
                  <a:moveTo>
                    <a:pt x="0" y="28"/>
                  </a:moveTo>
                  <a:cubicBezTo>
                    <a:pt x="0" y="13"/>
                    <a:pt x="13" y="0"/>
                    <a:pt x="29" y="0"/>
                  </a:cubicBezTo>
                  <a:cubicBezTo>
                    <a:pt x="44" y="0"/>
                    <a:pt x="56" y="13"/>
                    <a:pt x="56" y="28"/>
                  </a:cubicBezTo>
                  <a:cubicBezTo>
                    <a:pt x="56" y="44"/>
                    <a:pt x="44" y="57"/>
                    <a:pt x="29" y="57"/>
                  </a:cubicBezTo>
                  <a:cubicBezTo>
                    <a:pt x="13" y="57"/>
                    <a:pt x="0" y="44"/>
                    <a:pt x="0" y="28"/>
                  </a:cubicBezTo>
                  <a:close/>
                  <a:moveTo>
                    <a:pt x="7" y="110"/>
                  </a:moveTo>
                  <a:cubicBezTo>
                    <a:pt x="50" y="110"/>
                    <a:pt x="50" y="110"/>
                    <a:pt x="50" y="110"/>
                  </a:cubicBezTo>
                  <a:cubicBezTo>
                    <a:pt x="50" y="406"/>
                    <a:pt x="50" y="406"/>
                    <a:pt x="50" y="406"/>
                  </a:cubicBezTo>
                  <a:cubicBezTo>
                    <a:pt x="7" y="406"/>
                    <a:pt x="7" y="406"/>
                    <a:pt x="7" y="406"/>
                  </a:cubicBezTo>
                  <a:lnTo>
                    <a:pt x="7" y="1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41" name="Freeform 20">
              <a:extLst>
                <a:ext uri="{FF2B5EF4-FFF2-40B4-BE49-F238E27FC236}">
                  <a16:creationId xmlns:a16="http://schemas.microsoft.com/office/drawing/2014/main" id="{D3B127C7-22FD-48BC-9B8E-27EBE146499C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35" y="1982"/>
              <a:ext cx="282" cy="370"/>
            </a:xfrm>
            <a:custGeom>
              <a:avLst/>
              <a:gdLst>
                <a:gd name="T0" fmla="*/ 0 w 230"/>
                <a:gd name="T1" fmla="*/ 264 h 308"/>
                <a:gd name="T2" fmla="*/ 22 w 230"/>
                <a:gd name="T3" fmla="*/ 233 h 308"/>
                <a:gd name="T4" fmla="*/ 122 w 230"/>
                <a:gd name="T5" fmla="*/ 270 h 308"/>
                <a:gd name="T6" fmla="*/ 187 w 230"/>
                <a:gd name="T7" fmla="*/ 224 h 308"/>
                <a:gd name="T8" fmla="*/ 113 w 230"/>
                <a:gd name="T9" fmla="*/ 170 h 308"/>
                <a:gd name="T10" fmla="*/ 14 w 230"/>
                <a:gd name="T11" fmla="*/ 86 h 308"/>
                <a:gd name="T12" fmla="*/ 118 w 230"/>
                <a:gd name="T13" fmla="*/ 0 h 308"/>
                <a:gd name="T14" fmla="*/ 223 w 230"/>
                <a:gd name="T15" fmla="*/ 33 h 308"/>
                <a:gd name="T16" fmla="*/ 203 w 230"/>
                <a:gd name="T17" fmla="*/ 66 h 308"/>
                <a:gd name="T18" fmla="*/ 118 w 230"/>
                <a:gd name="T19" fmla="*/ 38 h 308"/>
                <a:gd name="T20" fmla="*/ 57 w 230"/>
                <a:gd name="T21" fmla="*/ 81 h 308"/>
                <a:gd name="T22" fmla="*/ 134 w 230"/>
                <a:gd name="T23" fmla="*/ 133 h 308"/>
                <a:gd name="T24" fmla="*/ 230 w 230"/>
                <a:gd name="T25" fmla="*/ 219 h 308"/>
                <a:gd name="T26" fmla="*/ 122 w 230"/>
                <a:gd name="T27" fmla="*/ 308 h 308"/>
                <a:gd name="T28" fmla="*/ 0 w 230"/>
                <a:gd name="T29" fmla="*/ 264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0" h="308">
                  <a:moveTo>
                    <a:pt x="0" y="264"/>
                  </a:moveTo>
                  <a:cubicBezTo>
                    <a:pt x="22" y="233"/>
                    <a:pt x="22" y="233"/>
                    <a:pt x="22" y="233"/>
                  </a:cubicBezTo>
                  <a:cubicBezTo>
                    <a:pt x="56" y="258"/>
                    <a:pt x="90" y="270"/>
                    <a:pt x="122" y="270"/>
                  </a:cubicBezTo>
                  <a:cubicBezTo>
                    <a:pt x="161" y="270"/>
                    <a:pt x="187" y="252"/>
                    <a:pt x="187" y="224"/>
                  </a:cubicBezTo>
                  <a:cubicBezTo>
                    <a:pt x="187" y="192"/>
                    <a:pt x="153" y="182"/>
                    <a:pt x="113" y="170"/>
                  </a:cubicBezTo>
                  <a:cubicBezTo>
                    <a:pt x="42" y="150"/>
                    <a:pt x="14" y="129"/>
                    <a:pt x="14" y="86"/>
                  </a:cubicBezTo>
                  <a:cubicBezTo>
                    <a:pt x="14" y="33"/>
                    <a:pt x="59" y="0"/>
                    <a:pt x="118" y="0"/>
                  </a:cubicBezTo>
                  <a:cubicBezTo>
                    <a:pt x="154" y="0"/>
                    <a:pt x="192" y="12"/>
                    <a:pt x="223" y="33"/>
                  </a:cubicBezTo>
                  <a:cubicBezTo>
                    <a:pt x="203" y="66"/>
                    <a:pt x="203" y="66"/>
                    <a:pt x="203" y="66"/>
                  </a:cubicBezTo>
                  <a:cubicBezTo>
                    <a:pt x="173" y="47"/>
                    <a:pt x="144" y="38"/>
                    <a:pt x="118" y="38"/>
                  </a:cubicBezTo>
                  <a:cubicBezTo>
                    <a:pt x="85" y="38"/>
                    <a:pt x="57" y="53"/>
                    <a:pt x="57" y="81"/>
                  </a:cubicBezTo>
                  <a:cubicBezTo>
                    <a:pt x="57" y="107"/>
                    <a:pt x="79" y="115"/>
                    <a:pt x="134" y="133"/>
                  </a:cubicBezTo>
                  <a:cubicBezTo>
                    <a:pt x="181" y="147"/>
                    <a:pt x="230" y="163"/>
                    <a:pt x="230" y="219"/>
                  </a:cubicBezTo>
                  <a:cubicBezTo>
                    <a:pt x="230" y="274"/>
                    <a:pt x="183" y="308"/>
                    <a:pt x="122" y="308"/>
                  </a:cubicBezTo>
                  <a:cubicBezTo>
                    <a:pt x="81" y="308"/>
                    <a:pt x="36" y="293"/>
                    <a:pt x="0" y="2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DDDC76C1-EE98-469A-A6AD-21148374D6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98270" y="2908233"/>
            <a:ext cx="5356032" cy="895350"/>
          </a:xfrm>
        </p:spPr>
        <p:txBody>
          <a:bodyPr/>
          <a:lstStyle>
            <a:lvl1pPr>
              <a:defRPr sz="4900">
                <a:solidFill>
                  <a:schemeClr val="bg1"/>
                </a:solidFill>
              </a:defRPr>
            </a:lvl1pPr>
            <a:lvl2pPr>
              <a:defRPr sz="3600">
                <a:solidFill>
                  <a:schemeClr val="bg1"/>
                </a:solidFill>
              </a:defRPr>
            </a:lvl2pPr>
            <a:lvl3pPr>
              <a:defRPr sz="32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his is Metropolis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29BE03A-21B0-4196-A033-4E90957BA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z="2800" dirty="0">
                <a:solidFill>
                  <a:schemeClr val="bg1"/>
                </a:solidFill>
              </a:rPr>
              <a:t>Metropolis Font Check</a:t>
            </a:r>
          </a:p>
        </p:txBody>
      </p:sp>
      <p:sp>
        <p:nvSpPr>
          <p:cNvPr id="51" name="Subtitle 2">
            <a:extLst>
              <a:ext uri="{FF2B5EF4-FFF2-40B4-BE49-F238E27FC236}">
                <a16:creationId xmlns:a16="http://schemas.microsoft.com/office/drawing/2014/main" id="{CB049186-CC25-4BD3-8410-4DE62ED4B08B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3021" y="838105"/>
            <a:ext cx="10965543" cy="247743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Is the Metropolis font installed on my computer?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1A92F24-FC82-4FA9-9362-801284731CC8}"/>
              </a:ext>
            </a:extLst>
          </p:cNvPr>
          <p:cNvSpPr/>
          <p:nvPr/>
        </p:nvSpPr>
        <p:spPr bwMode="gray">
          <a:xfrm>
            <a:off x="623526" y="1616678"/>
            <a:ext cx="4634944" cy="2441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100" dirty="0">
                <a:solidFill>
                  <a:schemeClr val="accent4">
                    <a:lumMod val="75000"/>
                  </a:schemeClr>
                </a:solidFill>
              </a:rPr>
              <a:t>Do the fonts in these two sentences match on your screen?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B59E37DB-3217-4772-AE8E-E9673A139975}"/>
              </a:ext>
            </a:extLst>
          </p:cNvPr>
          <p:cNvCxnSpPr>
            <a:cxnSpLocks/>
          </p:cNvCxnSpPr>
          <p:nvPr/>
        </p:nvCxnSpPr>
        <p:spPr>
          <a:xfrm>
            <a:off x="623527" y="1860778"/>
            <a:ext cx="7301750" cy="0"/>
          </a:xfrm>
          <a:prstGeom prst="line">
            <a:avLst/>
          </a:prstGeom>
          <a:ln w="25400">
            <a:solidFill>
              <a:schemeClr val="bg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7507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" name="Group 59">
            <a:extLst>
              <a:ext uri="{FF2B5EF4-FFF2-40B4-BE49-F238E27FC236}">
                <a16:creationId xmlns:a16="http://schemas.microsoft.com/office/drawing/2014/main" id="{8442F8FF-5DB1-44B3-AF2C-1A531EA36FEA}"/>
              </a:ext>
            </a:extLst>
          </p:cNvPr>
          <p:cNvGrpSpPr/>
          <p:nvPr/>
        </p:nvGrpSpPr>
        <p:grpSpPr bwMode="gray">
          <a:xfrm>
            <a:off x="0" y="0"/>
            <a:ext cx="12192001" cy="6858004"/>
            <a:chOff x="0" y="-4"/>
            <a:chExt cx="12188826" cy="6858004"/>
          </a:xfrm>
        </p:grpSpPr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E2F285D2-B641-461F-87F0-20A9C65B2EF7}"/>
                </a:ext>
              </a:extLst>
            </p:cNvPr>
            <p:cNvGrpSpPr/>
            <p:nvPr/>
          </p:nvGrpSpPr>
          <p:grpSpPr bwMode="gray">
            <a:xfrm>
              <a:off x="609441" y="1600198"/>
              <a:ext cx="10055941" cy="4580469"/>
              <a:chOff x="609441" y="1600198"/>
              <a:chExt cx="10055941" cy="4580469"/>
            </a:xfrm>
          </p:grpSpPr>
          <p:sp>
            <p:nvSpPr>
              <p:cNvPr id="110" name="Rectangle 109">
                <a:extLst>
                  <a:ext uri="{FF2B5EF4-FFF2-40B4-BE49-F238E27FC236}">
                    <a16:creationId xmlns:a16="http://schemas.microsoft.com/office/drawing/2014/main" id="{115EE1AC-AAA1-4CAF-886B-474B1A0C95C4}"/>
                  </a:ext>
                </a:extLst>
              </p:cNvPr>
              <p:cNvSpPr/>
              <p:nvPr/>
            </p:nvSpPr>
            <p:spPr bwMode="gray">
              <a:xfrm>
                <a:off x="609441" y="1600199"/>
                <a:ext cx="914203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800" dirty="0"/>
              </a:p>
            </p:txBody>
          </p:sp>
          <p:sp>
            <p:nvSpPr>
              <p:cNvPr id="111" name="Rectangle 110">
                <a:extLst>
                  <a:ext uri="{FF2B5EF4-FFF2-40B4-BE49-F238E27FC236}">
                    <a16:creationId xmlns:a16="http://schemas.microsoft.com/office/drawing/2014/main" id="{7037B7F2-249C-4DB7-A4FF-AD7E08892A0F}"/>
                  </a:ext>
                </a:extLst>
              </p:cNvPr>
              <p:cNvSpPr/>
              <p:nvPr/>
            </p:nvSpPr>
            <p:spPr bwMode="gray">
              <a:xfrm>
                <a:off x="2436448" y="1600198"/>
                <a:ext cx="915282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800" dirty="0"/>
              </a:p>
            </p:txBody>
          </p:sp>
          <p:sp>
            <p:nvSpPr>
              <p:cNvPr id="112" name="Rectangle 111">
                <a:extLst>
                  <a:ext uri="{FF2B5EF4-FFF2-40B4-BE49-F238E27FC236}">
                    <a16:creationId xmlns:a16="http://schemas.microsoft.com/office/drawing/2014/main" id="{6B02FE08-2379-4E6C-AE27-D7D2ECAB18B8}"/>
                  </a:ext>
                </a:extLst>
              </p:cNvPr>
              <p:cNvSpPr/>
              <p:nvPr/>
            </p:nvSpPr>
            <p:spPr bwMode="gray">
              <a:xfrm>
                <a:off x="4263453" y="1600198"/>
                <a:ext cx="920909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800" dirty="0"/>
              </a:p>
            </p:txBody>
          </p:sp>
          <p:sp>
            <p:nvSpPr>
              <p:cNvPr id="113" name="Rectangle 112">
                <a:extLst>
                  <a:ext uri="{FF2B5EF4-FFF2-40B4-BE49-F238E27FC236}">
                    <a16:creationId xmlns:a16="http://schemas.microsoft.com/office/drawing/2014/main" id="{D7C17E9A-3B70-4668-8EAE-9C7D73BACCA1}"/>
                  </a:ext>
                </a:extLst>
              </p:cNvPr>
              <p:cNvSpPr/>
              <p:nvPr/>
            </p:nvSpPr>
            <p:spPr bwMode="gray">
              <a:xfrm>
                <a:off x="6090459" y="1600198"/>
                <a:ext cx="920909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800" dirty="0"/>
              </a:p>
            </p:txBody>
          </p:sp>
          <p:sp>
            <p:nvSpPr>
              <p:cNvPr id="114" name="Rectangle 113">
                <a:extLst>
                  <a:ext uri="{FF2B5EF4-FFF2-40B4-BE49-F238E27FC236}">
                    <a16:creationId xmlns:a16="http://schemas.microsoft.com/office/drawing/2014/main" id="{E02751E5-34AD-4357-BC67-2269F668FD57}"/>
                  </a:ext>
                </a:extLst>
              </p:cNvPr>
              <p:cNvSpPr/>
              <p:nvPr/>
            </p:nvSpPr>
            <p:spPr bwMode="gray">
              <a:xfrm>
                <a:off x="7921943" y="1600198"/>
                <a:ext cx="916431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800" dirty="0"/>
              </a:p>
            </p:txBody>
          </p:sp>
          <p:sp>
            <p:nvSpPr>
              <p:cNvPr id="115" name="Rectangle 114">
                <a:extLst>
                  <a:ext uri="{FF2B5EF4-FFF2-40B4-BE49-F238E27FC236}">
                    <a16:creationId xmlns:a16="http://schemas.microsoft.com/office/drawing/2014/main" id="{452A85DA-B39F-40AB-B423-9F7CCB3D0D63}"/>
                  </a:ext>
                </a:extLst>
              </p:cNvPr>
              <p:cNvSpPr/>
              <p:nvPr/>
            </p:nvSpPr>
            <p:spPr bwMode="gray">
              <a:xfrm>
                <a:off x="9750028" y="1600198"/>
                <a:ext cx="915354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800" dirty="0"/>
              </a:p>
            </p:txBody>
          </p: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C5C1459D-4F6E-4671-8566-3143311EA541}"/>
                </a:ext>
              </a:extLst>
            </p:cNvPr>
            <p:cNvGrpSpPr/>
            <p:nvPr userDrawn="1"/>
          </p:nvGrpSpPr>
          <p:grpSpPr bwMode="gray">
            <a:xfrm>
              <a:off x="0" y="-4"/>
              <a:ext cx="12188826" cy="6858004"/>
              <a:chOff x="0" y="-4"/>
              <a:chExt cx="12188826" cy="6858004"/>
            </a:xfrm>
          </p:grpSpPr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015AFD00-19E3-4F92-9570-1F3E8AEC3EC4}"/>
                  </a:ext>
                </a:extLst>
              </p:cNvPr>
              <p:cNvGrpSpPr/>
              <p:nvPr>
                <p:custDataLst>
                  <p:tags r:id="rId1"/>
                </p:custDataLst>
              </p:nvPr>
            </p:nvGrpSpPr>
            <p:grpSpPr bwMode="gray">
              <a:xfrm>
                <a:off x="0" y="-4"/>
                <a:ext cx="12188826" cy="6858004"/>
                <a:chOff x="0" y="1"/>
                <a:chExt cx="12188826" cy="6858004"/>
              </a:xfrm>
            </p:grpSpPr>
            <p:grpSp>
              <p:nvGrpSpPr>
                <p:cNvPr id="65" name="Group 64">
                  <a:extLst>
                    <a:ext uri="{FF2B5EF4-FFF2-40B4-BE49-F238E27FC236}">
                      <a16:creationId xmlns:a16="http://schemas.microsoft.com/office/drawing/2014/main" id="{56B51E9A-9BC0-4A23-95C7-9E14C94FDF8A}"/>
                    </a:ext>
                  </a:extLst>
                </p:cNvPr>
                <p:cNvGrpSpPr/>
                <p:nvPr/>
              </p:nvGrpSpPr>
              <p:grpSpPr bwMode="gray">
                <a:xfrm>
                  <a:off x="609601" y="2684"/>
                  <a:ext cx="10962504" cy="6855315"/>
                  <a:chOff x="0" y="0"/>
                  <a:chExt cx="10962504" cy="6858000"/>
                </a:xfrm>
              </p:grpSpPr>
              <p:cxnSp>
                <p:nvCxnSpPr>
                  <p:cNvPr id="85" name="Straight Connector 84">
                    <a:extLst>
                      <a:ext uri="{FF2B5EF4-FFF2-40B4-BE49-F238E27FC236}">
                        <a16:creationId xmlns:a16="http://schemas.microsoft.com/office/drawing/2014/main" id="{5B6B4CFD-041A-4081-89A4-C2B194E6465E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0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6" name="Straight Connector 85">
                    <a:extLst>
                      <a:ext uri="{FF2B5EF4-FFF2-40B4-BE49-F238E27FC236}">
                        <a16:creationId xmlns:a16="http://schemas.microsoft.com/office/drawing/2014/main" id="{C63B978F-4215-434A-A0BE-E77776CE37B1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914043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7" name="Straight Connector 86">
                    <a:extLst>
                      <a:ext uri="{FF2B5EF4-FFF2-40B4-BE49-F238E27FC236}">
                        <a16:creationId xmlns:a16="http://schemas.microsoft.com/office/drawing/2014/main" id="{09EEB78C-3DA9-4AD7-BFB1-207EDE403F9D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371064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8" name="Straight Connector 87">
                    <a:extLst>
                      <a:ext uri="{FF2B5EF4-FFF2-40B4-BE49-F238E27FC236}">
                        <a16:creationId xmlns:a16="http://schemas.microsoft.com/office/drawing/2014/main" id="{F062D7CE-4A4A-4C41-833F-B30B3E74AEAC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828085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9" name="Straight Connector 88">
                    <a:extLst>
                      <a:ext uri="{FF2B5EF4-FFF2-40B4-BE49-F238E27FC236}">
                        <a16:creationId xmlns:a16="http://schemas.microsoft.com/office/drawing/2014/main" id="{19C628EF-969E-4429-A992-9AD0AFECF81E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2285107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0" name="Straight Connector 89">
                    <a:extLst>
                      <a:ext uri="{FF2B5EF4-FFF2-40B4-BE49-F238E27FC236}">
                        <a16:creationId xmlns:a16="http://schemas.microsoft.com/office/drawing/2014/main" id="{8C7BD383-0D5C-4E3A-99F7-4DC5A51DF948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2742128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1" name="Straight Connector 90">
                    <a:extLst>
                      <a:ext uri="{FF2B5EF4-FFF2-40B4-BE49-F238E27FC236}">
                        <a16:creationId xmlns:a16="http://schemas.microsoft.com/office/drawing/2014/main" id="{FAA2EE63-4F24-4A26-9268-D15D92D5B068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3199149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2" name="Straight Connector 91">
                    <a:extLst>
                      <a:ext uri="{FF2B5EF4-FFF2-40B4-BE49-F238E27FC236}">
                        <a16:creationId xmlns:a16="http://schemas.microsoft.com/office/drawing/2014/main" id="{F64BB08D-864A-44D4-88F6-679DBAE518B7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3656171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3" name="Straight Connector 92">
                    <a:extLst>
                      <a:ext uri="{FF2B5EF4-FFF2-40B4-BE49-F238E27FC236}">
                        <a16:creationId xmlns:a16="http://schemas.microsoft.com/office/drawing/2014/main" id="{9FA3F8A1-60DA-47E1-92DD-967475B2DF58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4113192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4" name="Straight Connector 93">
                    <a:extLst>
                      <a:ext uri="{FF2B5EF4-FFF2-40B4-BE49-F238E27FC236}">
                        <a16:creationId xmlns:a16="http://schemas.microsoft.com/office/drawing/2014/main" id="{4DECF40D-CC60-45F8-B236-F9FAC1F3E8CF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4570213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5" name="Straight Connector 94">
                    <a:extLst>
                      <a:ext uri="{FF2B5EF4-FFF2-40B4-BE49-F238E27FC236}">
                        <a16:creationId xmlns:a16="http://schemas.microsoft.com/office/drawing/2014/main" id="{623BAEC6-A3C2-4892-9093-BD8EA8A7E0F6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5027235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6" name="Straight Connector 95">
                    <a:extLst>
                      <a:ext uri="{FF2B5EF4-FFF2-40B4-BE49-F238E27FC236}">
                        <a16:creationId xmlns:a16="http://schemas.microsoft.com/office/drawing/2014/main" id="{D4E16FB9-EDCA-4CA6-9212-0AEBFCE175D7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5484256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7" name="Straight Connector 96">
                    <a:extLst>
                      <a:ext uri="{FF2B5EF4-FFF2-40B4-BE49-F238E27FC236}">
                        <a16:creationId xmlns:a16="http://schemas.microsoft.com/office/drawing/2014/main" id="{F3AE637F-804F-4244-9AA9-FF4A629A143C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5941277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8" name="Straight Connector 97">
                    <a:extLst>
                      <a:ext uri="{FF2B5EF4-FFF2-40B4-BE49-F238E27FC236}">
                        <a16:creationId xmlns:a16="http://schemas.microsoft.com/office/drawing/2014/main" id="{5EFB8414-3949-428A-B700-7C38A44425B2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6398299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9" name="Straight Connector 98">
                    <a:extLst>
                      <a:ext uri="{FF2B5EF4-FFF2-40B4-BE49-F238E27FC236}">
                        <a16:creationId xmlns:a16="http://schemas.microsoft.com/office/drawing/2014/main" id="{BA61D1AB-B7D2-4169-B38F-56371D50E1DA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6855320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0" name="Straight Connector 99">
                    <a:extLst>
                      <a:ext uri="{FF2B5EF4-FFF2-40B4-BE49-F238E27FC236}">
                        <a16:creationId xmlns:a16="http://schemas.microsoft.com/office/drawing/2014/main" id="{D00C4593-A442-4B6C-8E9D-80BFEB1746D6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7312342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1" name="Straight Connector 100">
                    <a:extLst>
                      <a:ext uri="{FF2B5EF4-FFF2-40B4-BE49-F238E27FC236}">
                        <a16:creationId xmlns:a16="http://schemas.microsoft.com/office/drawing/2014/main" id="{95B5E413-FAFF-430F-B105-4D122D50AEE1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7769363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2" name="Straight Connector 101">
                    <a:extLst>
                      <a:ext uri="{FF2B5EF4-FFF2-40B4-BE49-F238E27FC236}">
                        <a16:creationId xmlns:a16="http://schemas.microsoft.com/office/drawing/2014/main" id="{2B845328-662D-4D12-A209-6A0B1E78DF14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8226384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3" name="Straight Connector 102">
                    <a:extLst>
                      <a:ext uri="{FF2B5EF4-FFF2-40B4-BE49-F238E27FC236}">
                        <a16:creationId xmlns:a16="http://schemas.microsoft.com/office/drawing/2014/main" id="{2AC19B5D-D919-4A48-953C-03994329E19B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9140427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4" name="Straight Connector 103">
                    <a:extLst>
                      <a:ext uri="{FF2B5EF4-FFF2-40B4-BE49-F238E27FC236}">
                        <a16:creationId xmlns:a16="http://schemas.microsoft.com/office/drawing/2014/main" id="{AC81C8DC-CB2F-445A-8F7B-5A864393B553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8683406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5" name="Straight Connector 104">
                    <a:extLst>
                      <a:ext uri="{FF2B5EF4-FFF2-40B4-BE49-F238E27FC236}">
                        <a16:creationId xmlns:a16="http://schemas.microsoft.com/office/drawing/2014/main" id="{F3CD9F68-6C35-4B43-B8E1-1ABF75D8D588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9597448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6" name="Straight Connector 105">
                    <a:extLst>
                      <a:ext uri="{FF2B5EF4-FFF2-40B4-BE49-F238E27FC236}">
                        <a16:creationId xmlns:a16="http://schemas.microsoft.com/office/drawing/2014/main" id="{BBBCE95B-721C-44A5-8B94-8F0E42FF53FE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0054470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7" name="Straight Connector 106">
                    <a:extLst>
                      <a:ext uri="{FF2B5EF4-FFF2-40B4-BE49-F238E27FC236}">
                        <a16:creationId xmlns:a16="http://schemas.microsoft.com/office/drawing/2014/main" id="{3B934F61-1ED7-4209-A1E3-04C68085B10E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0511491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8" name="Straight Connector 107">
                    <a:extLst>
                      <a:ext uri="{FF2B5EF4-FFF2-40B4-BE49-F238E27FC236}">
                        <a16:creationId xmlns:a16="http://schemas.microsoft.com/office/drawing/2014/main" id="{8F636E46-095E-439D-B78B-EBC72DB23290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457021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9" name="Straight Connector 108">
                    <a:extLst>
                      <a:ext uri="{FF2B5EF4-FFF2-40B4-BE49-F238E27FC236}">
                        <a16:creationId xmlns:a16="http://schemas.microsoft.com/office/drawing/2014/main" id="{61497272-E949-488B-B9F6-FD10BA6526BF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0962504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66" name="Group 65">
                  <a:extLst>
                    <a:ext uri="{FF2B5EF4-FFF2-40B4-BE49-F238E27FC236}">
                      <a16:creationId xmlns:a16="http://schemas.microsoft.com/office/drawing/2014/main" id="{B645DFBA-090A-4E89-BFE2-570C1D04D7A5}"/>
                    </a:ext>
                  </a:extLst>
                </p:cNvPr>
                <p:cNvGrpSpPr/>
                <p:nvPr/>
              </p:nvGrpSpPr>
              <p:grpSpPr bwMode="gray">
                <a:xfrm>
                  <a:off x="0" y="1"/>
                  <a:ext cx="12188826" cy="6858004"/>
                  <a:chOff x="0" y="1"/>
                  <a:chExt cx="12188826" cy="6858004"/>
                </a:xfrm>
              </p:grpSpPr>
              <p:cxnSp>
                <p:nvCxnSpPr>
                  <p:cNvPr id="67" name="Straight Connector 66">
                    <a:extLst>
                      <a:ext uri="{FF2B5EF4-FFF2-40B4-BE49-F238E27FC236}">
                        <a16:creationId xmlns:a16="http://schemas.microsoft.com/office/drawing/2014/main" id="{E34689D4-9BAE-40BF-B953-E1A0CA4F5C15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6094412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8" name="Straight Connector 67">
                    <a:extLst>
                      <a:ext uri="{FF2B5EF4-FFF2-40B4-BE49-F238E27FC236}">
                        <a16:creationId xmlns:a16="http://schemas.microsoft.com/office/drawing/2014/main" id="{674A3364-6F4C-4749-A110-B336801330E0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5637211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9" name="Straight Connector 68">
                    <a:extLst>
                      <a:ext uri="{FF2B5EF4-FFF2-40B4-BE49-F238E27FC236}">
                        <a16:creationId xmlns:a16="http://schemas.microsoft.com/office/drawing/2014/main" id="{690EC6B6-039D-4549-B1B1-8FF8A3FC2F66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5180011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0" name="Straight Connector 69">
                    <a:extLst>
                      <a:ext uri="{FF2B5EF4-FFF2-40B4-BE49-F238E27FC236}">
                        <a16:creationId xmlns:a16="http://schemas.microsoft.com/office/drawing/2014/main" id="{155F4FAC-9412-45E9-99EC-FDC351D60453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31202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1" name="Straight Connector 70">
                    <a:extLst>
                      <a:ext uri="{FF2B5EF4-FFF2-40B4-BE49-F238E27FC236}">
                        <a16:creationId xmlns:a16="http://schemas.microsoft.com/office/drawing/2014/main" id="{5A0C0A33-67B3-48C9-9B83-C39DFDEF5E0A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26630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2" name="Straight Connector 71">
                    <a:extLst>
                      <a:ext uri="{FF2B5EF4-FFF2-40B4-BE49-F238E27FC236}">
                        <a16:creationId xmlns:a16="http://schemas.microsoft.com/office/drawing/2014/main" id="{A87FF284-D960-4A05-8053-9886608C6599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22058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3" name="Straight Connector 72">
                    <a:extLst>
                      <a:ext uri="{FF2B5EF4-FFF2-40B4-BE49-F238E27FC236}">
                        <a16:creationId xmlns:a16="http://schemas.microsoft.com/office/drawing/2014/main" id="{6BA61019-342C-4EDD-97C6-EDA59774644E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17486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4" name="Straight Connector 73">
                    <a:extLst>
                      <a:ext uri="{FF2B5EF4-FFF2-40B4-BE49-F238E27FC236}">
                        <a16:creationId xmlns:a16="http://schemas.microsoft.com/office/drawing/2014/main" id="{234785CB-17D0-49DD-8DC9-3C93626DC776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1291437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5" name="Straight Connector 74">
                    <a:extLst>
                      <a:ext uri="{FF2B5EF4-FFF2-40B4-BE49-F238E27FC236}">
                        <a16:creationId xmlns:a16="http://schemas.microsoft.com/office/drawing/2014/main" id="{425DB222-E3A0-48A3-BBD5-FD2616577D2D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834237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6" name="Straight Connector 75">
                    <a:extLst>
                      <a:ext uri="{FF2B5EF4-FFF2-40B4-BE49-F238E27FC236}">
                        <a16:creationId xmlns:a16="http://schemas.microsoft.com/office/drawing/2014/main" id="{C433E4E5-A945-4652-B574-37C6580344B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gray">
                  <a:xfrm flipH="1">
                    <a:off x="1" y="5717376"/>
                    <a:ext cx="12188825" cy="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7" name="Straight Connector 76">
                    <a:extLst>
                      <a:ext uri="{FF2B5EF4-FFF2-40B4-BE49-F238E27FC236}">
                        <a16:creationId xmlns:a16="http://schemas.microsoft.com/office/drawing/2014/main" id="{352A597B-2B35-4BD4-B07E-D8CEF25A597D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763592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8" name="Straight Connector 77">
                    <a:extLst>
                      <a:ext uri="{FF2B5EF4-FFF2-40B4-BE49-F238E27FC236}">
                        <a16:creationId xmlns:a16="http://schemas.microsoft.com/office/drawing/2014/main" id="{9351C336-9D65-42C9-A33F-6971E6322E46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5637212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9" name="Straight Connector 78">
                    <a:extLst>
                      <a:ext uri="{FF2B5EF4-FFF2-40B4-BE49-F238E27FC236}">
                        <a16:creationId xmlns:a16="http://schemas.microsoft.com/office/drawing/2014/main" id="{FCAD9518-36D4-43F7-839D-D8FE389DF1F1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4951411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0" name="Straight Connector 79">
                    <a:extLst>
                      <a:ext uri="{FF2B5EF4-FFF2-40B4-BE49-F238E27FC236}">
                        <a16:creationId xmlns:a16="http://schemas.microsoft.com/office/drawing/2014/main" id="{55575B3F-2A8B-4175-B6A5-D60652B87ED0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86257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1" name="Straight Connector 80">
                    <a:extLst>
                      <a:ext uri="{FF2B5EF4-FFF2-40B4-BE49-F238E27FC236}">
                        <a16:creationId xmlns:a16="http://schemas.microsoft.com/office/drawing/2014/main" id="{1CCC90FC-8476-4A2A-8DF1-ECAB053A24FD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30638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2" name="Straight Connector 81">
                    <a:extLst>
                      <a:ext uri="{FF2B5EF4-FFF2-40B4-BE49-F238E27FC236}">
                        <a16:creationId xmlns:a16="http://schemas.microsoft.com/office/drawing/2014/main" id="{DFB03C8E-4661-465A-B25F-147D497525A0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40346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3" name="Straight Connector 82">
                    <a:extLst>
                      <a:ext uri="{FF2B5EF4-FFF2-40B4-BE49-F238E27FC236}">
                        <a16:creationId xmlns:a16="http://schemas.microsoft.com/office/drawing/2014/main" id="{88C8E030-5491-4C40-9E10-B197BD5CD587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35774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4" name="Straight Connector 83">
                    <a:extLst>
                      <a:ext uri="{FF2B5EF4-FFF2-40B4-BE49-F238E27FC236}">
                        <a16:creationId xmlns:a16="http://schemas.microsoft.com/office/drawing/2014/main" id="{E0EBA261-0409-41DC-98E2-4BF8173333E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gray">
                  <a:xfrm rot="5400000">
                    <a:off x="6094413" y="-4494211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B119DAC7-36FB-491E-A6EB-B78E57CAECBF}"/>
                  </a:ext>
                </a:extLst>
              </p:cNvPr>
              <p:cNvSpPr txBox="1"/>
              <p:nvPr userDrawn="1"/>
            </p:nvSpPr>
            <p:spPr bwMode="gray">
              <a:xfrm>
                <a:off x="592866" y="5723466"/>
                <a:ext cx="7329077" cy="47413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no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700" dirty="0"/>
                  <a:t>Footnote: Lorem ipsum dolor sit amet, consectetur adipiscing elit. Maecenas dui magna, sagittis at feugiat eget, viverra eu libero. Vestibulum a justo mi. Etiam blandit tempus odio. Fusce orci lectus, tincidunt eget hendrerit quis, blandit non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74385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B535B2D-9361-4E88-8BBD-C6E1EB066B37}"/>
              </a:ext>
            </a:extLst>
          </p:cNvPr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F8981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>
              <a:solidFill>
                <a:schemeClr val="accent2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5AED08D-D489-4C23-BFE9-9C4A6A94C4DA}"/>
              </a:ext>
            </a:extLst>
          </p:cNvPr>
          <p:cNvSpPr txBox="1"/>
          <p:nvPr/>
        </p:nvSpPr>
        <p:spPr>
          <a:xfrm>
            <a:off x="606551" y="721895"/>
            <a:ext cx="10879380" cy="48800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5400" spc="300" dirty="0">
                <a:solidFill>
                  <a:schemeClr val="bg1"/>
                </a:solidFill>
              </a:rPr>
              <a:t>DO NOT USE </a:t>
            </a:r>
          </a:p>
          <a:p>
            <a:pPr algn="ctr">
              <a:lnSpc>
                <a:spcPct val="90000"/>
              </a:lnSpc>
            </a:pPr>
            <a:endParaRPr lang="en-US" sz="5400" spc="300" dirty="0">
              <a:solidFill>
                <a:schemeClr val="bg1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en-US" sz="5400" spc="300" dirty="0">
                <a:solidFill>
                  <a:schemeClr val="bg1"/>
                </a:solidFill>
              </a:rPr>
              <a:t>ALL LAYOUTS PAST THIS ARE NOT PART OF THIS TEMPLATE</a:t>
            </a:r>
          </a:p>
        </p:txBody>
      </p:sp>
    </p:spTree>
    <p:extLst>
      <p:ext uri="{BB962C8B-B14F-4D97-AF65-F5344CB8AC3E}">
        <p14:creationId xmlns:p14="http://schemas.microsoft.com/office/powerpoint/2010/main" val="1094454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with Presenter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7" y="426720"/>
            <a:ext cx="9144001" cy="109728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7" y="1600200"/>
            <a:ext cx="9144001" cy="685800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3" y="5791200"/>
            <a:ext cx="3657601" cy="2286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2pPr>
            <a:lvl3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3pPr>
            <a:lvl4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4pPr>
            <a:lvl5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5pPr>
            <a:lvl6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6pPr>
            <a:lvl7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7pPr>
            <a:lvl8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8pPr>
          </a:lstStyle>
          <a:p>
            <a:pPr lvl="0"/>
            <a:r>
              <a:rPr lang="en-US" dirty="0"/>
              <a:t>Click to add presenter’s name 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3" y="6081068"/>
            <a:ext cx="3657601" cy="2286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2pPr>
            <a:lvl3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3pPr>
            <a:lvl4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4pPr>
            <a:lvl5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5pPr>
            <a:lvl6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6pPr>
            <a:lvl7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7pPr>
            <a:lvl8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8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1379962582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11" y="330200"/>
            <a:ext cx="10972801" cy="8128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  <a:latin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717074">
                    <a:tint val="75000"/>
                  </a:srgbClr>
                </a:solidFill>
                <a:latin typeface="Arial"/>
              </a:rPr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  <a:latin typeface="Arial"/>
              </a:rPr>
              <a:pPr/>
              <a:t>‹#›</a:t>
            </a:fld>
            <a:endParaRPr lang="en-US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65501507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  <a:latin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717074">
                    <a:tint val="75000"/>
                  </a:srgbClr>
                </a:solidFill>
                <a:latin typeface="Arial"/>
              </a:rPr>
              <a:t>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  <a:latin typeface="Arial"/>
              </a:rPr>
              <a:pPr/>
              <a:t>‹#›</a:t>
            </a:fld>
            <a:endParaRPr lang="en-US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11755657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6782F443-93A0-4919-89E7-37E501919603}"/>
              </a:ext>
            </a:extLst>
          </p:cNvPr>
          <p:cNvSpPr/>
          <p:nvPr/>
        </p:nvSpPr>
        <p:spPr>
          <a:xfrm rot="2700000">
            <a:off x="1531792" y="-2581332"/>
            <a:ext cx="3206987" cy="9626036"/>
          </a:xfrm>
          <a:custGeom>
            <a:avLst/>
            <a:gdLst>
              <a:gd name="connsiteX0" fmla="*/ 3621 w 3204432"/>
              <a:gd name="connsiteY0" fmla="*/ 3200811 h 9623529"/>
              <a:gd name="connsiteX1" fmla="*/ 3204432 w 3204432"/>
              <a:gd name="connsiteY1" fmla="*/ 0 h 9623529"/>
              <a:gd name="connsiteX2" fmla="*/ 3204432 w 3204432"/>
              <a:gd name="connsiteY2" fmla="*/ 8389488 h 9623529"/>
              <a:gd name="connsiteX3" fmla="*/ 3197162 w 3204432"/>
              <a:gd name="connsiteY3" fmla="*/ 8389488 h 9623529"/>
              <a:gd name="connsiteX4" fmla="*/ 3201565 w 3204432"/>
              <a:gd name="connsiteY4" fmla="*/ 8393890 h 9623529"/>
              <a:gd name="connsiteX5" fmla="*/ 1971926 w 3204432"/>
              <a:gd name="connsiteY5" fmla="*/ 9623529 h 9623529"/>
              <a:gd name="connsiteX6" fmla="*/ 0 w 3204432"/>
              <a:gd name="connsiteY6" fmla="*/ 7651603 h 9623529"/>
              <a:gd name="connsiteX7" fmla="*/ 3621 w 3204432"/>
              <a:gd name="connsiteY7" fmla="*/ 7647982 h 9623529"/>
              <a:gd name="connsiteX8" fmla="*/ 3621 w 3204432"/>
              <a:gd name="connsiteY8" fmla="*/ 3200811 h 9623529"/>
              <a:gd name="connsiteX0" fmla="*/ 3621 w 3206055"/>
              <a:gd name="connsiteY0" fmla="*/ 3200811 h 9623529"/>
              <a:gd name="connsiteX1" fmla="*/ 3204432 w 3206055"/>
              <a:gd name="connsiteY1" fmla="*/ 0 h 9623529"/>
              <a:gd name="connsiteX2" fmla="*/ 3204432 w 3206055"/>
              <a:gd name="connsiteY2" fmla="*/ 8389488 h 9623529"/>
              <a:gd name="connsiteX3" fmla="*/ 3197162 w 3206055"/>
              <a:gd name="connsiteY3" fmla="*/ 8389488 h 9623529"/>
              <a:gd name="connsiteX4" fmla="*/ 3206055 w 3206055"/>
              <a:gd name="connsiteY4" fmla="*/ 9386208 h 9623529"/>
              <a:gd name="connsiteX5" fmla="*/ 1971926 w 3206055"/>
              <a:gd name="connsiteY5" fmla="*/ 9623529 h 9623529"/>
              <a:gd name="connsiteX6" fmla="*/ 0 w 3206055"/>
              <a:gd name="connsiteY6" fmla="*/ 7651603 h 9623529"/>
              <a:gd name="connsiteX7" fmla="*/ 3621 w 3206055"/>
              <a:gd name="connsiteY7" fmla="*/ 7647982 h 9623529"/>
              <a:gd name="connsiteX8" fmla="*/ 3621 w 3206055"/>
              <a:gd name="connsiteY8" fmla="*/ 3200811 h 9623529"/>
              <a:gd name="connsiteX0" fmla="*/ 3621 w 3206987"/>
              <a:gd name="connsiteY0" fmla="*/ 3200811 h 9623529"/>
              <a:gd name="connsiteX1" fmla="*/ 3204432 w 3206987"/>
              <a:gd name="connsiteY1" fmla="*/ 0 h 9623529"/>
              <a:gd name="connsiteX2" fmla="*/ 3204432 w 3206987"/>
              <a:gd name="connsiteY2" fmla="*/ 8389488 h 9623529"/>
              <a:gd name="connsiteX3" fmla="*/ 3206142 w 3206987"/>
              <a:gd name="connsiteY3" fmla="*/ 8407448 h 9623529"/>
              <a:gd name="connsiteX4" fmla="*/ 3206055 w 3206987"/>
              <a:gd name="connsiteY4" fmla="*/ 9386208 h 9623529"/>
              <a:gd name="connsiteX5" fmla="*/ 1971926 w 3206987"/>
              <a:gd name="connsiteY5" fmla="*/ 9623529 h 9623529"/>
              <a:gd name="connsiteX6" fmla="*/ 0 w 3206987"/>
              <a:gd name="connsiteY6" fmla="*/ 7651603 h 9623529"/>
              <a:gd name="connsiteX7" fmla="*/ 3621 w 3206987"/>
              <a:gd name="connsiteY7" fmla="*/ 7647982 h 9623529"/>
              <a:gd name="connsiteX8" fmla="*/ 3621 w 3206987"/>
              <a:gd name="connsiteY8" fmla="*/ 3200811 h 9623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206987" h="9623529">
                <a:moveTo>
                  <a:pt x="3621" y="3200811"/>
                </a:moveTo>
                <a:lnTo>
                  <a:pt x="3204432" y="0"/>
                </a:lnTo>
                <a:lnTo>
                  <a:pt x="3204432" y="8389488"/>
                </a:lnTo>
                <a:lnTo>
                  <a:pt x="3206142" y="8407448"/>
                </a:lnTo>
                <a:cubicBezTo>
                  <a:pt x="3209106" y="8739688"/>
                  <a:pt x="3203091" y="9053968"/>
                  <a:pt x="3206055" y="9386208"/>
                </a:cubicBezTo>
                <a:lnTo>
                  <a:pt x="1971926" y="9623529"/>
                </a:lnTo>
                <a:lnTo>
                  <a:pt x="0" y="7651603"/>
                </a:lnTo>
                <a:lnTo>
                  <a:pt x="3621" y="7647982"/>
                </a:lnTo>
                <a:lnTo>
                  <a:pt x="3621" y="3200811"/>
                </a:lnTo>
                <a:close/>
              </a:path>
            </a:pathLst>
          </a:custGeom>
          <a:gradFill>
            <a:gsLst>
              <a:gs pos="24000">
                <a:schemeClr val="accent4"/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72DCDC53-603A-40A5-A8CC-0073D40D11EF}"/>
              </a:ext>
            </a:extLst>
          </p:cNvPr>
          <p:cNvSpPr/>
          <p:nvPr/>
        </p:nvSpPr>
        <p:spPr>
          <a:xfrm rot="2700000">
            <a:off x="1633012" y="1229961"/>
            <a:ext cx="3535790" cy="7516105"/>
          </a:xfrm>
          <a:custGeom>
            <a:avLst/>
            <a:gdLst>
              <a:gd name="connsiteX0" fmla="*/ 0 w 3535790"/>
              <a:gd name="connsiteY0" fmla="*/ 0 h 7514148"/>
              <a:gd name="connsiteX1" fmla="*/ 3535790 w 3535790"/>
              <a:gd name="connsiteY1" fmla="*/ 0 h 7514148"/>
              <a:gd name="connsiteX2" fmla="*/ 3535790 w 3535790"/>
              <a:gd name="connsiteY2" fmla="*/ 4642648 h 7514148"/>
              <a:gd name="connsiteX3" fmla="*/ 706090 w 3535790"/>
              <a:gd name="connsiteY3" fmla="*/ 7514148 h 7514148"/>
              <a:gd name="connsiteX4" fmla="*/ 0 w 3535790"/>
              <a:gd name="connsiteY4" fmla="*/ 6808058 h 7514148"/>
              <a:gd name="connsiteX5" fmla="*/ 0 w 3535790"/>
              <a:gd name="connsiteY5" fmla="*/ 0 h 7514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35790" h="7514148">
                <a:moveTo>
                  <a:pt x="0" y="0"/>
                </a:moveTo>
                <a:lnTo>
                  <a:pt x="3535790" y="0"/>
                </a:lnTo>
                <a:lnTo>
                  <a:pt x="3535790" y="4642648"/>
                </a:lnTo>
                <a:lnTo>
                  <a:pt x="706090" y="7514148"/>
                </a:lnTo>
                <a:lnTo>
                  <a:pt x="0" y="680805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143">
                <a:schemeClr val="bg1">
                  <a:alpha val="0"/>
                </a:schemeClr>
              </a:gs>
              <a:gs pos="14000">
                <a:schemeClr val="bg1">
                  <a:alpha val="0"/>
                </a:schemeClr>
              </a:gs>
              <a:gs pos="72000">
                <a:schemeClr val="accent1"/>
              </a:gs>
            </a:gsLst>
            <a:lin ang="4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94666" y="1582578"/>
            <a:ext cx="4997704" cy="1234440"/>
          </a:xfrm>
        </p:spPr>
        <p:txBody>
          <a:bodyPr wrap="square" anchor="b"/>
          <a:lstStyle>
            <a:lvl1pPr algn="l">
              <a:defRPr sz="4000" b="0"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8" name="Subtitle 2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594665" y="2867280"/>
            <a:ext cx="5117785" cy="4164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accent4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EA43E1E-B208-4DC4-9D6A-01669D00DA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94665" y="4737426"/>
            <a:ext cx="3658553" cy="355601"/>
          </a:xfrm>
        </p:spPr>
        <p:txBody>
          <a:bodyPr anchor="b"/>
          <a:lstStyle>
            <a:lvl1pPr algn="l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29" name="Text Placeholder 6">
            <a:extLst>
              <a:ext uri="{FF2B5EF4-FFF2-40B4-BE49-F238E27FC236}">
                <a16:creationId xmlns:a16="http://schemas.microsoft.com/office/drawing/2014/main" id="{2111BB8B-7B37-4FB4-B2CD-984FE1C6C5E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94665" y="5138746"/>
            <a:ext cx="3658553" cy="355601"/>
          </a:xfrm>
        </p:spPr>
        <p:txBody>
          <a:bodyPr/>
          <a:lstStyle>
            <a:lvl1pPr algn="l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Role / Division at VMwa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8E7D54E-C753-48F7-AB43-C7A586277F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94665" y="5494347"/>
            <a:ext cx="3658553" cy="267221"/>
          </a:xfrm>
        </p:spPr>
        <p:txBody>
          <a:bodyPr/>
          <a:lstStyle>
            <a:lvl1pPr algn="l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71B1726-E7C5-4C32-A22F-BB8C0CA833E9}"/>
              </a:ext>
            </a:extLst>
          </p:cNvPr>
          <p:cNvGrpSpPr/>
          <p:nvPr/>
        </p:nvGrpSpPr>
        <p:grpSpPr>
          <a:xfrm>
            <a:off x="608171" y="6445106"/>
            <a:ext cx="1184706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0AEE4566-BDD0-43EB-8593-753B4AFC53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CDDDBBBD-2B47-4F32-9507-B47217AD31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9A63A2EB-B414-427C-8975-27B69B276D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4AFD0B14-399F-447F-BBDD-FF049C867FA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0778A2AC-9D1D-4FDB-973A-47DEA98860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52873CFF-17A0-467C-B061-5E3FD5E92C7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C351EEF9-CE8C-4948-8867-FDC697419B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576FCBCF-AFA0-4D2E-AF64-919BFE9B44B8}"/>
              </a:ext>
            </a:extLst>
          </p:cNvPr>
          <p:cNvSpPr txBox="1"/>
          <p:nvPr/>
        </p:nvSpPr>
        <p:spPr bwMode="white">
          <a:xfrm flipH="1">
            <a:off x="2074133" y="6506318"/>
            <a:ext cx="172933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fidential   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©2019 VMware, Inc.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3" name="Ink 2">
                <a:extLst>
                  <a:ext uri="{FF2B5EF4-FFF2-40B4-BE49-F238E27FC236}">
                    <a16:creationId xmlns:a16="http://schemas.microsoft.com/office/drawing/2014/main" id="{229416F8-1B20-4892-97FA-108F191A5885}"/>
                  </a:ext>
                </a:extLst>
              </p14:cNvPr>
              <p14:cNvContentPartPr/>
              <p14:nvPr/>
            </p14:nvContentPartPr>
            <p14:xfrm>
              <a:off x="9862161" y="4881179"/>
              <a:ext cx="240" cy="240"/>
            </p14:xfrm>
          </p:contentPart>
        </mc:Choice>
        <mc:Fallback xmlns="">
          <p:pic>
            <p:nvPicPr>
              <p:cNvPr id="3" name="Ink 2">
                <a:extLst>
                  <a:ext uri="{FF2B5EF4-FFF2-40B4-BE49-F238E27FC236}">
                    <a16:creationId xmlns:a16="http://schemas.microsoft.com/office/drawing/2014/main" id="{229416F8-1B20-4892-97FA-108F191A5885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9858081" y="4877099"/>
                <a:ext cx="7920" cy="79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917350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1371600"/>
            <a:ext cx="12192000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14" y="4953000"/>
            <a:ext cx="10972801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111049-A980-9A4B-BDCF-935BD3D35A43}" type="datetimeFigureOut">
              <a:rPr lang="en-US" smtClean="0"/>
              <a:t>24-Sep-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9C9BFC-FCFF-7247-B387-15C2934714B0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wipe dir="r"/>
      </p:transition>
    </mc:Choice>
    <mc:Fallback xmlns="">
      <p:transition xmlns:p14="http://schemas.microsoft.com/office/powerpoint/2010/main" spd="slow">
        <p:wipe dir="r"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– Plu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1F68A354-4C62-4F2A-9CB5-8CD9B953F237}"/>
              </a:ext>
            </a:extLst>
          </p:cNvPr>
          <p:cNvSpPr/>
          <p:nvPr/>
        </p:nvSpPr>
        <p:spPr>
          <a:xfrm rot="2700000">
            <a:off x="1531792" y="-2581332"/>
            <a:ext cx="3206987" cy="9626036"/>
          </a:xfrm>
          <a:custGeom>
            <a:avLst/>
            <a:gdLst>
              <a:gd name="connsiteX0" fmla="*/ 3621 w 3204432"/>
              <a:gd name="connsiteY0" fmla="*/ 3200811 h 9623529"/>
              <a:gd name="connsiteX1" fmla="*/ 3204432 w 3204432"/>
              <a:gd name="connsiteY1" fmla="*/ 0 h 9623529"/>
              <a:gd name="connsiteX2" fmla="*/ 3204432 w 3204432"/>
              <a:gd name="connsiteY2" fmla="*/ 8389488 h 9623529"/>
              <a:gd name="connsiteX3" fmla="*/ 3197162 w 3204432"/>
              <a:gd name="connsiteY3" fmla="*/ 8389488 h 9623529"/>
              <a:gd name="connsiteX4" fmla="*/ 3201565 w 3204432"/>
              <a:gd name="connsiteY4" fmla="*/ 8393890 h 9623529"/>
              <a:gd name="connsiteX5" fmla="*/ 1971926 w 3204432"/>
              <a:gd name="connsiteY5" fmla="*/ 9623529 h 9623529"/>
              <a:gd name="connsiteX6" fmla="*/ 0 w 3204432"/>
              <a:gd name="connsiteY6" fmla="*/ 7651603 h 9623529"/>
              <a:gd name="connsiteX7" fmla="*/ 3621 w 3204432"/>
              <a:gd name="connsiteY7" fmla="*/ 7647982 h 9623529"/>
              <a:gd name="connsiteX8" fmla="*/ 3621 w 3204432"/>
              <a:gd name="connsiteY8" fmla="*/ 3200811 h 9623529"/>
              <a:gd name="connsiteX0" fmla="*/ 3621 w 3206055"/>
              <a:gd name="connsiteY0" fmla="*/ 3200811 h 9623529"/>
              <a:gd name="connsiteX1" fmla="*/ 3204432 w 3206055"/>
              <a:gd name="connsiteY1" fmla="*/ 0 h 9623529"/>
              <a:gd name="connsiteX2" fmla="*/ 3204432 w 3206055"/>
              <a:gd name="connsiteY2" fmla="*/ 8389488 h 9623529"/>
              <a:gd name="connsiteX3" fmla="*/ 3197162 w 3206055"/>
              <a:gd name="connsiteY3" fmla="*/ 8389488 h 9623529"/>
              <a:gd name="connsiteX4" fmla="*/ 3206055 w 3206055"/>
              <a:gd name="connsiteY4" fmla="*/ 9386208 h 9623529"/>
              <a:gd name="connsiteX5" fmla="*/ 1971926 w 3206055"/>
              <a:gd name="connsiteY5" fmla="*/ 9623529 h 9623529"/>
              <a:gd name="connsiteX6" fmla="*/ 0 w 3206055"/>
              <a:gd name="connsiteY6" fmla="*/ 7651603 h 9623529"/>
              <a:gd name="connsiteX7" fmla="*/ 3621 w 3206055"/>
              <a:gd name="connsiteY7" fmla="*/ 7647982 h 9623529"/>
              <a:gd name="connsiteX8" fmla="*/ 3621 w 3206055"/>
              <a:gd name="connsiteY8" fmla="*/ 3200811 h 9623529"/>
              <a:gd name="connsiteX0" fmla="*/ 3621 w 3206987"/>
              <a:gd name="connsiteY0" fmla="*/ 3200811 h 9623529"/>
              <a:gd name="connsiteX1" fmla="*/ 3204432 w 3206987"/>
              <a:gd name="connsiteY1" fmla="*/ 0 h 9623529"/>
              <a:gd name="connsiteX2" fmla="*/ 3204432 w 3206987"/>
              <a:gd name="connsiteY2" fmla="*/ 8389488 h 9623529"/>
              <a:gd name="connsiteX3" fmla="*/ 3206142 w 3206987"/>
              <a:gd name="connsiteY3" fmla="*/ 8407448 h 9623529"/>
              <a:gd name="connsiteX4" fmla="*/ 3206055 w 3206987"/>
              <a:gd name="connsiteY4" fmla="*/ 9386208 h 9623529"/>
              <a:gd name="connsiteX5" fmla="*/ 1971926 w 3206987"/>
              <a:gd name="connsiteY5" fmla="*/ 9623529 h 9623529"/>
              <a:gd name="connsiteX6" fmla="*/ 0 w 3206987"/>
              <a:gd name="connsiteY6" fmla="*/ 7651603 h 9623529"/>
              <a:gd name="connsiteX7" fmla="*/ 3621 w 3206987"/>
              <a:gd name="connsiteY7" fmla="*/ 7647982 h 9623529"/>
              <a:gd name="connsiteX8" fmla="*/ 3621 w 3206987"/>
              <a:gd name="connsiteY8" fmla="*/ 3200811 h 9623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206987" h="9623529">
                <a:moveTo>
                  <a:pt x="3621" y="3200811"/>
                </a:moveTo>
                <a:lnTo>
                  <a:pt x="3204432" y="0"/>
                </a:lnTo>
                <a:lnTo>
                  <a:pt x="3204432" y="8389488"/>
                </a:lnTo>
                <a:lnTo>
                  <a:pt x="3206142" y="8407448"/>
                </a:lnTo>
                <a:cubicBezTo>
                  <a:pt x="3209106" y="8739688"/>
                  <a:pt x="3203091" y="9053968"/>
                  <a:pt x="3206055" y="9386208"/>
                </a:cubicBezTo>
                <a:lnTo>
                  <a:pt x="1971926" y="9623529"/>
                </a:lnTo>
                <a:lnTo>
                  <a:pt x="0" y="7651603"/>
                </a:lnTo>
                <a:lnTo>
                  <a:pt x="3621" y="7647982"/>
                </a:lnTo>
                <a:lnTo>
                  <a:pt x="3621" y="3200811"/>
                </a:lnTo>
                <a:close/>
              </a:path>
            </a:pathLst>
          </a:custGeom>
          <a:gradFill>
            <a:gsLst>
              <a:gs pos="24000">
                <a:srgbClr val="7F35AB"/>
              </a:gs>
              <a:gs pos="87000">
                <a:srgbClr val="264088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C835AD62-92DE-42CB-A787-503E2A1C1C7A}"/>
              </a:ext>
            </a:extLst>
          </p:cNvPr>
          <p:cNvSpPr/>
          <p:nvPr/>
        </p:nvSpPr>
        <p:spPr>
          <a:xfrm rot="2700000">
            <a:off x="1633012" y="1229961"/>
            <a:ext cx="3535790" cy="7516105"/>
          </a:xfrm>
          <a:custGeom>
            <a:avLst/>
            <a:gdLst>
              <a:gd name="connsiteX0" fmla="*/ 0 w 3535790"/>
              <a:gd name="connsiteY0" fmla="*/ 0 h 7514148"/>
              <a:gd name="connsiteX1" fmla="*/ 3535790 w 3535790"/>
              <a:gd name="connsiteY1" fmla="*/ 0 h 7514148"/>
              <a:gd name="connsiteX2" fmla="*/ 3535790 w 3535790"/>
              <a:gd name="connsiteY2" fmla="*/ 4642648 h 7514148"/>
              <a:gd name="connsiteX3" fmla="*/ 706090 w 3535790"/>
              <a:gd name="connsiteY3" fmla="*/ 7514148 h 7514148"/>
              <a:gd name="connsiteX4" fmla="*/ 0 w 3535790"/>
              <a:gd name="connsiteY4" fmla="*/ 6808058 h 7514148"/>
              <a:gd name="connsiteX5" fmla="*/ 0 w 3535790"/>
              <a:gd name="connsiteY5" fmla="*/ 0 h 7514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35790" h="7514148">
                <a:moveTo>
                  <a:pt x="0" y="0"/>
                </a:moveTo>
                <a:lnTo>
                  <a:pt x="3535790" y="0"/>
                </a:lnTo>
                <a:lnTo>
                  <a:pt x="3535790" y="4642648"/>
                </a:lnTo>
                <a:lnTo>
                  <a:pt x="706090" y="7514148"/>
                </a:lnTo>
                <a:lnTo>
                  <a:pt x="0" y="680805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8580">
                <a:srgbClr val="0286CD">
                  <a:alpha val="0"/>
                </a:srgbClr>
              </a:gs>
              <a:gs pos="0">
                <a:schemeClr val="accent1">
                  <a:alpha val="0"/>
                </a:schemeClr>
              </a:gs>
              <a:gs pos="78000">
                <a:schemeClr val="accent2">
                  <a:lumMod val="75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94666" y="1582578"/>
            <a:ext cx="4997704" cy="1234440"/>
          </a:xfrm>
        </p:spPr>
        <p:txBody>
          <a:bodyPr wrap="square" anchor="b"/>
          <a:lstStyle>
            <a:lvl1pPr algn="l">
              <a:defRPr sz="4000" b="0"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8" name="Subtitle 2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594665" y="2871217"/>
            <a:ext cx="5117785" cy="4164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EA43E1E-B208-4DC4-9D6A-01669D00DA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94665" y="4737426"/>
            <a:ext cx="3658553" cy="355601"/>
          </a:xfrm>
        </p:spPr>
        <p:txBody>
          <a:bodyPr anchor="b"/>
          <a:lstStyle>
            <a:lvl1pPr algn="l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29" name="Text Placeholder 6">
            <a:extLst>
              <a:ext uri="{FF2B5EF4-FFF2-40B4-BE49-F238E27FC236}">
                <a16:creationId xmlns:a16="http://schemas.microsoft.com/office/drawing/2014/main" id="{2111BB8B-7B37-4FB4-B2CD-984FE1C6C5E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94665" y="5138746"/>
            <a:ext cx="3658553" cy="355601"/>
          </a:xfrm>
        </p:spPr>
        <p:txBody>
          <a:bodyPr/>
          <a:lstStyle>
            <a:lvl1pPr algn="l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Role / Division at VMwa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8E7D54E-C753-48F7-AB43-C7A586277F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94665" y="5494345"/>
            <a:ext cx="3658553" cy="265176"/>
          </a:xfrm>
        </p:spPr>
        <p:txBody>
          <a:bodyPr/>
          <a:lstStyle>
            <a:lvl1pPr algn="l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71B1726-E7C5-4C32-A22F-BB8C0CA833E9}"/>
              </a:ext>
            </a:extLst>
          </p:cNvPr>
          <p:cNvGrpSpPr/>
          <p:nvPr/>
        </p:nvGrpSpPr>
        <p:grpSpPr>
          <a:xfrm>
            <a:off x="608171" y="6445106"/>
            <a:ext cx="1184706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0AEE4566-BDD0-43EB-8593-753B4AFC53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CDDDBBBD-2B47-4F32-9507-B47217AD31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9A63A2EB-B414-427C-8975-27B69B276D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4AFD0B14-399F-447F-BBDD-FF049C867FA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0778A2AC-9D1D-4FDB-973A-47DEA98860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52873CFF-17A0-467C-B061-5E3FD5E92C7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C351EEF9-CE8C-4948-8867-FDC697419B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576FCBCF-AFA0-4D2E-AF64-919BFE9B44B8}"/>
              </a:ext>
            </a:extLst>
          </p:cNvPr>
          <p:cNvSpPr txBox="1"/>
          <p:nvPr/>
        </p:nvSpPr>
        <p:spPr bwMode="white">
          <a:xfrm flipH="1">
            <a:off x="2074133" y="6506318"/>
            <a:ext cx="172933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fidential   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©2019 VMware, Inc.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3" name="Ink 2">
                <a:extLst>
                  <a:ext uri="{FF2B5EF4-FFF2-40B4-BE49-F238E27FC236}">
                    <a16:creationId xmlns:a16="http://schemas.microsoft.com/office/drawing/2014/main" id="{229416F8-1B20-4892-97FA-108F191A5885}"/>
                  </a:ext>
                </a:extLst>
              </p14:cNvPr>
              <p14:cNvContentPartPr/>
              <p14:nvPr/>
            </p14:nvContentPartPr>
            <p14:xfrm>
              <a:off x="9862161" y="4881179"/>
              <a:ext cx="240" cy="240"/>
            </p14:xfrm>
          </p:contentPart>
        </mc:Choice>
        <mc:Fallback xmlns="">
          <p:pic>
            <p:nvPicPr>
              <p:cNvPr id="3" name="Ink 2">
                <a:extLst>
                  <a:ext uri="{FF2B5EF4-FFF2-40B4-BE49-F238E27FC236}">
                    <a16:creationId xmlns:a16="http://schemas.microsoft.com/office/drawing/2014/main" id="{229416F8-1B20-4892-97FA-108F191A5885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9858081" y="4877099"/>
                <a:ext cx="7920" cy="79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018668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–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BCB68143-A247-4F5B-9173-3D82D6706BFE}"/>
              </a:ext>
            </a:extLst>
          </p:cNvPr>
          <p:cNvSpPr/>
          <p:nvPr/>
        </p:nvSpPr>
        <p:spPr>
          <a:xfrm rot="2700000">
            <a:off x="1531792" y="-2581332"/>
            <a:ext cx="3206987" cy="9626036"/>
          </a:xfrm>
          <a:custGeom>
            <a:avLst/>
            <a:gdLst>
              <a:gd name="connsiteX0" fmla="*/ 3621 w 3204432"/>
              <a:gd name="connsiteY0" fmla="*/ 3200811 h 9623529"/>
              <a:gd name="connsiteX1" fmla="*/ 3204432 w 3204432"/>
              <a:gd name="connsiteY1" fmla="*/ 0 h 9623529"/>
              <a:gd name="connsiteX2" fmla="*/ 3204432 w 3204432"/>
              <a:gd name="connsiteY2" fmla="*/ 8389488 h 9623529"/>
              <a:gd name="connsiteX3" fmla="*/ 3197162 w 3204432"/>
              <a:gd name="connsiteY3" fmla="*/ 8389488 h 9623529"/>
              <a:gd name="connsiteX4" fmla="*/ 3201565 w 3204432"/>
              <a:gd name="connsiteY4" fmla="*/ 8393890 h 9623529"/>
              <a:gd name="connsiteX5" fmla="*/ 1971926 w 3204432"/>
              <a:gd name="connsiteY5" fmla="*/ 9623529 h 9623529"/>
              <a:gd name="connsiteX6" fmla="*/ 0 w 3204432"/>
              <a:gd name="connsiteY6" fmla="*/ 7651603 h 9623529"/>
              <a:gd name="connsiteX7" fmla="*/ 3621 w 3204432"/>
              <a:gd name="connsiteY7" fmla="*/ 7647982 h 9623529"/>
              <a:gd name="connsiteX8" fmla="*/ 3621 w 3204432"/>
              <a:gd name="connsiteY8" fmla="*/ 3200811 h 9623529"/>
              <a:gd name="connsiteX0" fmla="*/ 3621 w 3206055"/>
              <a:gd name="connsiteY0" fmla="*/ 3200811 h 9623529"/>
              <a:gd name="connsiteX1" fmla="*/ 3204432 w 3206055"/>
              <a:gd name="connsiteY1" fmla="*/ 0 h 9623529"/>
              <a:gd name="connsiteX2" fmla="*/ 3204432 w 3206055"/>
              <a:gd name="connsiteY2" fmla="*/ 8389488 h 9623529"/>
              <a:gd name="connsiteX3" fmla="*/ 3197162 w 3206055"/>
              <a:gd name="connsiteY3" fmla="*/ 8389488 h 9623529"/>
              <a:gd name="connsiteX4" fmla="*/ 3206055 w 3206055"/>
              <a:gd name="connsiteY4" fmla="*/ 9386208 h 9623529"/>
              <a:gd name="connsiteX5" fmla="*/ 1971926 w 3206055"/>
              <a:gd name="connsiteY5" fmla="*/ 9623529 h 9623529"/>
              <a:gd name="connsiteX6" fmla="*/ 0 w 3206055"/>
              <a:gd name="connsiteY6" fmla="*/ 7651603 h 9623529"/>
              <a:gd name="connsiteX7" fmla="*/ 3621 w 3206055"/>
              <a:gd name="connsiteY7" fmla="*/ 7647982 h 9623529"/>
              <a:gd name="connsiteX8" fmla="*/ 3621 w 3206055"/>
              <a:gd name="connsiteY8" fmla="*/ 3200811 h 9623529"/>
              <a:gd name="connsiteX0" fmla="*/ 3621 w 3206987"/>
              <a:gd name="connsiteY0" fmla="*/ 3200811 h 9623529"/>
              <a:gd name="connsiteX1" fmla="*/ 3204432 w 3206987"/>
              <a:gd name="connsiteY1" fmla="*/ 0 h 9623529"/>
              <a:gd name="connsiteX2" fmla="*/ 3204432 w 3206987"/>
              <a:gd name="connsiteY2" fmla="*/ 8389488 h 9623529"/>
              <a:gd name="connsiteX3" fmla="*/ 3206142 w 3206987"/>
              <a:gd name="connsiteY3" fmla="*/ 8407448 h 9623529"/>
              <a:gd name="connsiteX4" fmla="*/ 3206055 w 3206987"/>
              <a:gd name="connsiteY4" fmla="*/ 9386208 h 9623529"/>
              <a:gd name="connsiteX5" fmla="*/ 1971926 w 3206987"/>
              <a:gd name="connsiteY5" fmla="*/ 9623529 h 9623529"/>
              <a:gd name="connsiteX6" fmla="*/ 0 w 3206987"/>
              <a:gd name="connsiteY6" fmla="*/ 7651603 h 9623529"/>
              <a:gd name="connsiteX7" fmla="*/ 3621 w 3206987"/>
              <a:gd name="connsiteY7" fmla="*/ 7647982 h 9623529"/>
              <a:gd name="connsiteX8" fmla="*/ 3621 w 3206987"/>
              <a:gd name="connsiteY8" fmla="*/ 3200811 h 9623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206987" h="9623529">
                <a:moveTo>
                  <a:pt x="3621" y="3200811"/>
                </a:moveTo>
                <a:lnTo>
                  <a:pt x="3204432" y="0"/>
                </a:lnTo>
                <a:lnTo>
                  <a:pt x="3204432" y="8389488"/>
                </a:lnTo>
                <a:lnTo>
                  <a:pt x="3206142" y="8407448"/>
                </a:lnTo>
                <a:cubicBezTo>
                  <a:pt x="3209106" y="8739688"/>
                  <a:pt x="3203091" y="9053968"/>
                  <a:pt x="3206055" y="9386208"/>
                </a:cubicBezTo>
                <a:lnTo>
                  <a:pt x="1971926" y="9623529"/>
                </a:lnTo>
                <a:lnTo>
                  <a:pt x="0" y="7651603"/>
                </a:lnTo>
                <a:lnTo>
                  <a:pt x="3621" y="7647982"/>
                </a:lnTo>
                <a:lnTo>
                  <a:pt x="3621" y="3200811"/>
                </a:lnTo>
                <a:close/>
              </a:path>
            </a:pathLst>
          </a:custGeom>
          <a:gradFill>
            <a:gsLst>
              <a:gs pos="24000">
                <a:schemeClr val="accent3"/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865D9BB8-44B7-4046-A859-7B01AD84E349}"/>
              </a:ext>
            </a:extLst>
          </p:cNvPr>
          <p:cNvSpPr/>
          <p:nvPr/>
        </p:nvSpPr>
        <p:spPr>
          <a:xfrm rot="2700000">
            <a:off x="1633012" y="1229961"/>
            <a:ext cx="3535790" cy="7516105"/>
          </a:xfrm>
          <a:custGeom>
            <a:avLst/>
            <a:gdLst>
              <a:gd name="connsiteX0" fmla="*/ 0 w 3535790"/>
              <a:gd name="connsiteY0" fmla="*/ 0 h 7514148"/>
              <a:gd name="connsiteX1" fmla="*/ 3535790 w 3535790"/>
              <a:gd name="connsiteY1" fmla="*/ 0 h 7514148"/>
              <a:gd name="connsiteX2" fmla="*/ 3535790 w 3535790"/>
              <a:gd name="connsiteY2" fmla="*/ 4642648 h 7514148"/>
              <a:gd name="connsiteX3" fmla="*/ 706090 w 3535790"/>
              <a:gd name="connsiteY3" fmla="*/ 7514148 h 7514148"/>
              <a:gd name="connsiteX4" fmla="*/ 0 w 3535790"/>
              <a:gd name="connsiteY4" fmla="*/ 6808058 h 7514148"/>
              <a:gd name="connsiteX5" fmla="*/ 0 w 3535790"/>
              <a:gd name="connsiteY5" fmla="*/ 0 h 7514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35790" h="7514148">
                <a:moveTo>
                  <a:pt x="0" y="0"/>
                </a:moveTo>
                <a:lnTo>
                  <a:pt x="3535790" y="0"/>
                </a:lnTo>
                <a:lnTo>
                  <a:pt x="3535790" y="4642648"/>
                </a:lnTo>
                <a:lnTo>
                  <a:pt x="706090" y="7514148"/>
                </a:lnTo>
                <a:lnTo>
                  <a:pt x="0" y="680805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143">
                <a:schemeClr val="bg1">
                  <a:alpha val="0"/>
                </a:schemeClr>
              </a:gs>
              <a:gs pos="14000">
                <a:schemeClr val="bg1">
                  <a:alpha val="0"/>
                </a:schemeClr>
              </a:gs>
              <a:gs pos="72000">
                <a:schemeClr val="accent1"/>
              </a:gs>
            </a:gsLst>
            <a:lin ang="4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94666" y="1582578"/>
            <a:ext cx="4997704" cy="1234440"/>
          </a:xfrm>
        </p:spPr>
        <p:txBody>
          <a:bodyPr wrap="square" anchor="b"/>
          <a:lstStyle>
            <a:lvl1pPr algn="l">
              <a:defRPr sz="4000" b="0"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8" name="Subtitle 2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594665" y="2871217"/>
            <a:ext cx="5117785" cy="4164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EA43E1E-B208-4DC4-9D6A-01669D00DA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94665" y="4737426"/>
            <a:ext cx="3658553" cy="355601"/>
          </a:xfrm>
        </p:spPr>
        <p:txBody>
          <a:bodyPr anchor="b"/>
          <a:lstStyle>
            <a:lvl1pPr algn="l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29" name="Text Placeholder 6">
            <a:extLst>
              <a:ext uri="{FF2B5EF4-FFF2-40B4-BE49-F238E27FC236}">
                <a16:creationId xmlns:a16="http://schemas.microsoft.com/office/drawing/2014/main" id="{2111BB8B-7B37-4FB4-B2CD-984FE1C6C5E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94665" y="5138746"/>
            <a:ext cx="3658553" cy="355601"/>
          </a:xfrm>
        </p:spPr>
        <p:txBody>
          <a:bodyPr/>
          <a:lstStyle>
            <a:lvl1pPr algn="l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Role / Division at VMwa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8E7D54E-C753-48F7-AB43-C7A586277F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94665" y="5494345"/>
            <a:ext cx="3658553" cy="265176"/>
          </a:xfrm>
        </p:spPr>
        <p:txBody>
          <a:bodyPr/>
          <a:lstStyle>
            <a:lvl1pPr algn="l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71B1726-E7C5-4C32-A22F-BB8C0CA833E9}"/>
              </a:ext>
            </a:extLst>
          </p:cNvPr>
          <p:cNvGrpSpPr/>
          <p:nvPr/>
        </p:nvGrpSpPr>
        <p:grpSpPr>
          <a:xfrm>
            <a:off x="608171" y="6445106"/>
            <a:ext cx="1184706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0AEE4566-BDD0-43EB-8593-753B4AFC53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CDDDBBBD-2B47-4F32-9507-B47217AD31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9A63A2EB-B414-427C-8975-27B69B276D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4AFD0B14-399F-447F-BBDD-FF049C867FA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0778A2AC-9D1D-4FDB-973A-47DEA98860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52873CFF-17A0-467C-B061-5E3FD5E92C7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C351EEF9-CE8C-4948-8867-FDC697419B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576FCBCF-AFA0-4D2E-AF64-919BFE9B44B8}"/>
              </a:ext>
            </a:extLst>
          </p:cNvPr>
          <p:cNvSpPr txBox="1"/>
          <p:nvPr/>
        </p:nvSpPr>
        <p:spPr bwMode="white">
          <a:xfrm flipH="1">
            <a:off x="2074133" y="6506318"/>
            <a:ext cx="172933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fidential   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©2019 VMware, Inc.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3" name="Ink 2">
                <a:extLst>
                  <a:ext uri="{FF2B5EF4-FFF2-40B4-BE49-F238E27FC236}">
                    <a16:creationId xmlns:a16="http://schemas.microsoft.com/office/drawing/2014/main" id="{229416F8-1B20-4892-97FA-108F191A5885}"/>
                  </a:ext>
                </a:extLst>
              </p14:cNvPr>
              <p14:cNvContentPartPr/>
              <p14:nvPr/>
            </p14:nvContentPartPr>
            <p14:xfrm>
              <a:off x="9862161" y="4881179"/>
              <a:ext cx="240" cy="240"/>
            </p14:xfrm>
          </p:contentPart>
        </mc:Choice>
        <mc:Fallback xmlns="">
          <p:pic>
            <p:nvPicPr>
              <p:cNvPr id="3" name="Ink 2">
                <a:extLst>
                  <a:ext uri="{FF2B5EF4-FFF2-40B4-BE49-F238E27FC236}">
                    <a16:creationId xmlns:a16="http://schemas.microsoft.com/office/drawing/2014/main" id="{229416F8-1B20-4892-97FA-108F191A5885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9858081" y="4877099"/>
                <a:ext cx="7920" cy="79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763257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6" name="TextBox 755">
            <a:extLst>
              <a:ext uri="{FF2B5EF4-FFF2-40B4-BE49-F238E27FC236}">
                <a16:creationId xmlns:a16="http://schemas.microsoft.com/office/drawing/2014/main" id="{2387BAEF-04D4-4DE9-B7A0-5B5AD8C8A831}"/>
              </a:ext>
            </a:extLst>
          </p:cNvPr>
          <p:cNvSpPr txBox="1"/>
          <p:nvPr/>
        </p:nvSpPr>
        <p:spPr>
          <a:xfrm>
            <a:off x="608171" y="1261595"/>
            <a:ext cx="1934368" cy="53489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3200" dirty="0">
                <a:solidFill>
                  <a:schemeClr val="accent2"/>
                </a:solidFill>
                <a:latin typeface="+mj-lt"/>
              </a:rPr>
              <a:t>Agenda</a:t>
            </a:r>
          </a:p>
        </p:txBody>
      </p:sp>
      <p:sp>
        <p:nvSpPr>
          <p:cNvPr id="730" name="TextBox 729">
            <a:extLst>
              <a:ext uri="{FF2B5EF4-FFF2-40B4-BE49-F238E27FC236}">
                <a16:creationId xmlns:a16="http://schemas.microsoft.com/office/drawing/2014/main" id="{AB8D1A6B-3CE6-468D-804E-6300F8B6DC81}"/>
              </a:ext>
            </a:extLst>
          </p:cNvPr>
          <p:cNvSpPr txBox="1"/>
          <p:nvPr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6" name="Text Placeholder 757">
            <a:extLst>
              <a:ext uri="{FF2B5EF4-FFF2-40B4-BE49-F238E27FC236}">
                <a16:creationId xmlns:a16="http://schemas.microsoft.com/office/drawing/2014/main" id="{B29EB907-51A5-4D60-B03A-85DECB7627F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94767" y="1359908"/>
            <a:ext cx="7317105" cy="4322783"/>
          </a:xfrm>
        </p:spPr>
        <p:txBody>
          <a:bodyPr anchor="t"/>
          <a:lstStyle>
            <a:lvl1pPr marL="0" indent="0">
              <a:spcBef>
                <a:spcPts val="1800"/>
              </a:spcBef>
              <a:buClr>
                <a:schemeClr val="accent2"/>
              </a:buClr>
              <a:buFont typeface="Open Sans" panose="020B0606030504020204" pitchFamily="34" charset="0"/>
              <a:buChar char="​"/>
              <a:defRPr>
                <a:solidFill>
                  <a:schemeClr val="accent4"/>
                </a:solidFill>
              </a:defRPr>
            </a:lvl1pPr>
            <a:lvl2pPr marL="0" indent="0"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  <a:lvl3pPr marL="342900" indent="0">
              <a:buFont typeface="Open Sans" panose="020B0606030504020204" pitchFamily="34" charset="0"/>
              <a:buNone/>
              <a:defRPr sz="1800"/>
            </a:lvl3pPr>
            <a:lvl4pPr marL="342900" indent="0">
              <a:buFont typeface="Open Sans" panose="020B0606030504020204" pitchFamily="34" charset="0"/>
              <a:buChar char="​"/>
              <a:tabLst/>
              <a:defRPr sz="1800">
                <a:solidFill>
                  <a:schemeClr val="tx2"/>
                </a:solidFill>
              </a:defRPr>
            </a:lvl4pPr>
            <a:lvl5pPr marL="342900" indent="0">
              <a:buFont typeface="Open Sans" panose="020B0606030504020204" pitchFamily="34" charset="0"/>
              <a:buChar char="​"/>
              <a:tabLst/>
              <a:defRPr sz="1800">
                <a:solidFill>
                  <a:schemeClr val="tx2"/>
                </a:solidFill>
              </a:defRPr>
            </a:lvl5pPr>
            <a:lvl6pPr marL="342900" indent="0">
              <a:buFont typeface="Open Sans" panose="020B0606030504020204" pitchFamily="34" charset="0"/>
              <a:buChar char="​"/>
              <a:defRPr sz="1800">
                <a:solidFill>
                  <a:schemeClr val="tx2"/>
                </a:solidFill>
              </a:defRPr>
            </a:lvl6pPr>
            <a:lvl7pPr marL="342900" indent="0">
              <a:buFont typeface="Open Sans" panose="020B0606030504020204" pitchFamily="34" charset="0"/>
              <a:buChar char="​"/>
              <a:defRPr sz="1800">
                <a:solidFill>
                  <a:schemeClr val="tx2"/>
                </a:solidFill>
              </a:defRPr>
            </a:lvl7pPr>
            <a:lvl8pPr marL="342900" indent="0">
              <a:buFont typeface="Open Sans" panose="020B0606030504020204" pitchFamily="34" charset="0"/>
              <a:buChar char="​"/>
              <a:defRPr sz="1800">
                <a:solidFill>
                  <a:schemeClr val="tx2"/>
                </a:solidFill>
              </a:defRPr>
            </a:lvl8pPr>
            <a:lvl9pPr marL="342900" indent="0">
              <a:buFont typeface="Open Sans" panose="020B0606030504020204" pitchFamily="34" charset="0"/>
              <a:buChar char="​"/>
              <a:defRPr sz="18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4460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9262" y="938794"/>
            <a:ext cx="6429300" cy="1229360"/>
          </a:xfrm>
        </p:spPr>
        <p:txBody>
          <a:bodyPr wrap="square" anchor="b"/>
          <a:lstStyle>
            <a:lvl1pPr algn="l">
              <a:defRPr sz="36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28" name="Subtitle 2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03123" y="2270788"/>
            <a:ext cx="6410071" cy="70088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accent4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tex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E46B5F2-170B-43F3-865D-92F5CD3F3546}"/>
              </a:ext>
            </a:extLst>
          </p:cNvPr>
          <p:cNvSpPr txBox="1"/>
          <p:nvPr/>
        </p:nvSpPr>
        <p:spPr bwMode="white"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062DFBC-6461-46E5-9A65-C2BA6B55FAA7}"/>
              </a:ext>
            </a:extLst>
          </p:cNvPr>
          <p:cNvGrpSpPr/>
          <p:nvPr/>
        </p:nvGrpSpPr>
        <p:grpSpPr>
          <a:xfrm>
            <a:off x="608171" y="6445106"/>
            <a:ext cx="1184706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067657A-03A1-4F4F-AD0D-A5B15521E8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03F0FBFF-D44D-482A-B547-D551EA5D3C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9A9535C7-EA42-4FC0-BF2F-9F86B58ECC7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E775250D-8931-4334-BAE4-BDDB0695417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46FFD602-6135-4BEE-BB2A-C867FBE1FF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14A9D646-E9F0-4A52-BD9E-F04121BF45F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A919FBF8-B563-4387-B270-79EB182CF7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5B407C40-A805-4838-8B00-1B2AAC94FDCD}"/>
              </a:ext>
            </a:extLst>
          </p:cNvPr>
          <p:cNvSpPr txBox="1"/>
          <p:nvPr/>
        </p:nvSpPr>
        <p:spPr bwMode="white">
          <a:xfrm flipH="1">
            <a:off x="2074133" y="6506318"/>
            <a:ext cx="172933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9428A741-FAD5-4234-862D-6AB7431CF1B6}"/>
              </a:ext>
            </a:extLst>
          </p:cNvPr>
          <p:cNvSpPr/>
          <p:nvPr/>
        </p:nvSpPr>
        <p:spPr>
          <a:xfrm rot="2700000">
            <a:off x="7249835" y="-1004992"/>
            <a:ext cx="3505682" cy="10675926"/>
          </a:xfrm>
          <a:custGeom>
            <a:avLst/>
            <a:gdLst>
              <a:gd name="connsiteX0" fmla="*/ 0 w 3505682"/>
              <a:gd name="connsiteY0" fmla="*/ 925479 h 10673146"/>
              <a:gd name="connsiteX1" fmla="*/ 925478 w 3505682"/>
              <a:gd name="connsiteY1" fmla="*/ 0 h 10673146"/>
              <a:gd name="connsiteX2" fmla="*/ 3505682 w 3505682"/>
              <a:gd name="connsiteY2" fmla="*/ 2580205 h 10673146"/>
              <a:gd name="connsiteX3" fmla="*/ 3505682 w 3505682"/>
              <a:gd name="connsiteY3" fmla="*/ 7167464 h 10673146"/>
              <a:gd name="connsiteX4" fmla="*/ 0 w 3505682"/>
              <a:gd name="connsiteY4" fmla="*/ 10673146 h 10673146"/>
              <a:gd name="connsiteX5" fmla="*/ 0 w 3505682"/>
              <a:gd name="connsiteY5" fmla="*/ 925479 h 10673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05682" h="10673146">
                <a:moveTo>
                  <a:pt x="0" y="925479"/>
                </a:moveTo>
                <a:lnTo>
                  <a:pt x="925478" y="0"/>
                </a:lnTo>
                <a:lnTo>
                  <a:pt x="3505682" y="2580205"/>
                </a:lnTo>
                <a:lnTo>
                  <a:pt x="3505682" y="7167464"/>
                </a:lnTo>
                <a:lnTo>
                  <a:pt x="0" y="10673146"/>
                </a:lnTo>
                <a:lnTo>
                  <a:pt x="0" y="925479"/>
                </a:lnTo>
                <a:close/>
              </a:path>
            </a:pathLst>
          </a:custGeom>
          <a:gradFill>
            <a:gsLst>
              <a:gs pos="24000">
                <a:schemeClr val="accent4"/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8D3A6683-B1EA-4507-96A9-030793602B44}"/>
              </a:ext>
            </a:extLst>
          </p:cNvPr>
          <p:cNvSpPr/>
          <p:nvPr/>
        </p:nvSpPr>
        <p:spPr>
          <a:xfrm rot="2700000">
            <a:off x="9756497" y="1673893"/>
            <a:ext cx="970552" cy="6486879"/>
          </a:xfrm>
          <a:custGeom>
            <a:avLst/>
            <a:gdLst>
              <a:gd name="connsiteX0" fmla="*/ 1 w 970552"/>
              <a:gd name="connsiteY0" fmla="*/ 0 h 6485190"/>
              <a:gd name="connsiteX1" fmla="*/ 970552 w 970552"/>
              <a:gd name="connsiteY1" fmla="*/ 970551 h 6485190"/>
              <a:gd name="connsiteX2" fmla="*/ 970552 w 970552"/>
              <a:gd name="connsiteY2" fmla="*/ 5514638 h 6485190"/>
              <a:gd name="connsiteX3" fmla="*/ 0 w 970552"/>
              <a:gd name="connsiteY3" fmla="*/ 6485190 h 64851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0552" h="6485190">
                <a:moveTo>
                  <a:pt x="1" y="0"/>
                </a:moveTo>
                <a:lnTo>
                  <a:pt x="970552" y="970551"/>
                </a:lnTo>
                <a:lnTo>
                  <a:pt x="970552" y="5514638"/>
                </a:lnTo>
                <a:lnTo>
                  <a:pt x="0" y="6485190"/>
                </a:lnTo>
                <a:close/>
              </a:path>
            </a:pathLst>
          </a:custGeom>
          <a:gradFill>
            <a:gsLst>
              <a:gs pos="94000">
                <a:schemeClr val="bg1"/>
              </a:gs>
              <a:gs pos="16000">
                <a:schemeClr val="accent4"/>
              </a:gs>
              <a:gs pos="76000">
                <a:schemeClr val="bg1">
                  <a:alpha val="91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2565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– Plu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9262" y="938794"/>
            <a:ext cx="6429300" cy="1229360"/>
          </a:xfrm>
        </p:spPr>
        <p:txBody>
          <a:bodyPr wrap="square" anchor="b"/>
          <a:lstStyle>
            <a:lvl1pPr algn="l">
              <a:defRPr sz="36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28" name="Subtitle 2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03123" y="2267712"/>
            <a:ext cx="6410071" cy="70088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tex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E46B5F2-170B-43F3-865D-92F5CD3F3546}"/>
              </a:ext>
            </a:extLst>
          </p:cNvPr>
          <p:cNvSpPr txBox="1"/>
          <p:nvPr/>
        </p:nvSpPr>
        <p:spPr bwMode="white"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062DFBC-6461-46E5-9A65-C2BA6B55FAA7}"/>
              </a:ext>
            </a:extLst>
          </p:cNvPr>
          <p:cNvGrpSpPr/>
          <p:nvPr/>
        </p:nvGrpSpPr>
        <p:grpSpPr>
          <a:xfrm>
            <a:off x="608171" y="6445106"/>
            <a:ext cx="1184706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067657A-03A1-4F4F-AD0D-A5B15521E8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03F0FBFF-D44D-482A-B547-D551EA5D3C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9A9535C7-EA42-4FC0-BF2F-9F86B58ECC7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E775250D-8931-4334-BAE4-BDDB0695417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46FFD602-6135-4BEE-BB2A-C867FBE1FF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14A9D646-E9F0-4A52-BD9E-F04121BF45F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A919FBF8-B563-4387-B270-79EB182CF7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5B407C40-A805-4838-8B00-1B2AAC94FDCD}"/>
              </a:ext>
            </a:extLst>
          </p:cNvPr>
          <p:cNvSpPr txBox="1"/>
          <p:nvPr/>
        </p:nvSpPr>
        <p:spPr bwMode="white">
          <a:xfrm flipH="1">
            <a:off x="2074133" y="6506318"/>
            <a:ext cx="172933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9428A741-FAD5-4234-862D-6AB7431CF1B6}"/>
              </a:ext>
            </a:extLst>
          </p:cNvPr>
          <p:cNvSpPr/>
          <p:nvPr/>
        </p:nvSpPr>
        <p:spPr>
          <a:xfrm rot="2700000">
            <a:off x="7249835" y="-1004992"/>
            <a:ext cx="3505682" cy="10675926"/>
          </a:xfrm>
          <a:custGeom>
            <a:avLst/>
            <a:gdLst>
              <a:gd name="connsiteX0" fmla="*/ 0 w 3505682"/>
              <a:gd name="connsiteY0" fmla="*/ 925479 h 10673146"/>
              <a:gd name="connsiteX1" fmla="*/ 925478 w 3505682"/>
              <a:gd name="connsiteY1" fmla="*/ 0 h 10673146"/>
              <a:gd name="connsiteX2" fmla="*/ 3505682 w 3505682"/>
              <a:gd name="connsiteY2" fmla="*/ 2580205 h 10673146"/>
              <a:gd name="connsiteX3" fmla="*/ 3505682 w 3505682"/>
              <a:gd name="connsiteY3" fmla="*/ 7167464 h 10673146"/>
              <a:gd name="connsiteX4" fmla="*/ 0 w 3505682"/>
              <a:gd name="connsiteY4" fmla="*/ 10673146 h 10673146"/>
              <a:gd name="connsiteX5" fmla="*/ 0 w 3505682"/>
              <a:gd name="connsiteY5" fmla="*/ 925479 h 10673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05682" h="10673146">
                <a:moveTo>
                  <a:pt x="0" y="925479"/>
                </a:moveTo>
                <a:lnTo>
                  <a:pt x="925478" y="0"/>
                </a:lnTo>
                <a:lnTo>
                  <a:pt x="3505682" y="2580205"/>
                </a:lnTo>
                <a:lnTo>
                  <a:pt x="3505682" y="7167464"/>
                </a:lnTo>
                <a:lnTo>
                  <a:pt x="0" y="10673146"/>
                </a:lnTo>
                <a:lnTo>
                  <a:pt x="0" y="925479"/>
                </a:lnTo>
                <a:close/>
              </a:path>
            </a:pathLst>
          </a:custGeom>
          <a:gradFill>
            <a:gsLst>
              <a:gs pos="24000">
                <a:srgbClr val="7F35AB"/>
              </a:gs>
              <a:gs pos="87000">
                <a:srgbClr val="264088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8D3A6683-B1EA-4507-96A9-030793602B44}"/>
              </a:ext>
            </a:extLst>
          </p:cNvPr>
          <p:cNvSpPr/>
          <p:nvPr/>
        </p:nvSpPr>
        <p:spPr>
          <a:xfrm rot="2700000">
            <a:off x="9756497" y="1673893"/>
            <a:ext cx="970552" cy="6486879"/>
          </a:xfrm>
          <a:custGeom>
            <a:avLst/>
            <a:gdLst>
              <a:gd name="connsiteX0" fmla="*/ 1 w 970552"/>
              <a:gd name="connsiteY0" fmla="*/ 0 h 6485190"/>
              <a:gd name="connsiteX1" fmla="*/ 970552 w 970552"/>
              <a:gd name="connsiteY1" fmla="*/ 970551 h 6485190"/>
              <a:gd name="connsiteX2" fmla="*/ 970552 w 970552"/>
              <a:gd name="connsiteY2" fmla="*/ 5514638 h 6485190"/>
              <a:gd name="connsiteX3" fmla="*/ 0 w 970552"/>
              <a:gd name="connsiteY3" fmla="*/ 6485190 h 64851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0552" h="6485190">
                <a:moveTo>
                  <a:pt x="1" y="0"/>
                </a:moveTo>
                <a:lnTo>
                  <a:pt x="970552" y="970551"/>
                </a:lnTo>
                <a:lnTo>
                  <a:pt x="970552" y="5514638"/>
                </a:lnTo>
                <a:lnTo>
                  <a:pt x="0" y="6485190"/>
                </a:lnTo>
                <a:close/>
              </a:path>
            </a:pathLst>
          </a:custGeom>
          <a:gradFill>
            <a:gsLst>
              <a:gs pos="20000">
                <a:srgbClr val="7F35AB"/>
              </a:gs>
              <a:gs pos="95000">
                <a:schemeClr val="bg1"/>
              </a:gs>
              <a:gs pos="74000">
                <a:schemeClr val="bg1">
                  <a:alpha val="79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1179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–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9262" y="938794"/>
            <a:ext cx="6429300" cy="1229360"/>
          </a:xfrm>
        </p:spPr>
        <p:txBody>
          <a:bodyPr wrap="square" anchor="b"/>
          <a:lstStyle>
            <a:lvl1pPr algn="l">
              <a:defRPr sz="36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28" name="Subtitle 2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03123" y="2267712"/>
            <a:ext cx="6410071" cy="70088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tex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E46B5F2-170B-43F3-865D-92F5CD3F3546}"/>
              </a:ext>
            </a:extLst>
          </p:cNvPr>
          <p:cNvSpPr txBox="1"/>
          <p:nvPr/>
        </p:nvSpPr>
        <p:spPr bwMode="white"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062DFBC-6461-46E5-9A65-C2BA6B55FAA7}"/>
              </a:ext>
            </a:extLst>
          </p:cNvPr>
          <p:cNvGrpSpPr/>
          <p:nvPr/>
        </p:nvGrpSpPr>
        <p:grpSpPr>
          <a:xfrm>
            <a:off x="608171" y="6445106"/>
            <a:ext cx="1184706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067657A-03A1-4F4F-AD0D-A5B15521E8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03F0FBFF-D44D-482A-B547-D551EA5D3C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9A9535C7-EA42-4FC0-BF2F-9F86B58ECC7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E775250D-8931-4334-BAE4-BDDB0695417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46FFD602-6135-4BEE-BB2A-C867FBE1FF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14A9D646-E9F0-4A52-BD9E-F04121BF45F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A919FBF8-B563-4387-B270-79EB182CF7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5B407C40-A805-4838-8B00-1B2AAC94FDCD}"/>
              </a:ext>
            </a:extLst>
          </p:cNvPr>
          <p:cNvSpPr txBox="1"/>
          <p:nvPr/>
        </p:nvSpPr>
        <p:spPr bwMode="white">
          <a:xfrm flipH="1">
            <a:off x="2074133" y="6506318"/>
            <a:ext cx="172933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9428A741-FAD5-4234-862D-6AB7431CF1B6}"/>
              </a:ext>
            </a:extLst>
          </p:cNvPr>
          <p:cNvSpPr/>
          <p:nvPr/>
        </p:nvSpPr>
        <p:spPr>
          <a:xfrm rot="2700000">
            <a:off x="7249835" y="-1004992"/>
            <a:ext cx="3505682" cy="10675926"/>
          </a:xfrm>
          <a:custGeom>
            <a:avLst/>
            <a:gdLst>
              <a:gd name="connsiteX0" fmla="*/ 0 w 3505682"/>
              <a:gd name="connsiteY0" fmla="*/ 925479 h 10673146"/>
              <a:gd name="connsiteX1" fmla="*/ 925478 w 3505682"/>
              <a:gd name="connsiteY1" fmla="*/ 0 h 10673146"/>
              <a:gd name="connsiteX2" fmla="*/ 3505682 w 3505682"/>
              <a:gd name="connsiteY2" fmla="*/ 2580205 h 10673146"/>
              <a:gd name="connsiteX3" fmla="*/ 3505682 w 3505682"/>
              <a:gd name="connsiteY3" fmla="*/ 7167464 h 10673146"/>
              <a:gd name="connsiteX4" fmla="*/ 0 w 3505682"/>
              <a:gd name="connsiteY4" fmla="*/ 10673146 h 10673146"/>
              <a:gd name="connsiteX5" fmla="*/ 0 w 3505682"/>
              <a:gd name="connsiteY5" fmla="*/ 925479 h 10673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05682" h="10673146">
                <a:moveTo>
                  <a:pt x="0" y="925479"/>
                </a:moveTo>
                <a:lnTo>
                  <a:pt x="925478" y="0"/>
                </a:lnTo>
                <a:lnTo>
                  <a:pt x="3505682" y="2580205"/>
                </a:lnTo>
                <a:lnTo>
                  <a:pt x="3505682" y="7167464"/>
                </a:lnTo>
                <a:lnTo>
                  <a:pt x="0" y="10673146"/>
                </a:lnTo>
                <a:lnTo>
                  <a:pt x="0" y="925479"/>
                </a:lnTo>
                <a:close/>
              </a:path>
            </a:pathLst>
          </a:custGeom>
          <a:gradFill>
            <a:gsLst>
              <a:gs pos="24000">
                <a:schemeClr val="accent3"/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8D3A6683-B1EA-4507-96A9-030793602B44}"/>
              </a:ext>
            </a:extLst>
          </p:cNvPr>
          <p:cNvSpPr/>
          <p:nvPr/>
        </p:nvSpPr>
        <p:spPr>
          <a:xfrm rot="2700000">
            <a:off x="9756497" y="1673893"/>
            <a:ext cx="970552" cy="6486879"/>
          </a:xfrm>
          <a:custGeom>
            <a:avLst/>
            <a:gdLst>
              <a:gd name="connsiteX0" fmla="*/ 1 w 970552"/>
              <a:gd name="connsiteY0" fmla="*/ 0 h 6485190"/>
              <a:gd name="connsiteX1" fmla="*/ 970552 w 970552"/>
              <a:gd name="connsiteY1" fmla="*/ 970551 h 6485190"/>
              <a:gd name="connsiteX2" fmla="*/ 970552 w 970552"/>
              <a:gd name="connsiteY2" fmla="*/ 5514638 h 6485190"/>
              <a:gd name="connsiteX3" fmla="*/ 0 w 970552"/>
              <a:gd name="connsiteY3" fmla="*/ 6485190 h 64851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0552" h="6485190">
                <a:moveTo>
                  <a:pt x="1" y="0"/>
                </a:moveTo>
                <a:lnTo>
                  <a:pt x="970552" y="970551"/>
                </a:lnTo>
                <a:lnTo>
                  <a:pt x="970552" y="5514638"/>
                </a:lnTo>
                <a:lnTo>
                  <a:pt x="0" y="6485190"/>
                </a:lnTo>
                <a:close/>
              </a:path>
            </a:pathLst>
          </a:custGeom>
          <a:gradFill>
            <a:gsLst>
              <a:gs pos="24000">
                <a:schemeClr val="accent3"/>
              </a:gs>
              <a:gs pos="80511">
                <a:schemeClr val="bg1">
                  <a:alpha val="76000"/>
                </a:schemeClr>
              </a:gs>
              <a:gs pos="100000">
                <a:schemeClr val="bg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2244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with Pho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sosceles Triangle 1">
            <a:extLst>
              <a:ext uri="{FF2B5EF4-FFF2-40B4-BE49-F238E27FC236}">
                <a16:creationId xmlns:a16="http://schemas.microsoft.com/office/drawing/2014/main" id="{B4BC3A27-8DAD-4476-9725-CF11880123D8}"/>
              </a:ext>
            </a:extLst>
          </p:cNvPr>
          <p:cNvSpPr/>
          <p:nvPr/>
        </p:nvSpPr>
        <p:spPr>
          <a:xfrm>
            <a:off x="8945606" y="3622877"/>
            <a:ext cx="3252110" cy="3253579"/>
          </a:xfrm>
          <a:prstGeom prst="triangle">
            <a:avLst>
              <a:gd name="adj" fmla="val 10000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046FCD12-70AD-43E4-97A5-E350476D993C}"/>
              </a:ext>
            </a:extLst>
          </p:cNvPr>
          <p:cNvSpPr/>
          <p:nvPr/>
        </p:nvSpPr>
        <p:spPr>
          <a:xfrm rot="10800000">
            <a:off x="0" y="-1"/>
            <a:ext cx="10875959" cy="6868836"/>
          </a:xfrm>
          <a:custGeom>
            <a:avLst/>
            <a:gdLst>
              <a:gd name="connsiteX0" fmla="*/ 10873127 w 10873127"/>
              <a:gd name="connsiteY0" fmla="*/ 6868836 h 6868836"/>
              <a:gd name="connsiteX1" fmla="*/ 0 w 10873127"/>
              <a:gd name="connsiteY1" fmla="*/ 6868836 h 6868836"/>
              <a:gd name="connsiteX2" fmla="*/ 6863947 w 10873127"/>
              <a:gd name="connsiteY2" fmla="*/ 0 h 6868836"/>
              <a:gd name="connsiteX3" fmla="*/ 10873127 w 10873127"/>
              <a:gd name="connsiteY3" fmla="*/ 0 h 686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873127" h="6868836">
                <a:moveTo>
                  <a:pt x="10873127" y="6868836"/>
                </a:moveTo>
                <a:lnTo>
                  <a:pt x="0" y="6868836"/>
                </a:lnTo>
                <a:lnTo>
                  <a:pt x="6863947" y="0"/>
                </a:lnTo>
                <a:lnTo>
                  <a:pt x="10873127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EAC21F4-620C-4207-A01D-C082619C707B}"/>
              </a:ext>
            </a:extLst>
          </p:cNvPr>
          <p:cNvSpPr txBox="1"/>
          <p:nvPr/>
        </p:nvSpPr>
        <p:spPr bwMode="white"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AC6091C-E947-4C0C-85B0-C87C084ACB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9262" y="938794"/>
            <a:ext cx="6429300" cy="1229360"/>
          </a:xfrm>
        </p:spPr>
        <p:txBody>
          <a:bodyPr wrap="square" anchor="b"/>
          <a:lstStyle>
            <a:lvl1pPr algn="l">
              <a:defRPr sz="36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A2044BBD-0109-43FF-A52D-8FA2841A4DF6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03123" y="2267712"/>
            <a:ext cx="6410071" cy="70088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accent4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text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D0EECB4-F8FF-42F6-B913-97C4F2956537}"/>
              </a:ext>
            </a:extLst>
          </p:cNvPr>
          <p:cNvGrpSpPr/>
          <p:nvPr/>
        </p:nvGrpSpPr>
        <p:grpSpPr>
          <a:xfrm>
            <a:off x="608171" y="6445106"/>
            <a:ext cx="1184706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A2743E06-9EDE-42AB-954B-24AD2E0EDE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F727B63B-9DDF-4464-B305-91E2F1F53A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BE99358C-EF1D-4887-8E23-C6B6EFECC05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AB115210-A643-4048-8CE2-AE858AA6D28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DADAB024-3024-4445-96A4-008D5EBBB3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8C49FA45-007B-4A99-BFB8-737C3A292BE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6AD6968C-6030-4061-9BA9-3E345BE073B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9267F80E-E3AF-43A3-AA96-C701371ACCD5}"/>
              </a:ext>
            </a:extLst>
          </p:cNvPr>
          <p:cNvSpPr txBox="1"/>
          <p:nvPr/>
        </p:nvSpPr>
        <p:spPr bwMode="white">
          <a:xfrm flipH="1">
            <a:off x="2074133" y="6506318"/>
            <a:ext cx="172933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C7F4685D-9D09-447C-9352-68EBB79D3FB6}"/>
              </a:ext>
            </a:extLst>
          </p:cNvPr>
          <p:cNvSpPr/>
          <p:nvPr/>
        </p:nvSpPr>
        <p:spPr>
          <a:xfrm rot="2700000">
            <a:off x="9039732" y="3334353"/>
            <a:ext cx="970552" cy="4541320"/>
          </a:xfrm>
          <a:custGeom>
            <a:avLst/>
            <a:gdLst>
              <a:gd name="connsiteX0" fmla="*/ 1 w 970552"/>
              <a:gd name="connsiteY0" fmla="*/ 970551 h 4540137"/>
              <a:gd name="connsiteX1" fmla="*/ 970552 w 970552"/>
              <a:gd name="connsiteY1" fmla="*/ 0 h 4540137"/>
              <a:gd name="connsiteX2" fmla="*/ 970552 w 970552"/>
              <a:gd name="connsiteY2" fmla="*/ 3569585 h 4540137"/>
              <a:gd name="connsiteX3" fmla="*/ 0 w 970552"/>
              <a:gd name="connsiteY3" fmla="*/ 4540137 h 4540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0552" h="4540137">
                <a:moveTo>
                  <a:pt x="1" y="970551"/>
                </a:moveTo>
                <a:lnTo>
                  <a:pt x="970552" y="0"/>
                </a:lnTo>
                <a:lnTo>
                  <a:pt x="970552" y="3569585"/>
                </a:lnTo>
                <a:lnTo>
                  <a:pt x="0" y="4540137"/>
                </a:lnTo>
                <a:close/>
              </a:path>
            </a:pathLst>
          </a:custGeom>
          <a:gradFill>
            <a:gsLst>
              <a:gs pos="0">
                <a:schemeClr val="accent4">
                  <a:alpha val="64000"/>
                </a:schemeClr>
              </a:gs>
              <a:gs pos="83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3912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with Photo – Plum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046FCD12-70AD-43E4-97A5-E350476D993C}"/>
              </a:ext>
            </a:extLst>
          </p:cNvPr>
          <p:cNvSpPr/>
          <p:nvPr/>
        </p:nvSpPr>
        <p:spPr>
          <a:xfrm rot="10800000">
            <a:off x="0" y="-1"/>
            <a:ext cx="10875959" cy="6868836"/>
          </a:xfrm>
          <a:custGeom>
            <a:avLst/>
            <a:gdLst>
              <a:gd name="connsiteX0" fmla="*/ 10873127 w 10873127"/>
              <a:gd name="connsiteY0" fmla="*/ 6868836 h 6868836"/>
              <a:gd name="connsiteX1" fmla="*/ 0 w 10873127"/>
              <a:gd name="connsiteY1" fmla="*/ 6868836 h 6868836"/>
              <a:gd name="connsiteX2" fmla="*/ 6863947 w 10873127"/>
              <a:gd name="connsiteY2" fmla="*/ 0 h 6868836"/>
              <a:gd name="connsiteX3" fmla="*/ 10873127 w 10873127"/>
              <a:gd name="connsiteY3" fmla="*/ 0 h 686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873127" h="6868836">
                <a:moveTo>
                  <a:pt x="10873127" y="6868836"/>
                </a:moveTo>
                <a:lnTo>
                  <a:pt x="0" y="6868836"/>
                </a:lnTo>
                <a:lnTo>
                  <a:pt x="6863947" y="0"/>
                </a:lnTo>
                <a:lnTo>
                  <a:pt x="10873127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AC6091C-E947-4C0C-85B0-C87C084ACB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9262" y="938794"/>
            <a:ext cx="6429300" cy="1229360"/>
          </a:xfrm>
        </p:spPr>
        <p:txBody>
          <a:bodyPr wrap="square" anchor="b"/>
          <a:lstStyle>
            <a:lvl1pPr algn="l">
              <a:defRPr sz="36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A2044BBD-0109-43FF-A52D-8FA2841A4DF6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03123" y="2267712"/>
            <a:ext cx="6410071" cy="70088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text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D0EECB4-F8FF-42F6-B913-97C4F2956537}"/>
              </a:ext>
            </a:extLst>
          </p:cNvPr>
          <p:cNvGrpSpPr/>
          <p:nvPr/>
        </p:nvGrpSpPr>
        <p:grpSpPr>
          <a:xfrm>
            <a:off x="608171" y="6445106"/>
            <a:ext cx="1184706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A2743E06-9EDE-42AB-954B-24AD2E0EDE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F727B63B-9DDF-4464-B305-91E2F1F53A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BE99358C-EF1D-4887-8E23-C6B6EFECC05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AB115210-A643-4048-8CE2-AE858AA6D28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DADAB024-3024-4445-96A4-008D5EBBB3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8C49FA45-007B-4A99-BFB8-737C3A292BE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6AD6968C-6030-4061-9BA9-3E345BE073B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9267F80E-E3AF-43A3-AA96-C701371ACCD5}"/>
              </a:ext>
            </a:extLst>
          </p:cNvPr>
          <p:cNvSpPr txBox="1"/>
          <p:nvPr/>
        </p:nvSpPr>
        <p:spPr bwMode="white">
          <a:xfrm flipH="1">
            <a:off x="2074133" y="6506318"/>
            <a:ext cx="172933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1B9CF672-C886-4A4A-B8C7-6054BDA7C6F8}"/>
              </a:ext>
            </a:extLst>
          </p:cNvPr>
          <p:cNvSpPr/>
          <p:nvPr/>
        </p:nvSpPr>
        <p:spPr>
          <a:xfrm>
            <a:off x="8945606" y="3622877"/>
            <a:ext cx="3252110" cy="3253579"/>
          </a:xfrm>
          <a:prstGeom prst="triangle">
            <a:avLst>
              <a:gd name="adj" fmla="val 10000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279CBF5F-64CA-43B4-BB06-18EC3F20B58A}"/>
              </a:ext>
            </a:extLst>
          </p:cNvPr>
          <p:cNvSpPr/>
          <p:nvPr/>
        </p:nvSpPr>
        <p:spPr>
          <a:xfrm rot="2700000">
            <a:off x="9039732" y="3334353"/>
            <a:ext cx="970552" cy="4541320"/>
          </a:xfrm>
          <a:custGeom>
            <a:avLst/>
            <a:gdLst>
              <a:gd name="connsiteX0" fmla="*/ 1 w 970552"/>
              <a:gd name="connsiteY0" fmla="*/ 970551 h 4540137"/>
              <a:gd name="connsiteX1" fmla="*/ 970552 w 970552"/>
              <a:gd name="connsiteY1" fmla="*/ 0 h 4540137"/>
              <a:gd name="connsiteX2" fmla="*/ 970552 w 970552"/>
              <a:gd name="connsiteY2" fmla="*/ 3569585 h 4540137"/>
              <a:gd name="connsiteX3" fmla="*/ 0 w 970552"/>
              <a:gd name="connsiteY3" fmla="*/ 4540137 h 4540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0552" h="4540137">
                <a:moveTo>
                  <a:pt x="1" y="970551"/>
                </a:moveTo>
                <a:lnTo>
                  <a:pt x="970552" y="0"/>
                </a:lnTo>
                <a:lnTo>
                  <a:pt x="970552" y="3569585"/>
                </a:lnTo>
                <a:lnTo>
                  <a:pt x="0" y="4540137"/>
                </a:lnTo>
                <a:close/>
              </a:path>
            </a:pathLst>
          </a:custGeom>
          <a:gradFill>
            <a:gsLst>
              <a:gs pos="24000">
                <a:srgbClr val="7F35AB">
                  <a:alpha val="57000"/>
                </a:srgbClr>
              </a:gs>
              <a:gs pos="87000">
                <a:srgbClr val="264088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EAC21F4-620C-4207-A01D-C082619C707B}"/>
              </a:ext>
            </a:extLst>
          </p:cNvPr>
          <p:cNvSpPr txBox="1"/>
          <p:nvPr/>
        </p:nvSpPr>
        <p:spPr bwMode="white"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446922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with Photo – Aqu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3782B963-3DE7-4086-92ED-CD92BCC38428}"/>
              </a:ext>
            </a:extLst>
          </p:cNvPr>
          <p:cNvSpPr/>
          <p:nvPr/>
        </p:nvSpPr>
        <p:spPr>
          <a:xfrm>
            <a:off x="8945606" y="3622877"/>
            <a:ext cx="3252110" cy="3253579"/>
          </a:xfrm>
          <a:prstGeom prst="triangle">
            <a:avLst>
              <a:gd name="adj" fmla="val 10000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B634BC28-ECEA-4006-A436-B22F54417FE9}"/>
              </a:ext>
            </a:extLst>
          </p:cNvPr>
          <p:cNvSpPr/>
          <p:nvPr/>
        </p:nvSpPr>
        <p:spPr>
          <a:xfrm rot="2700000">
            <a:off x="9039732" y="3334353"/>
            <a:ext cx="970552" cy="4541320"/>
          </a:xfrm>
          <a:custGeom>
            <a:avLst/>
            <a:gdLst>
              <a:gd name="connsiteX0" fmla="*/ 1 w 970552"/>
              <a:gd name="connsiteY0" fmla="*/ 970551 h 4540137"/>
              <a:gd name="connsiteX1" fmla="*/ 970552 w 970552"/>
              <a:gd name="connsiteY1" fmla="*/ 0 h 4540137"/>
              <a:gd name="connsiteX2" fmla="*/ 970552 w 970552"/>
              <a:gd name="connsiteY2" fmla="*/ 3569585 h 4540137"/>
              <a:gd name="connsiteX3" fmla="*/ 0 w 970552"/>
              <a:gd name="connsiteY3" fmla="*/ 4540137 h 4540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0552" h="4540137">
                <a:moveTo>
                  <a:pt x="1" y="970551"/>
                </a:moveTo>
                <a:lnTo>
                  <a:pt x="970552" y="0"/>
                </a:lnTo>
                <a:lnTo>
                  <a:pt x="970552" y="3569585"/>
                </a:lnTo>
                <a:lnTo>
                  <a:pt x="0" y="4540137"/>
                </a:lnTo>
                <a:close/>
              </a:path>
            </a:pathLst>
          </a:custGeom>
          <a:gradFill>
            <a:gsLst>
              <a:gs pos="24000">
                <a:schemeClr val="accent3">
                  <a:alpha val="40000"/>
                </a:schemeClr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046FCD12-70AD-43E4-97A5-E350476D993C}"/>
              </a:ext>
            </a:extLst>
          </p:cNvPr>
          <p:cNvSpPr/>
          <p:nvPr/>
        </p:nvSpPr>
        <p:spPr>
          <a:xfrm rot="10800000">
            <a:off x="0" y="-1"/>
            <a:ext cx="10875959" cy="6868836"/>
          </a:xfrm>
          <a:custGeom>
            <a:avLst/>
            <a:gdLst>
              <a:gd name="connsiteX0" fmla="*/ 10873127 w 10873127"/>
              <a:gd name="connsiteY0" fmla="*/ 6868836 h 6868836"/>
              <a:gd name="connsiteX1" fmla="*/ 0 w 10873127"/>
              <a:gd name="connsiteY1" fmla="*/ 6868836 h 6868836"/>
              <a:gd name="connsiteX2" fmla="*/ 6863947 w 10873127"/>
              <a:gd name="connsiteY2" fmla="*/ 0 h 6868836"/>
              <a:gd name="connsiteX3" fmla="*/ 10873127 w 10873127"/>
              <a:gd name="connsiteY3" fmla="*/ 0 h 686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873127" h="6868836">
                <a:moveTo>
                  <a:pt x="10873127" y="6868836"/>
                </a:moveTo>
                <a:lnTo>
                  <a:pt x="0" y="6868836"/>
                </a:lnTo>
                <a:lnTo>
                  <a:pt x="6863947" y="0"/>
                </a:lnTo>
                <a:lnTo>
                  <a:pt x="10873127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EAC21F4-620C-4207-A01D-C082619C707B}"/>
              </a:ext>
            </a:extLst>
          </p:cNvPr>
          <p:cNvSpPr txBox="1"/>
          <p:nvPr/>
        </p:nvSpPr>
        <p:spPr bwMode="white"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AC6091C-E947-4C0C-85B0-C87C084ACB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9262" y="938794"/>
            <a:ext cx="6429300" cy="1229360"/>
          </a:xfrm>
        </p:spPr>
        <p:txBody>
          <a:bodyPr wrap="square" anchor="b"/>
          <a:lstStyle>
            <a:lvl1pPr algn="l">
              <a:defRPr sz="36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A2044BBD-0109-43FF-A52D-8FA2841A4DF6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03123" y="2267712"/>
            <a:ext cx="6410071" cy="70088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text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D0EECB4-F8FF-42F6-B913-97C4F2956537}"/>
              </a:ext>
            </a:extLst>
          </p:cNvPr>
          <p:cNvGrpSpPr/>
          <p:nvPr/>
        </p:nvGrpSpPr>
        <p:grpSpPr>
          <a:xfrm>
            <a:off x="608171" y="6445106"/>
            <a:ext cx="1184706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A2743E06-9EDE-42AB-954B-24AD2E0EDE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F727B63B-9DDF-4464-B305-91E2F1F53A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BE99358C-EF1D-4887-8E23-C6B6EFECC05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AB115210-A643-4048-8CE2-AE858AA6D28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DADAB024-3024-4445-96A4-008D5EBBB3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8C49FA45-007B-4A99-BFB8-737C3A292BE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6AD6968C-6030-4061-9BA9-3E345BE073B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9267F80E-E3AF-43A3-AA96-C701371ACCD5}"/>
              </a:ext>
            </a:extLst>
          </p:cNvPr>
          <p:cNvSpPr txBox="1"/>
          <p:nvPr/>
        </p:nvSpPr>
        <p:spPr bwMode="white">
          <a:xfrm flipH="1">
            <a:off x="2074133" y="6506318"/>
            <a:ext cx="172933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</p:spTree>
    <p:extLst>
      <p:ext uri="{BB962C8B-B14F-4D97-AF65-F5344CB8AC3E}">
        <p14:creationId xmlns:p14="http://schemas.microsoft.com/office/powerpoint/2010/main" val="2704318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with Photo – Whi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77AF2AD3-F838-49C6-9DFB-93814BFCCBA6}"/>
              </a:ext>
            </a:extLst>
          </p:cNvPr>
          <p:cNvSpPr/>
          <p:nvPr/>
        </p:nvSpPr>
        <p:spPr>
          <a:xfrm>
            <a:off x="8945606" y="3622877"/>
            <a:ext cx="3252110" cy="3253579"/>
          </a:xfrm>
          <a:prstGeom prst="triangle">
            <a:avLst>
              <a:gd name="adj" fmla="val 10000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E385DDA8-6A1A-4BC0-A877-A6124E4A0330}"/>
              </a:ext>
            </a:extLst>
          </p:cNvPr>
          <p:cNvSpPr/>
          <p:nvPr/>
        </p:nvSpPr>
        <p:spPr>
          <a:xfrm rot="2700000">
            <a:off x="9039732" y="3334353"/>
            <a:ext cx="970552" cy="4541320"/>
          </a:xfrm>
          <a:custGeom>
            <a:avLst/>
            <a:gdLst>
              <a:gd name="connsiteX0" fmla="*/ 1 w 970552"/>
              <a:gd name="connsiteY0" fmla="*/ 970551 h 4540137"/>
              <a:gd name="connsiteX1" fmla="*/ 970552 w 970552"/>
              <a:gd name="connsiteY1" fmla="*/ 0 h 4540137"/>
              <a:gd name="connsiteX2" fmla="*/ 970552 w 970552"/>
              <a:gd name="connsiteY2" fmla="*/ 3569585 h 4540137"/>
              <a:gd name="connsiteX3" fmla="*/ 0 w 970552"/>
              <a:gd name="connsiteY3" fmla="*/ 4540137 h 4540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0552" h="4540137">
                <a:moveTo>
                  <a:pt x="1" y="970551"/>
                </a:moveTo>
                <a:lnTo>
                  <a:pt x="970552" y="0"/>
                </a:lnTo>
                <a:lnTo>
                  <a:pt x="970552" y="3569585"/>
                </a:lnTo>
                <a:lnTo>
                  <a:pt x="0" y="4540137"/>
                </a:lnTo>
                <a:close/>
              </a:path>
            </a:pathLst>
          </a:custGeom>
          <a:gradFill>
            <a:gsLst>
              <a:gs pos="24000">
                <a:schemeClr val="bg1">
                  <a:alpha val="59000"/>
                </a:schemeClr>
              </a:gs>
              <a:gs pos="78000">
                <a:schemeClr val="bg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" name="Isosceles Triangle 1">
            <a:extLst>
              <a:ext uri="{FF2B5EF4-FFF2-40B4-BE49-F238E27FC236}">
                <a16:creationId xmlns:a16="http://schemas.microsoft.com/office/drawing/2014/main" id="{B4BC3A27-8DAD-4476-9725-CF11880123D8}"/>
              </a:ext>
            </a:extLst>
          </p:cNvPr>
          <p:cNvSpPr/>
          <p:nvPr/>
        </p:nvSpPr>
        <p:spPr>
          <a:xfrm>
            <a:off x="8937984" y="3622877"/>
            <a:ext cx="3252110" cy="3253579"/>
          </a:xfrm>
          <a:prstGeom prst="triangle">
            <a:avLst>
              <a:gd name="adj" fmla="val 10000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046FCD12-70AD-43E4-97A5-E350476D993C}"/>
              </a:ext>
            </a:extLst>
          </p:cNvPr>
          <p:cNvSpPr/>
          <p:nvPr/>
        </p:nvSpPr>
        <p:spPr>
          <a:xfrm rot="10800000">
            <a:off x="0" y="-1"/>
            <a:ext cx="10875959" cy="6868836"/>
          </a:xfrm>
          <a:custGeom>
            <a:avLst/>
            <a:gdLst>
              <a:gd name="connsiteX0" fmla="*/ 10873127 w 10873127"/>
              <a:gd name="connsiteY0" fmla="*/ 6868836 h 6868836"/>
              <a:gd name="connsiteX1" fmla="*/ 0 w 10873127"/>
              <a:gd name="connsiteY1" fmla="*/ 6868836 h 6868836"/>
              <a:gd name="connsiteX2" fmla="*/ 6863947 w 10873127"/>
              <a:gd name="connsiteY2" fmla="*/ 0 h 6868836"/>
              <a:gd name="connsiteX3" fmla="*/ 10873127 w 10873127"/>
              <a:gd name="connsiteY3" fmla="*/ 0 h 686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873127" h="6868836">
                <a:moveTo>
                  <a:pt x="10873127" y="6868836"/>
                </a:moveTo>
                <a:lnTo>
                  <a:pt x="0" y="6868836"/>
                </a:lnTo>
                <a:lnTo>
                  <a:pt x="6863947" y="0"/>
                </a:lnTo>
                <a:lnTo>
                  <a:pt x="10873127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EAC21F4-620C-4207-A01D-C082619C707B}"/>
              </a:ext>
            </a:extLst>
          </p:cNvPr>
          <p:cNvSpPr txBox="1"/>
          <p:nvPr/>
        </p:nvSpPr>
        <p:spPr bwMode="white"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AC6091C-E947-4C0C-85B0-C87C084ACB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9262" y="938794"/>
            <a:ext cx="6429300" cy="1229360"/>
          </a:xfrm>
        </p:spPr>
        <p:txBody>
          <a:bodyPr wrap="square" anchor="b"/>
          <a:lstStyle>
            <a:lvl1pPr algn="l">
              <a:defRPr sz="36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A2044BBD-0109-43FF-A52D-8FA2841A4DF6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03123" y="2267712"/>
            <a:ext cx="6410071" cy="70088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text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D0EECB4-F8FF-42F6-B913-97C4F2956537}"/>
              </a:ext>
            </a:extLst>
          </p:cNvPr>
          <p:cNvGrpSpPr/>
          <p:nvPr/>
        </p:nvGrpSpPr>
        <p:grpSpPr>
          <a:xfrm>
            <a:off x="608171" y="6445106"/>
            <a:ext cx="1184706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A2743E06-9EDE-42AB-954B-24AD2E0EDE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F727B63B-9DDF-4464-B305-91E2F1F53A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BE99358C-EF1D-4887-8E23-C6B6EFECC05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AB115210-A643-4048-8CE2-AE858AA6D28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DADAB024-3024-4445-96A4-008D5EBBB3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8C49FA45-007B-4A99-BFB8-737C3A292BE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6AD6968C-6030-4061-9BA9-3E345BE073B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9267F80E-E3AF-43A3-AA96-C701371ACCD5}"/>
              </a:ext>
            </a:extLst>
          </p:cNvPr>
          <p:cNvSpPr txBox="1"/>
          <p:nvPr/>
        </p:nvSpPr>
        <p:spPr bwMode="white">
          <a:xfrm flipH="1">
            <a:off x="2074133" y="6506318"/>
            <a:ext cx="172933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</p:spTree>
    <p:extLst>
      <p:ext uri="{BB962C8B-B14F-4D97-AF65-F5344CB8AC3E}">
        <p14:creationId xmlns:p14="http://schemas.microsoft.com/office/powerpoint/2010/main" val="3078405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" y="1371600"/>
            <a:ext cx="6006497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5648" y="4953000"/>
            <a:ext cx="4775199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111049-A980-9A4B-BDCF-935BD3D35A43}" type="datetimeFigureOut">
              <a:rPr lang="en-US" smtClean="0"/>
              <a:t>24-Sep-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9C9BFC-FCFF-7247-B387-15C2934714B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>
          <a:xfrm>
            <a:off x="6185504" y="1371600"/>
            <a:ext cx="6006497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>
          <a:xfrm>
            <a:off x="6807201" y="4953000"/>
            <a:ext cx="4775199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wipe dir="r"/>
      </p:transition>
    </mc:Choice>
    <mc:Fallback xmlns="">
      <p:transition xmlns:p14="http://schemas.microsoft.com/office/powerpoint/2010/main" spd="slow">
        <p:wipe dir="r"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89834265-B4D7-4504-9C1C-C962DD96E4D9}"/>
              </a:ext>
            </a:extLst>
          </p:cNvPr>
          <p:cNvSpPr/>
          <p:nvPr/>
        </p:nvSpPr>
        <p:spPr>
          <a:xfrm rot="2700000">
            <a:off x="1157786" y="-4494882"/>
            <a:ext cx="7499811" cy="13471355"/>
          </a:xfrm>
          <a:custGeom>
            <a:avLst/>
            <a:gdLst>
              <a:gd name="connsiteX0" fmla="*/ 0 w 7499811"/>
              <a:gd name="connsiteY0" fmla="*/ 7314868 h 13467847"/>
              <a:gd name="connsiteX1" fmla="*/ 7314868 w 7499811"/>
              <a:gd name="connsiteY1" fmla="*/ 0 h 13467847"/>
              <a:gd name="connsiteX2" fmla="*/ 7499811 w 7499811"/>
              <a:gd name="connsiteY2" fmla="*/ 184942 h 13467847"/>
              <a:gd name="connsiteX3" fmla="*/ 7499811 w 7499811"/>
              <a:gd name="connsiteY3" fmla="*/ 9513150 h 13467847"/>
              <a:gd name="connsiteX4" fmla="*/ 3545114 w 7499811"/>
              <a:gd name="connsiteY4" fmla="*/ 13467847 h 13467847"/>
              <a:gd name="connsiteX5" fmla="*/ 0 w 7499811"/>
              <a:gd name="connsiteY5" fmla="*/ 9922733 h 13467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9811" h="13467847">
                <a:moveTo>
                  <a:pt x="0" y="7314868"/>
                </a:moveTo>
                <a:lnTo>
                  <a:pt x="7314868" y="0"/>
                </a:lnTo>
                <a:lnTo>
                  <a:pt x="7499811" y="184942"/>
                </a:lnTo>
                <a:lnTo>
                  <a:pt x="7499811" y="9513150"/>
                </a:lnTo>
                <a:lnTo>
                  <a:pt x="3545114" y="13467847"/>
                </a:lnTo>
                <a:lnTo>
                  <a:pt x="0" y="9922733"/>
                </a:lnTo>
                <a:close/>
              </a:path>
            </a:pathLst>
          </a:custGeom>
          <a:gradFill>
            <a:gsLst>
              <a:gs pos="24000">
                <a:schemeClr val="accent4"/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12F29CAF-76E7-4387-BEA8-66F482EB65A2}"/>
              </a:ext>
            </a:extLst>
          </p:cNvPr>
          <p:cNvSpPr/>
          <p:nvPr/>
        </p:nvSpPr>
        <p:spPr>
          <a:xfrm rot="2700000">
            <a:off x="7034683" y="-170263"/>
            <a:ext cx="1042026" cy="8666196"/>
          </a:xfrm>
          <a:custGeom>
            <a:avLst/>
            <a:gdLst>
              <a:gd name="connsiteX0" fmla="*/ 0 w 1042026"/>
              <a:gd name="connsiteY0" fmla="*/ 0 h 8663939"/>
              <a:gd name="connsiteX1" fmla="*/ 1042026 w 1042026"/>
              <a:gd name="connsiteY1" fmla="*/ 0 h 8663939"/>
              <a:gd name="connsiteX2" fmla="*/ 1042026 w 1042026"/>
              <a:gd name="connsiteY2" fmla="*/ 7621913 h 8663939"/>
              <a:gd name="connsiteX3" fmla="*/ 0 w 1042026"/>
              <a:gd name="connsiteY3" fmla="*/ 8663939 h 8663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2026" h="8663939">
                <a:moveTo>
                  <a:pt x="0" y="0"/>
                </a:moveTo>
                <a:lnTo>
                  <a:pt x="1042026" y="0"/>
                </a:lnTo>
                <a:lnTo>
                  <a:pt x="1042026" y="7621913"/>
                </a:lnTo>
                <a:lnTo>
                  <a:pt x="0" y="8663939"/>
                </a:lnTo>
                <a:close/>
              </a:path>
            </a:pathLst>
          </a:custGeom>
          <a:gradFill>
            <a:gsLst>
              <a:gs pos="94000">
                <a:schemeClr val="bg1"/>
              </a:gs>
              <a:gs pos="26000">
                <a:schemeClr val="accent4"/>
              </a:gs>
              <a:gs pos="76000">
                <a:schemeClr val="bg1">
                  <a:alpha val="91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48347C3-DAFD-4322-8B75-FAADCB97A100}"/>
              </a:ext>
            </a:extLst>
          </p:cNvPr>
          <p:cNvSpPr txBox="1"/>
          <p:nvPr/>
        </p:nvSpPr>
        <p:spPr bwMode="white"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A840448-0A4C-4F83-A1CE-7B630AF6D91D}"/>
              </a:ext>
            </a:extLst>
          </p:cNvPr>
          <p:cNvGrpSpPr/>
          <p:nvPr/>
        </p:nvGrpSpPr>
        <p:grpSpPr>
          <a:xfrm>
            <a:off x="608171" y="6445106"/>
            <a:ext cx="1184706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33BBD7F2-6BDB-40F5-BE43-2E5C642F40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1898F8B4-B178-4326-B6D0-C409F52A5D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04FAC758-8579-4948-8E17-F881282AF5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9BC37D6E-0610-40BC-A869-ED4C24F40D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id="{0AD2EDE2-8C04-4779-942A-CD00356199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id="{B9B95322-EB86-42B6-BCDB-3C38F71CED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id="{20532F85-7A34-4927-9486-A847F29CF7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10DCB4EB-8A9B-485D-A968-34B397B482C3}"/>
              </a:ext>
            </a:extLst>
          </p:cNvPr>
          <p:cNvSpPr txBox="1"/>
          <p:nvPr/>
        </p:nvSpPr>
        <p:spPr bwMode="white">
          <a:xfrm flipH="1">
            <a:off x="2074133" y="6506318"/>
            <a:ext cx="172933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fidential   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©2019 VMware, Inc.</a:t>
            </a:r>
          </a:p>
        </p:txBody>
      </p:sp>
      <p:sp>
        <p:nvSpPr>
          <p:cNvPr id="41" name="Picture Placeholder 184">
            <a:extLst>
              <a:ext uri="{FF2B5EF4-FFF2-40B4-BE49-F238E27FC236}">
                <a16:creationId xmlns:a16="http://schemas.microsoft.com/office/drawing/2014/main" id="{997DC603-F304-4357-BF7F-19215EB70C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525372" y="4619335"/>
            <a:ext cx="2740739" cy="1371600"/>
          </a:xfrm>
          <a:noFill/>
        </p:spPr>
        <p:txBody>
          <a:bodyPr anchor="ctr"/>
          <a:lstStyle>
            <a:lvl1pPr algn="ctr">
              <a:defRPr sz="2400" b="1">
                <a:solidFill>
                  <a:srgbClr val="F8981D"/>
                </a:solidFill>
              </a:defRPr>
            </a:lvl1pPr>
          </a:lstStyle>
          <a:p>
            <a:r>
              <a:rPr lang="en-US" dirty="0"/>
              <a:t>Click to insert logo or delete box if not needed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6C21BA7-C6D2-446E-8FD2-266107E90C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9026" y="1600200"/>
            <a:ext cx="5414658" cy="3200400"/>
          </a:xfrm>
        </p:spPr>
        <p:txBody>
          <a:bodyPr anchor="b"/>
          <a:lstStyle>
            <a:lvl1pPr marL="169863" indent="-169863">
              <a:buClrTx/>
              <a:buSzPct val="100000"/>
              <a:buFont typeface="Metropolis" panose="00000500000000000000" pitchFamily="2" charset="0"/>
              <a:buChar char="“"/>
              <a:defRPr sz="2800">
                <a:solidFill>
                  <a:schemeClr val="bg1"/>
                </a:solidFill>
              </a:defRPr>
            </a:lvl1pPr>
            <a:lvl2pPr marL="457200" indent="-184150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2pPr>
            <a:lvl3pPr marL="744538" indent="-16986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3pPr>
            <a:lvl4pPr marL="969963" indent="-166688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4pPr>
            <a:lvl5pPr marL="1143000" indent="-13811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762CBDD-60C2-443D-88B5-C596896049D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808" y="5065776"/>
            <a:ext cx="4582337" cy="27432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</p:spTree>
    <p:extLst>
      <p:ext uri="{BB962C8B-B14F-4D97-AF65-F5344CB8AC3E}">
        <p14:creationId xmlns:p14="http://schemas.microsoft.com/office/powerpoint/2010/main" val="463671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– Plu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89834265-B4D7-4504-9C1C-C962DD96E4D9}"/>
              </a:ext>
            </a:extLst>
          </p:cNvPr>
          <p:cNvSpPr/>
          <p:nvPr/>
        </p:nvSpPr>
        <p:spPr>
          <a:xfrm rot="2700000">
            <a:off x="1157786" y="-4494882"/>
            <a:ext cx="7499811" cy="13471355"/>
          </a:xfrm>
          <a:custGeom>
            <a:avLst/>
            <a:gdLst>
              <a:gd name="connsiteX0" fmla="*/ 0 w 7499811"/>
              <a:gd name="connsiteY0" fmla="*/ 7314868 h 13467847"/>
              <a:gd name="connsiteX1" fmla="*/ 7314868 w 7499811"/>
              <a:gd name="connsiteY1" fmla="*/ 0 h 13467847"/>
              <a:gd name="connsiteX2" fmla="*/ 7499811 w 7499811"/>
              <a:gd name="connsiteY2" fmla="*/ 184942 h 13467847"/>
              <a:gd name="connsiteX3" fmla="*/ 7499811 w 7499811"/>
              <a:gd name="connsiteY3" fmla="*/ 9513150 h 13467847"/>
              <a:gd name="connsiteX4" fmla="*/ 3545114 w 7499811"/>
              <a:gd name="connsiteY4" fmla="*/ 13467847 h 13467847"/>
              <a:gd name="connsiteX5" fmla="*/ 0 w 7499811"/>
              <a:gd name="connsiteY5" fmla="*/ 9922733 h 13467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9811" h="13467847">
                <a:moveTo>
                  <a:pt x="0" y="7314868"/>
                </a:moveTo>
                <a:lnTo>
                  <a:pt x="7314868" y="0"/>
                </a:lnTo>
                <a:lnTo>
                  <a:pt x="7499811" y="184942"/>
                </a:lnTo>
                <a:lnTo>
                  <a:pt x="7499811" y="9513150"/>
                </a:lnTo>
                <a:lnTo>
                  <a:pt x="3545114" y="13467847"/>
                </a:lnTo>
                <a:lnTo>
                  <a:pt x="0" y="9922733"/>
                </a:lnTo>
                <a:close/>
              </a:path>
            </a:pathLst>
          </a:custGeom>
          <a:gradFill>
            <a:gsLst>
              <a:gs pos="24000">
                <a:srgbClr val="7F35AB"/>
              </a:gs>
              <a:gs pos="87000">
                <a:srgbClr val="264088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12F29CAF-76E7-4387-BEA8-66F482EB65A2}"/>
              </a:ext>
            </a:extLst>
          </p:cNvPr>
          <p:cNvSpPr/>
          <p:nvPr/>
        </p:nvSpPr>
        <p:spPr>
          <a:xfrm rot="2700000">
            <a:off x="7034683" y="-170263"/>
            <a:ext cx="1042026" cy="8666196"/>
          </a:xfrm>
          <a:custGeom>
            <a:avLst/>
            <a:gdLst>
              <a:gd name="connsiteX0" fmla="*/ 0 w 1042026"/>
              <a:gd name="connsiteY0" fmla="*/ 0 h 8663939"/>
              <a:gd name="connsiteX1" fmla="*/ 1042026 w 1042026"/>
              <a:gd name="connsiteY1" fmla="*/ 0 h 8663939"/>
              <a:gd name="connsiteX2" fmla="*/ 1042026 w 1042026"/>
              <a:gd name="connsiteY2" fmla="*/ 7621913 h 8663939"/>
              <a:gd name="connsiteX3" fmla="*/ 0 w 1042026"/>
              <a:gd name="connsiteY3" fmla="*/ 8663939 h 8663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2026" h="8663939">
                <a:moveTo>
                  <a:pt x="0" y="0"/>
                </a:moveTo>
                <a:lnTo>
                  <a:pt x="1042026" y="0"/>
                </a:lnTo>
                <a:lnTo>
                  <a:pt x="1042026" y="7621913"/>
                </a:lnTo>
                <a:lnTo>
                  <a:pt x="0" y="8663939"/>
                </a:lnTo>
                <a:close/>
              </a:path>
            </a:pathLst>
          </a:custGeom>
          <a:gradFill>
            <a:gsLst>
              <a:gs pos="22000">
                <a:srgbClr val="7F35AB">
                  <a:alpha val="94000"/>
                </a:srgbClr>
              </a:gs>
              <a:gs pos="95000">
                <a:schemeClr val="bg1"/>
              </a:gs>
              <a:gs pos="77000">
                <a:schemeClr val="bg1">
                  <a:alpha val="79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48347C3-DAFD-4322-8B75-FAADCB97A100}"/>
              </a:ext>
            </a:extLst>
          </p:cNvPr>
          <p:cNvSpPr txBox="1"/>
          <p:nvPr/>
        </p:nvSpPr>
        <p:spPr bwMode="white"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A840448-0A4C-4F83-A1CE-7B630AF6D91D}"/>
              </a:ext>
            </a:extLst>
          </p:cNvPr>
          <p:cNvGrpSpPr/>
          <p:nvPr/>
        </p:nvGrpSpPr>
        <p:grpSpPr>
          <a:xfrm>
            <a:off x="608171" y="6445106"/>
            <a:ext cx="1184706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33BBD7F2-6BDB-40F5-BE43-2E5C642F40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1898F8B4-B178-4326-B6D0-C409F52A5D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04FAC758-8579-4948-8E17-F881282AF5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9BC37D6E-0610-40BC-A869-ED4C24F40D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id="{0AD2EDE2-8C04-4779-942A-CD00356199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id="{B9B95322-EB86-42B6-BCDB-3C38F71CED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id="{20532F85-7A34-4927-9486-A847F29CF7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10DCB4EB-8A9B-485D-A968-34B397B482C3}"/>
              </a:ext>
            </a:extLst>
          </p:cNvPr>
          <p:cNvSpPr txBox="1"/>
          <p:nvPr/>
        </p:nvSpPr>
        <p:spPr bwMode="white">
          <a:xfrm flipH="1">
            <a:off x="2074133" y="6506318"/>
            <a:ext cx="172933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fidential   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©2019 VMware, Inc.</a:t>
            </a:r>
          </a:p>
        </p:txBody>
      </p:sp>
      <p:sp>
        <p:nvSpPr>
          <p:cNvPr id="41" name="Picture Placeholder 184">
            <a:extLst>
              <a:ext uri="{FF2B5EF4-FFF2-40B4-BE49-F238E27FC236}">
                <a16:creationId xmlns:a16="http://schemas.microsoft.com/office/drawing/2014/main" id="{997DC603-F304-4357-BF7F-19215EB70C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525372" y="4619335"/>
            <a:ext cx="2740739" cy="1371600"/>
          </a:xfrm>
          <a:noFill/>
        </p:spPr>
        <p:txBody>
          <a:bodyPr anchor="ctr"/>
          <a:lstStyle>
            <a:lvl1pPr algn="ctr">
              <a:defRPr sz="2400" b="1">
                <a:solidFill>
                  <a:srgbClr val="F8981D"/>
                </a:solidFill>
              </a:defRPr>
            </a:lvl1pPr>
          </a:lstStyle>
          <a:p>
            <a:r>
              <a:rPr lang="en-US" dirty="0"/>
              <a:t>Click to insert logo or delete box if not needed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6C21BA7-C6D2-446E-8FD2-266107E90C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9026" y="1600200"/>
            <a:ext cx="5414658" cy="3200400"/>
          </a:xfrm>
        </p:spPr>
        <p:txBody>
          <a:bodyPr anchor="b"/>
          <a:lstStyle>
            <a:lvl1pPr marL="169863" indent="-169863">
              <a:buClrTx/>
              <a:buSzPct val="100000"/>
              <a:buFont typeface="Metropolis" panose="00000500000000000000" pitchFamily="2" charset="0"/>
              <a:buChar char="“"/>
              <a:defRPr sz="2800">
                <a:solidFill>
                  <a:schemeClr val="bg1"/>
                </a:solidFill>
              </a:defRPr>
            </a:lvl1pPr>
            <a:lvl2pPr marL="457200" indent="-184150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2pPr>
            <a:lvl3pPr marL="744538" indent="-16986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3pPr>
            <a:lvl4pPr marL="969963" indent="-166688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4pPr>
            <a:lvl5pPr marL="1143000" indent="-13811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762CBDD-60C2-443D-88B5-C596896049D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808" y="5065776"/>
            <a:ext cx="4582337" cy="27432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</p:spTree>
    <p:extLst>
      <p:ext uri="{BB962C8B-B14F-4D97-AF65-F5344CB8AC3E}">
        <p14:creationId xmlns:p14="http://schemas.microsoft.com/office/powerpoint/2010/main" val="2583464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–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89834265-B4D7-4504-9C1C-C962DD96E4D9}"/>
              </a:ext>
            </a:extLst>
          </p:cNvPr>
          <p:cNvSpPr/>
          <p:nvPr/>
        </p:nvSpPr>
        <p:spPr>
          <a:xfrm rot="2700000">
            <a:off x="1157786" y="-4494882"/>
            <a:ext cx="7499811" cy="13471355"/>
          </a:xfrm>
          <a:custGeom>
            <a:avLst/>
            <a:gdLst>
              <a:gd name="connsiteX0" fmla="*/ 0 w 7499811"/>
              <a:gd name="connsiteY0" fmla="*/ 7314868 h 13467847"/>
              <a:gd name="connsiteX1" fmla="*/ 7314868 w 7499811"/>
              <a:gd name="connsiteY1" fmla="*/ 0 h 13467847"/>
              <a:gd name="connsiteX2" fmla="*/ 7499811 w 7499811"/>
              <a:gd name="connsiteY2" fmla="*/ 184942 h 13467847"/>
              <a:gd name="connsiteX3" fmla="*/ 7499811 w 7499811"/>
              <a:gd name="connsiteY3" fmla="*/ 9513150 h 13467847"/>
              <a:gd name="connsiteX4" fmla="*/ 3545114 w 7499811"/>
              <a:gd name="connsiteY4" fmla="*/ 13467847 h 13467847"/>
              <a:gd name="connsiteX5" fmla="*/ 0 w 7499811"/>
              <a:gd name="connsiteY5" fmla="*/ 9922733 h 13467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9811" h="13467847">
                <a:moveTo>
                  <a:pt x="0" y="7314868"/>
                </a:moveTo>
                <a:lnTo>
                  <a:pt x="7314868" y="0"/>
                </a:lnTo>
                <a:lnTo>
                  <a:pt x="7499811" y="184942"/>
                </a:lnTo>
                <a:lnTo>
                  <a:pt x="7499811" y="9513150"/>
                </a:lnTo>
                <a:lnTo>
                  <a:pt x="3545114" y="13467847"/>
                </a:lnTo>
                <a:lnTo>
                  <a:pt x="0" y="9922733"/>
                </a:lnTo>
                <a:close/>
              </a:path>
            </a:pathLst>
          </a:custGeom>
          <a:gradFill>
            <a:gsLst>
              <a:gs pos="24000">
                <a:schemeClr val="accent3"/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12F29CAF-76E7-4387-BEA8-66F482EB65A2}"/>
              </a:ext>
            </a:extLst>
          </p:cNvPr>
          <p:cNvSpPr/>
          <p:nvPr/>
        </p:nvSpPr>
        <p:spPr>
          <a:xfrm rot="2700000">
            <a:off x="7034683" y="-170263"/>
            <a:ext cx="1042026" cy="8666196"/>
          </a:xfrm>
          <a:custGeom>
            <a:avLst/>
            <a:gdLst>
              <a:gd name="connsiteX0" fmla="*/ 0 w 1042026"/>
              <a:gd name="connsiteY0" fmla="*/ 0 h 8663939"/>
              <a:gd name="connsiteX1" fmla="*/ 1042026 w 1042026"/>
              <a:gd name="connsiteY1" fmla="*/ 0 h 8663939"/>
              <a:gd name="connsiteX2" fmla="*/ 1042026 w 1042026"/>
              <a:gd name="connsiteY2" fmla="*/ 7621913 h 8663939"/>
              <a:gd name="connsiteX3" fmla="*/ 0 w 1042026"/>
              <a:gd name="connsiteY3" fmla="*/ 8663939 h 8663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2026" h="8663939">
                <a:moveTo>
                  <a:pt x="0" y="0"/>
                </a:moveTo>
                <a:lnTo>
                  <a:pt x="1042026" y="0"/>
                </a:lnTo>
                <a:lnTo>
                  <a:pt x="1042026" y="7621913"/>
                </a:lnTo>
                <a:lnTo>
                  <a:pt x="0" y="8663939"/>
                </a:lnTo>
                <a:close/>
              </a:path>
            </a:pathLst>
          </a:custGeom>
          <a:gradFill>
            <a:gsLst>
              <a:gs pos="24000">
                <a:schemeClr val="accent3"/>
              </a:gs>
              <a:gs pos="80511">
                <a:schemeClr val="bg1">
                  <a:alpha val="76000"/>
                </a:schemeClr>
              </a:gs>
              <a:gs pos="100000">
                <a:schemeClr val="bg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48347C3-DAFD-4322-8B75-FAADCB97A100}"/>
              </a:ext>
            </a:extLst>
          </p:cNvPr>
          <p:cNvSpPr txBox="1"/>
          <p:nvPr/>
        </p:nvSpPr>
        <p:spPr bwMode="white"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A840448-0A4C-4F83-A1CE-7B630AF6D91D}"/>
              </a:ext>
            </a:extLst>
          </p:cNvPr>
          <p:cNvGrpSpPr/>
          <p:nvPr/>
        </p:nvGrpSpPr>
        <p:grpSpPr>
          <a:xfrm>
            <a:off x="608171" y="6445106"/>
            <a:ext cx="1184706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33BBD7F2-6BDB-40F5-BE43-2E5C642F40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1898F8B4-B178-4326-B6D0-C409F52A5D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04FAC758-8579-4948-8E17-F881282AF5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9BC37D6E-0610-40BC-A869-ED4C24F40D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id="{0AD2EDE2-8C04-4779-942A-CD00356199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id="{B9B95322-EB86-42B6-BCDB-3C38F71CED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id="{20532F85-7A34-4927-9486-A847F29CF7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10DCB4EB-8A9B-485D-A968-34B397B482C3}"/>
              </a:ext>
            </a:extLst>
          </p:cNvPr>
          <p:cNvSpPr txBox="1"/>
          <p:nvPr/>
        </p:nvSpPr>
        <p:spPr bwMode="white">
          <a:xfrm flipH="1">
            <a:off x="2074133" y="6506318"/>
            <a:ext cx="172933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fidential   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©2019 VMware, Inc.</a:t>
            </a:r>
          </a:p>
        </p:txBody>
      </p:sp>
      <p:sp>
        <p:nvSpPr>
          <p:cNvPr id="41" name="Picture Placeholder 184">
            <a:extLst>
              <a:ext uri="{FF2B5EF4-FFF2-40B4-BE49-F238E27FC236}">
                <a16:creationId xmlns:a16="http://schemas.microsoft.com/office/drawing/2014/main" id="{997DC603-F304-4357-BF7F-19215EB70C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525372" y="4619335"/>
            <a:ext cx="2740739" cy="1371600"/>
          </a:xfrm>
          <a:noFill/>
        </p:spPr>
        <p:txBody>
          <a:bodyPr anchor="ctr"/>
          <a:lstStyle>
            <a:lvl1pPr algn="ctr">
              <a:defRPr sz="2400" b="1">
                <a:solidFill>
                  <a:srgbClr val="F8981D"/>
                </a:solidFill>
              </a:defRPr>
            </a:lvl1pPr>
          </a:lstStyle>
          <a:p>
            <a:r>
              <a:rPr lang="en-US" dirty="0"/>
              <a:t>Click to insert logo or delete box if not needed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6C21BA7-C6D2-446E-8FD2-266107E90C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9026" y="1600200"/>
            <a:ext cx="5414658" cy="3200400"/>
          </a:xfrm>
        </p:spPr>
        <p:txBody>
          <a:bodyPr anchor="b"/>
          <a:lstStyle>
            <a:lvl1pPr marL="169863" indent="-169863">
              <a:buClrTx/>
              <a:buSzPct val="100000"/>
              <a:buFont typeface="Metropolis" panose="00000500000000000000" pitchFamily="2" charset="0"/>
              <a:buChar char="“"/>
              <a:defRPr sz="2800">
                <a:solidFill>
                  <a:schemeClr val="bg1"/>
                </a:solidFill>
              </a:defRPr>
            </a:lvl1pPr>
            <a:lvl2pPr marL="457200" indent="-184150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2pPr>
            <a:lvl3pPr marL="744538" indent="-16986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3pPr>
            <a:lvl4pPr marL="969963" indent="-166688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4pPr>
            <a:lvl5pPr marL="1143000" indent="-13811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762CBDD-60C2-443D-88B5-C596896049D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808" y="5065776"/>
            <a:ext cx="4582337" cy="27432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</p:spTree>
    <p:extLst>
      <p:ext uri="{BB962C8B-B14F-4D97-AF65-F5344CB8AC3E}">
        <p14:creationId xmlns:p14="http://schemas.microsoft.com/office/powerpoint/2010/main" val="1899845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with Pho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6AB501C1-9DF6-44B6-A147-29CFF5E96E50}"/>
              </a:ext>
            </a:extLst>
          </p:cNvPr>
          <p:cNvSpPr/>
          <p:nvPr/>
        </p:nvSpPr>
        <p:spPr>
          <a:xfrm rot="2700000">
            <a:off x="970105" y="-4050628"/>
            <a:ext cx="6293364" cy="12458062"/>
          </a:xfrm>
          <a:custGeom>
            <a:avLst/>
            <a:gdLst>
              <a:gd name="connsiteX0" fmla="*/ 0 w 6293364"/>
              <a:gd name="connsiteY0" fmla="*/ 6293364 h 12454818"/>
              <a:gd name="connsiteX1" fmla="*/ 6293364 w 6293364"/>
              <a:gd name="connsiteY1" fmla="*/ 0 h 12454818"/>
              <a:gd name="connsiteX2" fmla="*/ 6293364 w 6293364"/>
              <a:gd name="connsiteY2" fmla="*/ 9715045 h 12454818"/>
              <a:gd name="connsiteX3" fmla="*/ 3553591 w 6293364"/>
              <a:gd name="connsiteY3" fmla="*/ 12454818 h 12454818"/>
              <a:gd name="connsiteX4" fmla="*/ 0 w 6293364"/>
              <a:gd name="connsiteY4" fmla="*/ 8901227 h 12454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93364" h="12454818">
                <a:moveTo>
                  <a:pt x="0" y="6293364"/>
                </a:moveTo>
                <a:lnTo>
                  <a:pt x="6293364" y="0"/>
                </a:lnTo>
                <a:lnTo>
                  <a:pt x="6293364" y="9715045"/>
                </a:lnTo>
                <a:lnTo>
                  <a:pt x="3553591" y="12454818"/>
                </a:lnTo>
                <a:lnTo>
                  <a:pt x="0" y="8901227"/>
                </a:lnTo>
                <a:close/>
              </a:path>
            </a:pathLst>
          </a:custGeom>
          <a:gradFill>
            <a:gsLst>
              <a:gs pos="24000">
                <a:schemeClr val="accent4">
                  <a:alpha val="46000"/>
                </a:schemeClr>
              </a:gs>
              <a:gs pos="79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48347C3-DAFD-4322-8B75-FAADCB97A100}"/>
              </a:ext>
            </a:extLst>
          </p:cNvPr>
          <p:cNvSpPr txBox="1"/>
          <p:nvPr/>
        </p:nvSpPr>
        <p:spPr bwMode="white"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A840448-0A4C-4F83-A1CE-7B630AF6D91D}"/>
              </a:ext>
            </a:extLst>
          </p:cNvPr>
          <p:cNvGrpSpPr/>
          <p:nvPr/>
        </p:nvGrpSpPr>
        <p:grpSpPr>
          <a:xfrm>
            <a:off x="608171" y="6445106"/>
            <a:ext cx="1184706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33BBD7F2-6BDB-40F5-BE43-2E5C642F40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1898F8B4-B178-4326-B6D0-C409F52A5D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04FAC758-8579-4948-8E17-F881282AF5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9BC37D6E-0610-40BC-A869-ED4C24F40D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id="{0AD2EDE2-8C04-4779-942A-CD00356199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id="{B9B95322-EB86-42B6-BCDB-3C38F71CED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id="{20532F85-7A34-4927-9486-A847F29CF7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10DCB4EB-8A9B-485D-A968-34B397B482C3}"/>
              </a:ext>
            </a:extLst>
          </p:cNvPr>
          <p:cNvSpPr txBox="1"/>
          <p:nvPr/>
        </p:nvSpPr>
        <p:spPr bwMode="white">
          <a:xfrm flipH="1">
            <a:off x="2074133" y="6506318"/>
            <a:ext cx="172933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fidential   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©2019 VMware, Inc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6C21BA7-C6D2-446E-8FD2-266107E90C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9026" y="1600200"/>
            <a:ext cx="5414658" cy="3200400"/>
          </a:xfrm>
        </p:spPr>
        <p:txBody>
          <a:bodyPr anchor="b"/>
          <a:lstStyle>
            <a:lvl1pPr marL="169863" indent="-169863">
              <a:buClrTx/>
              <a:buSzPct val="100000"/>
              <a:buFont typeface="Metropolis" panose="00000500000000000000" pitchFamily="2" charset="0"/>
              <a:buChar char="“"/>
              <a:defRPr sz="2800">
                <a:solidFill>
                  <a:schemeClr val="bg1"/>
                </a:solidFill>
              </a:defRPr>
            </a:lvl1pPr>
            <a:lvl2pPr marL="457200" indent="-184150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2pPr>
            <a:lvl3pPr marL="744538" indent="-16986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3pPr>
            <a:lvl4pPr marL="969963" indent="-166688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4pPr>
            <a:lvl5pPr marL="1143000" indent="-13811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762CBDD-60C2-443D-88B5-C596896049D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808" y="5065776"/>
            <a:ext cx="4582337" cy="27432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</p:spTree>
    <p:extLst>
      <p:ext uri="{BB962C8B-B14F-4D97-AF65-F5344CB8AC3E}">
        <p14:creationId xmlns:p14="http://schemas.microsoft.com/office/powerpoint/2010/main" val="2132865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with Photo – Purp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6AB501C1-9DF6-44B6-A147-29CFF5E96E50}"/>
              </a:ext>
            </a:extLst>
          </p:cNvPr>
          <p:cNvSpPr/>
          <p:nvPr/>
        </p:nvSpPr>
        <p:spPr>
          <a:xfrm rot="2700000">
            <a:off x="970105" y="-4050628"/>
            <a:ext cx="6293364" cy="12458062"/>
          </a:xfrm>
          <a:custGeom>
            <a:avLst/>
            <a:gdLst>
              <a:gd name="connsiteX0" fmla="*/ 0 w 6293364"/>
              <a:gd name="connsiteY0" fmla="*/ 6293364 h 12454818"/>
              <a:gd name="connsiteX1" fmla="*/ 6293364 w 6293364"/>
              <a:gd name="connsiteY1" fmla="*/ 0 h 12454818"/>
              <a:gd name="connsiteX2" fmla="*/ 6293364 w 6293364"/>
              <a:gd name="connsiteY2" fmla="*/ 9715045 h 12454818"/>
              <a:gd name="connsiteX3" fmla="*/ 3553591 w 6293364"/>
              <a:gd name="connsiteY3" fmla="*/ 12454818 h 12454818"/>
              <a:gd name="connsiteX4" fmla="*/ 0 w 6293364"/>
              <a:gd name="connsiteY4" fmla="*/ 8901227 h 12454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93364" h="12454818">
                <a:moveTo>
                  <a:pt x="0" y="6293364"/>
                </a:moveTo>
                <a:lnTo>
                  <a:pt x="6293364" y="0"/>
                </a:lnTo>
                <a:lnTo>
                  <a:pt x="6293364" y="9715045"/>
                </a:lnTo>
                <a:lnTo>
                  <a:pt x="3553591" y="12454818"/>
                </a:lnTo>
                <a:lnTo>
                  <a:pt x="0" y="8901227"/>
                </a:lnTo>
                <a:close/>
              </a:path>
            </a:pathLst>
          </a:custGeom>
          <a:gradFill>
            <a:gsLst>
              <a:gs pos="0">
                <a:srgbClr val="7F35AB">
                  <a:alpha val="27000"/>
                </a:srgbClr>
              </a:gs>
              <a:gs pos="82000">
                <a:srgbClr val="264088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48347C3-DAFD-4322-8B75-FAADCB97A100}"/>
              </a:ext>
            </a:extLst>
          </p:cNvPr>
          <p:cNvSpPr txBox="1"/>
          <p:nvPr/>
        </p:nvSpPr>
        <p:spPr bwMode="white"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A840448-0A4C-4F83-A1CE-7B630AF6D91D}"/>
              </a:ext>
            </a:extLst>
          </p:cNvPr>
          <p:cNvGrpSpPr/>
          <p:nvPr/>
        </p:nvGrpSpPr>
        <p:grpSpPr>
          <a:xfrm>
            <a:off x="608171" y="6445106"/>
            <a:ext cx="1184706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33BBD7F2-6BDB-40F5-BE43-2E5C642F40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1898F8B4-B178-4326-B6D0-C409F52A5D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04FAC758-8579-4948-8E17-F881282AF5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9BC37D6E-0610-40BC-A869-ED4C24F40D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id="{0AD2EDE2-8C04-4779-942A-CD00356199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id="{B9B95322-EB86-42B6-BCDB-3C38F71CED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id="{20532F85-7A34-4927-9486-A847F29CF7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10DCB4EB-8A9B-485D-A968-34B397B482C3}"/>
              </a:ext>
            </a:extLst>
          </p:cNvPr>
          <p:cNvSpPr txBox="1"/>
          <p:nvPr/>
        </p:nvSpPr>
        <p:spPr bwMode="white">
          <a:xfrm flipH="1">
            <a:off x="2074133" y="6506318"/>
            <a:ext cx="172933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fidential   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©2019 VMware, Inc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6C21BA7-C6D2-446E-8FD2-266107E90C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9026" y="1600200"/>
            <a:ext cx="5414658" cy="3200400"/>
          </a:xfrm>
        </p:spPr>
        <p:txBody>
          <a:bodyPr anchor="b"/>
          <a:lstStyle>
            <a:lvl1pPr marL="169863" indent="-169863">
              <a:buClrTx/>
              <a:buSzPct val="100000"/>
              <a:buFont typeface="Metropolis" panose="00000500000000000000" pitchFamily="2" charset="0"/>
              <a:buChar char="“"/>
              <a:defRPr sz="2800">
                <a:solidFill>
                  <a:schemeClr val="bg1"/>
                </a:solidFill>
              </a:defRPr>
            </a:lvl1pPr>
            <a:lvl2pPr marL="457200" indent="-184150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2pPr>
            <a:lvl3pPr marL="744538" indent="-16986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3pPr>
            <a:lvl4pPr marL="969963" indent="-166688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4pPr>
            <a:lvl5pPr marL="1143000" indent="-13811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762CBDD-60C2-443D-88B5-C596896049D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808" y="5065776"/>
            <a:ext cx="4582337" cy="27432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</p:spTree>
    <p:extLst>
      <p:ext uri="{BB962C8B-B14F-4D97-AF65-F5344CB8AC3E}">
        <p14:creationId xmlns:p14="http://schemas.microsoft.com/office/powerpoint/2010/main" val="241969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with Photo –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6AB501C1-9DF6-44B6-A147-29CFF5E96E50}"/>
              </a:ext>
            </a:extLst>
          </p:cNvPr>
          <p:cNvSpPr/>
          <p:nvPr/>
        </p:nvSpPr>
        <p:spPr>
          <a:xfrm rot="2700000">
            <a:off x="970105" y="-4050628"/>
            <a:ext cx="6293364" cy="12458062"/>
          </a:xfrm>
          <a:custGeom>
            <a:avLst/>
            <a:gdLst>
              <a:gd name="connsiteX0" fmla="*/ 0 w 6293364"/>
              <a:gd name="connsiteY0" fmla="*/ 6293364 h 12454818"/>
              <a:gd name="connsiteX1" fmla="*/ 6293364 w 6293364"/>
              <a:gd name="connsiteY1" fmla="*/ 0 h 12454818"/>
              <a:gd name="connsiteX2" fmla="*/ 6293364 w 6293364"/>
              <a:gd name="connsiteY2" fmla="*/ 9715045 h 12454818"/>
              <a:gd name="connsiteX3" fmla="*/ 3553591 w 6293364"/>
              <a:gd name="connsiteY3" fmla="*/ 12454818 h 12454818"/>
              <a:gd name="connsiteX4" fmla="*/ 0 w 6293364"/>
              <a:gd name="connsiteY4" fmla="*/ 8901227 h 12454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93364" h="12454818">
                <a:moveTo>
                  <a:pt x="0" y="6293364"/>
                </a:moveTo>
                <a:lnTo>
                  <a:pt x="6293364" y="0"/>
                </a:lnTo>
                <a:lnTo>
                  <a:pt x="6293364" y="9715045"/>
                </a:lnTo>
                <a:lnTo>
                  <a:pt x="3553591" y="12454818"/>
                </a:lnTo>
                <a:lnTo>
                  <a:pt x="0" y="8901227"/>
                </a:lnTo>
                <a:close/>
              </a:path>
            </a:pathLst>
          </a:custGeom>
          <a:gradFill>
            <a:gsLst>
              <a:gs pos="24000">
                <a:schemeClr val="accent3">
                  <a:alpha val="40000"/>
                </a:schemeClr>
              </a:gs>
              <a:gs pos="82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48347C3-DAFD-4322-8B75-FAADCB97A100}"/>
              </a:ext>
            </a:extLst>
          </p:cNvPr>
          <p:cNvSpPr txBox="1"/>
          <p:nvPr/>
        </p:nvSpPr>
        <p:spPr bwMode="white"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A840448-0A4C-4F83-A1CE-7B630AF6D91D}"/>
              </a:ext>
            </a:extLst>
          </p:cNvPr>
          <p:cNvGrpSpPr/>
          <p:nvPr/>
        </p:nvGrpSpPr>
        <p:grpSpPr>
          <a:xfrm>
            <a:off x="608171" y="6445106"/>
            <a:ext cx="1184706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33BBD7F2-6BDB-40F5-BE43-2E5C642F40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1898F8B4-B178-4326-B6D0-C409F52A5D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04FAC758-8579-4948-8E17-F881282AF5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9BC37D6E-0610-40BC-A869-ED4C24F40D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id="{0AD2EDE2-8C04-4779-942A-CD00356199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id="{B9B95322-EB86-42B6-BCDB-3C38F71CED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id="{20532F85-7A34-4927-9486-A847F29CF7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10DCB4EB-8A9B-485D-A968-34B397B482C3}"/>
              </a:ext>
            </a:extLst>
          </p:cNvPr>
          <p:cNvSpPr txBox="1"/>
          <p:nvPr/>
        </p:nvSpPr>
        <p:spPr bwMode="white">
          <a:xfrm flipH="1">
            <a:off x="2074133" y="6506318"/>
            <a:ext cx="172933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fidential   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©2019 VMware, Inc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6C21BA7-C6D2-446E-8FD2-266107E90C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9026" y="1600200"/>
            <a:ext cx="5414658" cy="3200400"/>
          </a:xfrm>
        </p:spPr>
        <p:txBody>
          <a:bodyPr anchor="b"/>
          <a:lstStyle>
            <a:lvl1pPr marL="169863" indent="-169863">
              <a:buClrTx/>
              <a:buSzPct val="100000"/>
              <a:buFont typeface="Metropolis" panose="00000500000000000000" pitchFamily="2" charset="0"/>
              <a:buChar char="“"/>
              <a:defRPr sz="2800">
                <a:solidFill>
                  <a:schemeClr val="bg1"/>
                </a:solidFill>
              </a:defRPr>
            </a:lvl1pPr>
            <a:lvl2pPr marL="457200" indent="-184150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2pPr>
            <a:lvl3pPr marL="744538" indent="-16986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3pPr>
            <a:lvl4pPr marL="969963" indent="-166688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4pPr>
            <a:lvl5pPr marL="1143000" indent="-13811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762CBDD-60C2-443D-88B5-C596896049D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808" y="5065776"/>
            <a:ext cx="4582337" cy="27432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</p:spTree>
    <p:extLst>
      <p:ext uri="{BB962C8B-B14F-4D97-AF65-F5344CB8AC3E}">
        <p14:creationId xmlns:p14="http://schemas.microsoft.com/office/powerpoint/2010/main" val="1888716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with Photo – Whi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6AB501C1-9DF6-44B6-A147-29CFF5E96E50}"/>
              </a:ext>
            </a:extLst>
          </p:cNvPr>
          <p:cNvSpPr/>
          <p:nvPr/>
        </p:nvSpPr>
        <p:spPr>
          <a:xfrm rot="2700000">
            <a:off x="970105" y="-4050628"/>
            <a:ext cx="6293364" cy="12458062"/>
          </a:xfrm>
          <a:custGeom>
            <a:avLst/>
            <a:gdLst>
              <a:gd name="connsiteX0" fmla="*/ 0 w 6293364"/>
              <a:gd name="connsiteY0" fmla="*/ 6293364 h 12454818"/>
              <a:gd name="connsiteX1" fmla="*/ 6293364 w 6293364"/>
              <a:gd name="connsiteY1" fmla="*/ 0 h 12454818"/>
              <a:gd name="connsiteX2" fmla="*/ 6293364 w 6293364"/>
              <a:gd name="connsiteY2" fmla="*/ 9715045 h 12454818"/>
              <a:gd name="connsiteX3" fmla="*/ 3553591 w 6293364"/>
              <a:gd name="connsiteY3" fmla="*/ 12454818 h 12454818"/>
              <a:gd name="connsiteX4" fmla="*/ 0 w 6293364"/>
              <a:gd name="connsiteY4" fmla="*/ 8901227 h 12454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93364" h="12454818">
                <a:moveTo>
                  <a:pt x="0" y="6293364"/>
                </a:moveTo>
                <a:lnTo>
                  <a:pt x="6293364" y="0"/>
                </a:lnTo>
                <a:lnTo>
                  <a:pt x="6293364" y="9715045"/>
                </a:lnTo>
                <a:lnTo>
                  <a:pt x="3553591" y="12454818"/>
                </a:lnTo>
                <a:lnTo>
                  <a:pt x="0" y="8901227"/>
                </a:lnTo>
                <a:close/>
              </a:path>
            </a:pathLst>
          </a:custGeom>
          <a:gradFill>
            <a:gsLst>
              <a:gs pos="18000">
                <a:schemeClr val="bg1">
                  <a:alpha val="25000"/>
                </a:schemeClr>
              </a:gs>
              <a:gs pos="46000">
                <a:srgbClr val="FFFFFF">
                  <a:alpha val="64000"/>
                </a:srgbClr>
              </a:gs>
              <a:gs pos="77000">
                <a:schemeClr val="bg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48347C3-DAFD-4322-8B75-FAADCB97A100}"/>
              </a:ext>
            </a:extLst>
          </p:cNvPr>
          <p:cNvSpPr txBox="1"/>
          <p:nvPr/>
        </p:nvSpPr>
        <p:spPr bwMode="white"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A840448-0A4C-4F83-A1CE-7B630AF6D91D}"/>
              </a:ext>
            </a:extLst>
          </p:cNvPr>
          <p:cNvGrpSpPr/>
          <p:nvPr/>
        </p:nvGrpSpPr>
        <p:grpSpPr>
          <a:xfrm>
            <a:off x="608171" y="6445106"/>
            <a:ext cx="1184706" cy="186690"/>
            <a:chOff x="863272" y="6563918"/>
            <a:chExt cx="861082" cy="135727"/>
          </a:xfrm>
          <a:solidFill>
            <a:schemeClr val="tx1"/>
          </a:solidFill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33BBD7F2-6BDB-40F5-BE43-2E5C642F40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1898F8B4-B178-4326-B6D0-C409F52A5D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04FAC758-8579-4948-8E17-F881282AF5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9BC37D6E-0610-40BC-A869-ED4C24F40D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id="{0AD2EDE2-8C04-4779-942A-CD00356199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id="{B9B95322-EB86-42B6-BCDB-3C38F71CED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id="{20532F85-7A34-4927-9486-A847F29CF7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10DCB4EB-8A9B-485D-A968-34B397B482C3}"/>
              </a:ext>
            </a:extLst>
          </p:cNvPr>
          <p:cNvSpPr txBox="1"/>
          <p:nvPr/>
        </p:nvSpPr>
        <p:spPr bwMode="white">
          <a:xfrm flipH="1">
            <a:off x="2074133" y="6506318"/>
            <a:ext cx="172933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fidential   </a:t>
            </a:r>
            <a:r>
              <a:rPr lang="en-US" sz="8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©2019 VMware, Inc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6C21BA7-C6D2-446E-8FD2-266107E90C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9026" y="1600200"/>
            <a:ext cx="5414658" cy="3200400"/>
          </a:xfrm>
        </p:spPr>
        <p:txBody>
          <a:bodyPr anchor="b"/>
          <a:lstStyle>
            <a:lvl1pPr marL="169863" indent="-169863">
              <a:buClrTx/>
              <a:buSzPct val="100000"/>
              <a:buFont typeface="Metropolis" panose="00000500000000000000" pitchFamily="2" charset="0"/>
              <a:buChar char="“"/>
              <a:defRPr sz="2800">
                <a:solidFill>
                  <a:schemeClr val="tx2"/>
                </a:solidFill>
              </a:defRPr>
            </a:lvl1pPr>
            <a:lvl2pPr marL="457200" indent="-184150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2pPr>
            <a:lvl3pPr marL="744538" indent="-16986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3pPr>
            <a:lvl4pPr marL="969963" indent="-166688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4pPr>
            <a:lvl5pPr marL="1143000" indent="-13811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762CBDD-60C2-443D-88B5-C596896049D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808" y="5065776"/>
            <a:ext cx="4582337" cy="274320"/>
          </a:xfrm>
        </p:spPr>
        <p:txBody>
          <a:bodyPr/>
          <a:lstStyle>
            <a:lvl1pPr>
              <a:defRPr sz="18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</p:spTree>
    <p:extLst>
      <p:ext uri="{BB962C8B-B14F-4D97-AF65-F5344CB8AC3E}">
        <p14:creationId xmlns:p14="http://schemas.microsoft.com/office/powerpoint/2010/main" val="87327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D034FA3F-D529-4D8B-B6EC-A8341FCAF67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16666" y="1600201"/>
            <a:ext cx="10975658" cy="4572000"/>
          </a:xfrm>
        </p:spPr>
        <p:txBody>
          <a:bodyPr/>
          <a:lstStyle>
            <a:lvl1pPr>
              <a:spcBef>
                <a:spcPts val="1500"/>
              </a:spcBef>
              <a:defRPr/>
            </a:lvl1pPr>
            <a:lvl2pPr>
              <a:spcBef>
                <a:spcPts val="300"/>
              </a:spcBef>
              <a:defRPr/>
            </a:lvl2pPr>
            <a:lvl5pPr>
              <a:defRPr/>
            </a:lvl5pPr>
            <a:lvl6pPr>
              <a:defRPr/>
            </a:lvl6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27E3E8B-0F66-4996-9785-6E9531D89A5A}"/>
              </a:ext>
            </a:extLst>
          </p:cNvPr>
          <p:cNvSpPr txBox="1"/>
          <p:nvPr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216D2F66-BB7F-4F0E-A224-A105F87676EF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3021" y="811831"/>
            <a:ext cx="10990809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924E83-0498-4D8B-94A0-3FF7CDD8F1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</p:spTree>
    <p:extLst>
      <p:ext uri="{BB962C8B-B14F-4D97-AF65-F5344CB8AC3E}">
        <p14:creationId xmlns:p14="http://schemas.microsoft.com/office/powerpoint/2010/main" val="797970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8950B906-C5A3-4658-B24C-B2B533310D26}"/>
              </a:ext>
            </a:extLst>
          </p:cNvPr>
          <p:cNvSpPr txBox="1"/>
          <p:nvPr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C28211D2-9BBA-4EB9-8867-E2CC72E9E0D1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3021" y="811831"/>
            <a:ext cx="10965543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D90EF1-7A6F-4CAE-80CD-2BC8A8107F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</p:spTree>
    <p:extLst>
      <p:ext uri="{BB962C8B-B14F-4D97-AF65-F5344CB8AC3E}">
        <p14:creationId xmlns:p14="http://schemas.microsoft.com/office/powerpoint/2010/main" val="512421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-Content Balanc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B6A9629E-98B5-43F5-8323-C894B734208A}"/>
              </a:ext>
            </a:extLst>
          </p:cNvPr>
          <p:cNvSpPr txBox="1"/>
          <p:nvPr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00E4C6-16B5-49A9-898A-3B53C5AB06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38535540-CB20-4CD5-9F73-DB64F5A49CD3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3021" y="811831"/>
            <a:ext cx="10965543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7AF420A-ED2C-4AD1-A28B-EB26178557D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0" y="1600200"/>
            <a:ext cx="5895128" cy="4572000"/>
          </a:xfrm>
        </p:spPr>
        <p:txBody>
          <a:bodyPr lIns="594360"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400"/>
            </a:lvl7pPr>
            <a:lvl8pPr>
              <a:defRPr sz="1200"/>
            </a:lvl8pPr>
            <a:lvl9pPr>
              <a:defRPr sz="18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5"/>
            <a:endParaRPr lang="en-US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CD860A49-A98C-4F0E-AB34-4E13B89D5EBC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22934" y="1600200"/>
            <a:ext cx="5869066" cy="4572000"/>
          </a:xfrm>
        </p:spPr>
        <p:txBody>
          <a:bodyPr lIns="0" rIns="594360"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400"/>
            </a:lvl7pPr>
            <a:lvl8pPr>
              <a:defRPr sz="1200"/>
            </a:lvl8pPr>
            <a:lvl9pPr>
              <a:defRPr sz="18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 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00672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1371600"/>
            <a:ext cx="3962400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4953000"/>
            <a:ext cx="2743200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111049-A980-9A4B-BDCF-935BD3D35A43}" type="datetimeFigureOut">
              <a:rPr lang="en-US" smtClean="0"/>
              <a:t>24-Sep-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9C9BFC-FCFF-7247-B387-15C2934714B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>
          <a:xfrm>
            <a:off x="4114814" y="1371600"/>
            <a:ext cx="3962400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>
          <a:xfrm>
            <a:off x="4724400" y="4953000"/>
            <a:ext cx="2743200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>
          <a:xfrm>
            <a:off x="8229614" y="1371600"/>
            <a:ext cx="3962400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>
          <a:xfrm>
            <a:off x="8839200" y="4953000"/>
            <a:ext cx="2743200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wipe dir="r"/>
      </p:transition>
    </mc:Choice>
    <mc:Fallback xmlns="">
      <p:transition xmlns:p14="http://schemas.microsoft.com/office/powerpoint/2010/main" spd="slow">
        <p:wipe dir="r"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-Content Balanced –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D034FA3F-D529-4D8B-B6EC-A8341FCAF67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ltGray">
          <a:xfrm>
            <a:off x="1" y="1600201"/>
            <a:ext cx="5895128" cy="4572000"/>
          </a:xfrm>
          <a:solidFill>
            <a:schemeClr val="accent4"/>
          </a:solidFill>
        </p:spPr>
        <p:txBody>
          <a:bodyPr vert="horz" lIns="594360" tIns="457200" rIns="457200" bIns="457200" rtlCol="0">
            <a:noAutofit/>
          </a:bodyPr>
          <a:lstStyle>
            <a:lvl1pPr>
              <a:spcBef>
                <a:spcPts val="1200"/>
              </a:spcBef>
              <a:defRPr lang="en-US" sz="1800" dirty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lang="en-US" sz="1600" dirty="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lang="en-US" sz="1400" dirty="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lang="en-US" sz="1200" dirty="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lang="en-US" sz="1200" dirty="0">
                <a:solidFill>
                  <a:schemeClr val="bg1"/>
                </a:solidFill>
              </a:defRPr>
            </a:lvl5pPr>
            <a:lvl6pPr>
              <a:buClrTx/>
              <a:defRPr sz="1800">
                <a:solidFill>
                  <a:schemeClr val="bg1"/>
                </a:solidFill>
              </a:defRPr>
            </a:lvl6pPr>
            <a:lvl7pPr>
              <a:buClrTx/>
              <a:defRPr sz="1400">
                <a:solidFill>
                  <a:schemeClr val="bg1"/>
                </a:solidFill>
              </a:defRPr>
            </a:lvl7pPr>
            <a:lvl8pPr>
              <a:buClrTx/>
              <a:defRPr sz="1200">
                <a:solidFill>
                  <a:schemeClr val="bg1"/>
                </a:solidFill>
              </a:defRPr>
            </a:lvl8pPr>
            <a:lvl9pPr>
              <a:buClrTx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 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72" name="Content Placeholder 17">
            <a:extLst>
              <a:ext uri="{FF2B5EF4-FFF2-40B4-BE49-F238E27FC236}">
                <a16:creationId xmlns:a16="http://schemas.microsoft.com/office/drawing/2014/main" id="{A0456ED3-FDC5-4E29-B939-E35EA08477C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 bwMode="ltGray">
          <a:xfrm>
            <a:off x="6325029" y="1600201"/>
            <a:ext cx="5866973" cy="4572000"/>
          </a:xfrm>
          <a:solidFill>
            <a:schemeClr val="accent1"/>
          </a:solidFill>
        </p:spPr>
        <p:txBody>
          <a:bodyPr lIns="457200" tIns="457200" rIns="594360"/>
          <a:lstStyle>
            <a:lvl1pPr>
              <a:spcBef>
                <a:spcPts val="1200"/>
              </a:spcBef>
              <a:defRPr sz="18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2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6A9629E-98B5-43F5-8323-C894B734208A}"/>
              </a:ext>
            </a:extLst>
          </p:cNvPr>
          <p:cNvSpPr txBox="1"/>
          <p:nvPr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00E4C6-16B5-49A9-898A-3B53C5AB06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38535540-CB20-4CD5-9F73-DB64F5A49CD3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3021" y="811831"/>
            <a:ext cx="10965543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028117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D034FA3F-D529-4D8B-B6EC-A8341FCAF67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1" y="1600201"/>
            <a:ext cx="5867888" cy="4572000"/>
          </a:xfrm>
          <a:solidFill>
            <a:schemeClr val="bg2"/>
          </a:solidFill>
        </p:spPr>
        <p:txBody>
          <a:bodyPr lIns="594360" tIns="1371600" rIns="548640"/>
          <a:lstStyle>
            <a:lvl1pPr>
              <a:spcBef>
                <a:spcPts val="2400"/>
              </a:spcBef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400"/>
            </a:lvl7pPr>
            <a:lvl8pPr>
              <a:defRPr sz="1200"/>
            </a:lvl8pPr>
            <a:lvl9pPr>
              <a:defRPr sz="18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sp>
        <p:nvSpPr>
          <p:cNvPr id="72" name="Content Placeholder 17">
            <a:extLst>
              <a:ext uri="{FF2B5EF4-FFF2-40B4-BE49-F238E27FC236}">
                <a16:creationId xmlns:a16="http://schemas.microsoft.com/office/drawing/2014/main" id="{A0456ED3-FDC5-4E29-B939-E35EA08477C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 bwMode="gray">
          <a:xfrm>
            <a:off x="6325029" y="1600201"/>
            <a:ext cx="5866973" cy="4572000"/>
          </a:xfrm>
          <a:solidFill>
            <a:schemeClr val="bg2"/>
          </a:solidFill>
        </p:spPr>
        <p:txBody>
          <a:bodyPr lIns="548640" tIns="1371600" rIns="548640"/>
          <a:lstStyle>
            <a:lvl1pPr>
              <a:spcBef>
                <a:spcPts val="2400"/>
              </a:spcBef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400"/>
            </a:lvl7pPr>
            <a:lvl8pPr>
              <a:defRPr sz="1200"/>
            </a:lvl8pPr>
            <a:lvl9pPr>
              <a:defRPr sz="18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 Seventh level</a:t>
            </a:r>
          </a:p>
          <a:p>
            <a:pPr lvl="7"/>
            <a:r>
              <a:rPr lang="en-US" dirty="0"/>
              <a:t> 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8337636-71A7-4831-B382-F842B3A2949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" y="1806123"/>
            <a:ext cx="5638681" cy="911225"/>
          </a:xfrm>
          <a:solidFill>
            <a:schemeClr val="accent4"/>
          </a:solidFill>
        </p:spPr>
        <p:txBody>
          <a:bodyPr vert="horz" lIns="594360" tIns="91440" rIns="457200" bIns="91440" rtlCol="0" anchor="ctr">
            <a:noAutofit/>
          </a:bodyPr>
          <a:lstStyle>
            <a:lvl1pPr>
              <a:defRPr lang="en-US"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header 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78A74DE7-78E3-4ECA-9661-D73FBD37E48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553320" y="1806123"/>
            <a:ext cx="5638680" cy="911225"/>
          </a:xfrm>
          <a:solidFill>
            <a:schemeClr val="accent1"/>
          </a:solidFill>
        </p:spPr>
        <p:txBody>
          <a:bodyPr vert="horz" lIns="338328" tIns="91440" rIns="612648" bIns="91440" rtlCol="0" anchor="ctr">
            <a:noAutofit/>
          </a:bodyPr>
          <a:lstStyle>
            <a:lvl1pPr>
              <a:defRPr lang="en-US"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header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92176E5-FE3D-4EA5-BF24-8ABF8BFBF668}"/>
              </a:ext>
            </a:extLst>
          </p:cNvPr>
          <p:cNvSpPr txBox="1"/>
          <p:nvPr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6A1FE0B-90B1-4BED-9AA5-6DC9F6424E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541C7AA-97CA-4F96-9506-F144DA2CD8E2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3021" y="811831"/>
            <a:ext cx="10965543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573263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Dynamic –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A9E4CD6E-324F-4BEC-884B-D217C07BF39E}"/>
              </a:ext>
            </a:extLst>
          </p:cNvPr>
          <p:cNvSpPr txBox="1"/>
          <p:nvPr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346AD2E-9306-49E7-A98B-7D26E458C2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wrap="none"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577AE2CA-1B34-4F04-BD7F-F624F20E94F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52086" y="1600200"/>
            <a:ext cx="8231744" cy="457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551435C2-3F7C-4835-8DB0-71E2C00537CF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3021" y="811831"/>
            <a:ext cx="10965543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add 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0FD232-93CB-4B54-A933-93C11B099F7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1600200"/>
            <a:ext cx="2894767" cy="4572000"/>
          </a:xfrm>
          <a:solidFill>
            <a:schemeClr val="accent2"/>
          </a:solidFill>
        </p:spPr>
        <p:txBody>
          <a:bodyPr lIns="594360" tIns="457200" rIns="457200" bIns="457200"/>
          <a:lstStyle>
            <a:lvl1pPr>
              <a:defRPr sz="1600">
                <a:solidFill>
                  <a:schemeClr val="bg1"/>
                </a:solidFill>
              </a:defRPr>
            </a:lvl1pPr>
            <a:lvl2pPr marL="171450" indent="-171450"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 marL="342900" indent="-171450"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  <a:lvl4pPr marL="514350" indent="-171450"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 marL="742950" indent="-171450"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 sz="1800"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 sz="1400">
                <a:solidFill>
                  <a:schemeClr val="bg1"/>
                </a:solidFill>
              </a:defRPr>
            </a:lvl7pPr>
            <a:lvl8pPr>
              <a:buClrTx/>
              <a:defRPr sz="1200">
                <a:solidFill>
                  <a:schemeClr val="bg1"/>
                </a:solidFill>
              </a:defRPr>
            </a:lvl8pPr>
            <a:lvl9pPr>
              <a:buClrTx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959884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Dynamic –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460DEEA-0331-45ED-8943-6F9E7488409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08171" y="1600200"/>
            <a:ext cx="8231744" cy="45720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DE1D12F-78DF-4A32-BDDB-1E22FB9CA5D0}"/>
              </a:ext>
            </a:extLst>
          </p:cNvPr>
          <p:cNvSpPr txBox="1"/>
          <p:nvPr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92A934A-AC6B-460C-9C93-B13CF6B626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wrap="none"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F6F5131D-84AE-4294-83A1-243FE1C81A8A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3021" y="811831"/>
            <a:ext cx="10965543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197ED16-D162-4BF7-B635-2F70E10855A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97234" y="1600200"/>
            <a:ext cx="2894766" cy="4572000"/>
          </a:xfrm>
          <a:solidFill>
            <a:schemeClr val="accent1"/>
          </a:solidFill>
        </p:spPr>
        <p:txBody>
          <a:bodyPr lIns="457200" tIns="457200" rIns="594360" bIns="457200"/>
          <a:lstStyle>
            <a:lvl1pPr>
              <a:defRPr sz="1600">
                <a:solidFill>
                  <a:schemeClr val="bg1"/>
                </a:solidFill>
              </a:defRPr>
            </a:lvl1pPr>
            <a:lvl2pPr marL="171450" indent="-171450"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 marL="342900" indent="-171450"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  <a:lvl4pPr marL="514350" indent="-171450"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 marL="685800" indent="-171450"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 Eight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23566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-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D034FA3F-D529-4D8B-B6EC-A8341FCAF67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616665" y="2515154"/>
            <a:ext cx="3347801" cy="3657600"/>
          </a:xfrm>
          <a:solidFill>
            <a:schemeClr val="bg2"/>
          </a:solidFill>
        </p:spPr>
        <p:txBody>
          <a:bodyPr lIns="182880" tIns="274320" rIns="182880"/>
          <a:lstStyle>
            <a:lvl1pPr algn="l">
              <a:spcBef>
                <a:spcPts val="1200"/>
              </a:spcBef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200"/>
            </a:lvl7pPr>
            <a:lvl8pPr>
              <a:defRPr sz="1100"/>
            </a:lvl8pPr>
            <a:lvl9pPr>
              <a:defRPr sz="16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Level two</a:t>
            </a:r>
          </a:p>
          <a:p>
            <a:pPr lvl="2"/>
            <a:r>
              <a:rPr lang="en-US" dirty="0"/>
              <a:t>Level three</a:t>
            </a:r>
          </a:p>
          <a:p>
            <a:pPr lvl="3"/>
            <a:r>
              <a:rPr lang="en-US" dirty="0"/>
              <a:t>Level four</a:t>
            </a:r>
          </a:p>
          <a:p>
            <a:pPr lvl="4"/>
            <a:r>
              <a:rPr lang="en-US" dirty="0"/>
              <a:t>Level Five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 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  <a:p>
            <a:pPr lvl="1"/>
            <a:endParaRPr lang="en-US" dirty="0"/>
          </a:p>
        </p:txBody>
      </p:sp>
      <p:sp>
        <p:nvSpPr>
          <p:cNvPr id="72" name="Content Placeholder 17">
            <a:extLst>
              <a:ext uri="{FF2B5EF4-FFF2-40B4-BE49-F238E27FC236}">
                <a16:creationId xmlns:a16="http://schemas.microsoft.com/office/drawing/2014/main" id="{A0456ED3-FDC5-4E29-B939-E35EA08477C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 bwMode="gray">
          <a:xfrm>
            <a:off x="4420828" y="2515154"/>
            <a:ext cx="3350345" cy="3657600"/>
          </a:xfrm>
          <a:solidFill>
            <a:schemeClr val="bg2"/>
          </a:solidFill>
        </p:spPr>
        <p:txBody>
          <a:bodyPr lIns="182880" tIns="274320" rIns="182880"/>
          <a:lstStyle>
            <a:lvl1pPr algn="l">
              <a:spcBef>
                <a:spcPts val="1200"/>
              </a:spcBef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200"/>
            </a:lvl7pPr>
            <a:lvl8pPr>
              <a:defRPr sz="1100"/>
            </a:lvl8pPr>
            <a:lvl9pPr>
              <a:defRPr sz="16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Level two</a:t>
            </a:r>
          </a:p>
          <a:p>
            <a:pPr lvl="2"/>
            <a:r>
              <a:rPr lang="en-US" dirty="0"/>
              <a:t>Level three</a:t>
            </a:r>
          </a:p>
          <a:p>
            <a:pPr lvl="3"/>
            <a:r>
              <a:rPr lang="en-US" dirty="0"/>
              <a:t>Level four</a:t>
            </a:r>
          </a:p>
          <a:p>
            <a:pPr lvl="4"/>
            <a:r>
              <a:rPr lang="en-US" dirty="0"/>
              <a:t>Level Five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 Level Seven 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  <a:p>
            <a:pPr lvl="3"/>
            <a:endParaRPr lang="en-US" dirty="0"/>
          </a:p>
          <a:p>
            <a:pPr lvl="1"/>
            <a:endParaRPr lang="en-US" dirty="0"/>
          </a:p>
        </p:txBody>
      </p:sp>
      <p:sp>
        <p:nvSpPr>
          <p:cNvPr id="73" name="Content Placeholder 17">
            <a:extLst>
              <a:ext uri="{FF2B5EF4-FFF2-40B4-BE49-F238E27FC236}">
                <a16:creationId xmlns:a16="http://schemas.microsoft.com/office/drawing/2014/main" id="{9C016467-4262-4DAA-9B43-A02E5753067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 bwMode="gray">
          <a:xfrm>
            <a:off x="8238506" y="2515154"/>
            <a:ext cx="3347576" cy="3657600"/>
          </a:xfrm>
          <a:solidFill>
            <a:schemeClr val="bg2"/>
          </a:solidFill>
        </p:spPr>
        <p:txBody>
          <a:bodyPr lIns="182880" tIns="274320" rIns="182880"/>
          <a:lstStyle>
            <a:lvl1pPr algn="l">
              <a:spcBef>
                <a:spcPts val="1200"/>
              </a:spcBef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200"/>
            </a:lvl7pPr>
            <a:lvl8pPr>
              <a:defRPr sz="1100"/>
            </a:lvl8pPr>
            <a:lvl9pPr>
              <a:defRPr sz="16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Level two</a:t>
            </a:r>
          </a:p>
          <a:p>
            <a:pPr lvl="2"/>
            <a:r>
              <a:rPr lang="en-US" dirty="0"/>
              <a:t>Level three</a:t>
            </a:r>
          </a:p>
          <a:p>
            <a:pPr lvl="3"/>
            <a:r>
              <a:rPr lang="en-US" dirty="0"/>
              <a:t>Level four</a:t>
            </a:r>
          </a:p>
          <a:p>
            <a:pPr lvl="4"/>
            <a:r>
              <a:rPr lang="en-US" dirty="0"/>
              <a:t>Level five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  <a:p>
            <a:pPr lvl="1"/>
            <a:endParaRPr lang="en-US" dirty="0"/>
          </a:p>
        </p:txBody>
      </p:sp>
      <p:sp>
        <p:nvSpPr>
          <p:cNvPr id="818" name="TextBox 817">
            <a:extLst>
              <a:ext uri="{FF2B5EF4-FFF2-40B4-BE49-F238E27FC236}">
                <a16:creationId xmlns:a16="http://schemas.microsoft.com/office/drawing/2014/main" id="{0B7E1504-B128-423C-AA77-E7FED5DC3B79}"/>
              </a:ext>
            </a:extLst>
          </p:cNvPr>
          <p:cNvSpPr txBox="1"/>
          <p:nvPr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F2C94F-DA57-4BDB-8E5C-E4A0C75223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C59F98B-A991-4DEC-A409-289E778CB84A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3021" y="811831"/>
            <a:ext cx="10965543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9392189-2D4C-4618-9072-F26EE557FD0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6664" y="1600200"/>
            <a:ext cx="3347576" cy="914400"/>
          </a:xfrm>
          <a:solidFill>
            <a:schemeClr val="accent4"/>
          </a:solidFill>
        </p:spPr>
        <p:txBody>
          <a:bodyPr lIns="182880" tIns="91440" rIns="182880" bIns="91440" anchor="ctr"/>
          <a:lstStyle>
            <a:lvl1pPr>
              <a:defRPr sz="1800">
                <a:solidFill>
                  <a:schemeClr val="bg1"/>
                </a:solidFill>
              </a:defRPr>
            </a:lvl1pPr>
            <a:lvl2pPr marL="0" indent="0">
              <a:buFont typeface="Open Sans" panose="020B0606030504020204" pitchFamily="34" charset="0"/>
              <a:buChar char="​"/>
              <a:defRPr sz="1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header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65955AB-F417-4DCB-8CC3-98BAC90A9AF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420827" y="1600200"/>
            <a:ext cx="3347576" cy="914400"/>
          </a:xfrm>
          <a:solidFill>
            <a:schemeClr val="accent1"/>
          </a:solidFill>
        </p:spPr>
        <p:txBody>
          <a:bodyPr lIns="182880" tIns="91440" rIns="182880" bIns="91440" anchor="ctr"/>
          <a:lstStyle>
            <a:lvl1pPr>
              <a:defRPr sz="1800">
                <a:solidFill>
                  <a:schemeClr val="bg1"/>
                </a:solidFill>
              </a:defRPr>
            </a:lvl1pPr>
            <a:lvl2pPr marL="0" indent="0">
              <a:buFont typeface="Open Sans" panose="020B0606030504020204" pitchFamily="34" charset="0"/>
              <a:buChar char="​"/>
              <a:defRPr sz="1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header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7AFB5407-642C-468A-81DB-F0C5C485F6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38506" y="1600200"/>
            <a:ext cx="3347576" cy="914400"/>
          </a:xfrm>
          <a:solidFill>
            <a:schemeClr val="accent2"/>
          </a:solidFill>
        </p:spPr>
        <p:txBody>
          <a:bodyPr lIns="182880" tIns="91440" rIns="182880" bIns="91440" anchor="ctr"/>
          <a:lstStyle>
            <a:lvl1pPr>
              <a:defRPr sz="1800">
                <a:solidFill>
                  <a:schemeClr val="bg1"/>
                </a:solidFill>
              </a:defRPr>
            </a:lvl1pPr>
            <a:lvl2pPr marL="0" indent="0">
              <a:buFont typeface="Open Sans" panose="020B0606030504020204" pitchFamily="34" charset="0"/>
              <a:buChar char="​"/>
              <a:defRPr sz="1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2181265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30CD733-93DE-4793-929B-26E6DBA7592D}"/>
              </a:ext>
            </a:extLst>
          </p:cNvPr>
          <p:cNvSpPr/>
          <p:nvPr/>
        </p:nvSpPr>
        <p:spPr bwMode="ltGray">
          <a:xfrm>
            <a:off x="1" y="1600202"/>
            <a:ext cx="7925276" cy="4570946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>
              <a:solidFill>
                <a:schemeClr val="accent2"/>
              </a:solidFill>
            </a:endParaRP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D8C8783A-257B-4A50-95A0-6C7B8E51707B}"/>
              </a:ext>
            </a:extLst>
          </p:cNvPr>
          <p:cNvCxnSpPr>
            <a:cxnSpLocks/>
          </p:cNvCxnSpPr>
          <p:nvPr/>
        </p:nvCxnSpPr>
        <p:spPr>
          <a:xfrm>
            <a:off x="8382596" y="1608668"/>
            <a:ext cx="3809404" cy="0"/>
          </a:xfrm>
          <a:prstGeom prst="line">
            <a:avLst/>
          </a:prstGeom>
          <a:ln w="25400">
            <a:solidFill>
              <a:schemeClr val="accent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3A17EA1E-A574-444B-9004-45836D98DAD0}"/>
              </a:ext>
            </a:extLst>
          </p:cNvPr>
          <p:cNvSpPr txBox="1"/>
          <p:nvPr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157BCD9-063B-4ED4-B68C-092EC2C34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wrap="none"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F7496CC-9DD2-4299-850C-005958FB65C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2596" y="1600200"/>
            <a:ext cx="3809404" cy="4572000"/>
          </a:xfrm>
        </p:spPr>
        <p:txBody>
          <a:bodyPr tIns="457200" rIns="594360" bIns="457200"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400"/>
            </a:lvl7pPr>
            <a:lvl8pPr>
              <a:defRPr sz="1200"/>
            </a:lvl8pPr>
            <a:lvl9pPr>
              <a:defRPr sz="18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 Seventh level</a:t>
            </a:r>
          </a:p>
          <a:p>
            <a:pPr lvl="7"/>
            <a:r>
              <a:rPr lang="en-US" dirty="0"/>
              <a:t> 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A0D276D7-17CD-46AB-99B2-97FD34FEEFFA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3021" y="811831"/>
            <a:ext cx="10965543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778342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utcome / Benef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BB1458BF-96C1-46C6-A67F-AD0FB4B4E5C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81008" y="4347904"/>
            <a:ext cx="3202822" cy="160020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8781D19-2DDB-4D83-983D-3D159A7DE7C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81008" y="2063048"/>
            <a:ext cx="3202822" cy="160020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005EB21-86C3-42EF-BFE7-549D9EA364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2596" y="1699688"/>
            <a:ext cx="2007123" cy="298450"/>
          </a:xfrm>
        </p:spPr>
        <p:txBody>
          <a:bodyPr anchor="b"/>
          <a:lstStyle>
            <a:lvl1pPr>
              <a:defRPr sz="1600">
                <a:solidFill>
                  <a:schemeClr val="accent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Outcome</a:t>
            </a:r>
          </a:p>
        </p:txBody>
      </p: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F789B473-DDE6-4450-A111-3761F341AAE3}"/>
              </a:ext>
            </a:extLst>
          </p:cNvPr>
          <p:cNvCxnSpPr>
            <a:cxnSpLocks/>
          </p:cNvCxnSpPr>
          <p:nvPr/>
        </p:nvCxnSpPr>
        <p:spPr>
          <a:xfrm>
            <a:off x="8382596" y="3872441"/>
            <a:ext cx="3809404" cy="0"/>
          </a:xfrm>
          <a:prstGeom prst="line">
            <a:avLst/>
          </a:prstGeom>
          <a:ln w="25400">
            <a:solidFill>
              <a:schemeClr val="accent4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 Placeholder 6">
            <a:extLst>
              <a:ext uri="{FF2B5EF4-FFF2-40B4-BE49-F238E27FC236}">
                <a16:creationId xmlns:a16="http://schemas.microsoft.com/office/drawing/2014/main" id="{0D0977FA-A4CA-4F1F-8109-D7498D165ED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82596" y="3972469"/>
            <a:ext cx="2007123" cy="298450"/>
          </a:xfrm>
        </p:spPr>
        <p:txBody>
          <a:bodyPr anchor="b"/>
          <a:lstStyle>
            <a:lvl1pPr>
              <a:defRPr sz="1600">
                <a:solidFill>
                  <a:schemeClr val="accent4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Benefi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F992B4C-D72B-4160-80E2-5EE05E2DDD3F}"/>
              </a:ext>
            </a:extLst>
          </p:cNvPr>
          <p:cNvSpPr txBox="1"/>
          <p:nvPr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E15888C-CFB4-4BEC-9B94-46E698DFC4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wrap="none"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2EE86E2-0F2F-484B-8170-3AEBA1DDEB2D}"/>
              </a:ext>
            </a:extLst>
          </p:cNvPr>
          <p:cNvSpPr/>
          <p:nvPr/>
        </p:nvSpPr>
        <p:spPr bwMode="ltGray">
          <a:xfrm>
            <a:off x="1" y="1600202"/>
            <a:ext cx="7925276" cy="457094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>
              <a:solidFill>
                <a:schemeClr val="accent2"/>
              </a:solidFill>
            </a:endParaRPr>
          </a:p>
        </p:txBody>
      </p: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56D4D92B-574E-4F63-A5BA-8F7282B54C27}"/>
              </a:ext>
            </a:extLst>
          </p:cNvPr>
          <p:cNvCxnSpPr>
            <a:cxnSpLocks/>
          </p:cNvCxnSpPr>
          <p:nvPr/>
        </p:nvCxnSpPr>
        <p:spPr>
          <a:xfrm>
            <a:off x="8382596" y="1608668"/>
            <a:ext cx="3809404" cy="0"/>
          </a:xfrm>
          <a:prstGeom prst="line">
            <a:avLst/>
          </a:prstGeom>
          <a:ln w="25400">
            <a:solidFill>
              <a:schemeClr val="accent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Subtitle 2">
            <a:extLst>
              <a:ext uri="{FF2B5EF4-FFF2-40B4-BE49-F238E27FC236}">
                <a16:creationId xmlns:a16="http://schemas.microsoft.com/office/drawing/2014/main" id="{E9D6A872-88BD-4DFC-AFFD-1E9BEEB6533B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3021" y="811831"/>
            <a:ext cx="10965543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963379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er Succ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309367CD-64CE-4B7B-91B1-53B17F8F693D}"/>
              </a:ext>
            </a:extLst>
          </p:cNvPr>
          <p:cNvSpPr/>
          <p:nvPr/>
        </p:nvSpPr>
        <p:spPr bwMode="ltGray">
          <a:xfrm>
            <a:off x="1" y="1600202"/>
            <a:ext cx="7925276" cy="457094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US" sz="2800" dirty="0">
              <a:solidFill>
                <a:schemeClr val="accent2"/>
              </a:solidFill>
            </a:endParaRPr>
          </a:p>
        </p:txBody>
      </p:sp>
      <p:sp>
        <p:nvSpPr>
          <p:cNvPr id="72" name="Content Placeholder 17">
            <a:extLst>
              <a:ext uri="{FF2B5EF4-FFF2-40B4-BE49-F238E27FC236}">
                <a16:creationId xmlns:a16="http://schemas.microsoft.com/office/drawing/2014/main" id="{A0456ED3-FDC5-4E29-B939-E35EA08477C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11804" y="2409553"/>
            <a:ext cx="3202682" cy="934931"/>
          </a:xfrm>
          <a:noFill/>
        </p:spPr>
        <p:txBody>
          <a:bodyPr vert="horz" lIns="0" tIns="0" rIns="0" bIns="45720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050" dirty="0">
                <a:solidFill>
                  <a:schemeClr val="tx2"/>
                </a:solidFill>
              </a:defRPr>
            </a:lvl1pPr>
            <a:lvl2pPr marL="114300" indent="-114300">
              <a:lnSpc>
                <a:spcPct val="100000"/>
              </a:lnSpc>
              <a:spcBef>
                <a:spcPts val="0"/>
              </a:spcBef>
              <a:defRPr lang="en-US" sz="1000" dirty="0">
                <a:solidFill>
                  <a:schemeClr val="tx2"/>
                </a:solidFill>
              </a:defRPr>
            </a:lvl2pPr>
            <a:lvl3pPr>
              <a:defRPr lang="en-US" sz="1400" dirty="0">
                <a:solidFill>
                  <a:schemeClr val="tx2"/>
                </a:solidFill>
              </a:defRPr>
            </a:lvl3pPr>
            <a:lvl4pPr>
              <a:defRPr lang="en-US" sz="1200" dirty="0">
                <a:solidFill>
                  <a:schemeClr val="tx2"/>
                </a:solidFill>
              </a:defRPr>
            </a:lvl4pPr>
            <a:lvl5pPr>
              <a:defRPr lang="en-US" sz="120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005EB21-86C3-42EF-BFE7-549D9EA364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3253" y="2079840"/>
            <a:ext cx="2007123" cy="227454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About</a:t>
            </a:r>
          </a:p>
        </p:txBody>
      </p:sp>
      <p:sp>
        <p:nvSpPr>
          <p:cNvPr id="74" name="Content Placeholder 17">
            <a:extLst>
              <a:ext uri="{FF2B5EF4-FFF2-40B4-BE49-F238E27FC236}">
                <a16:creationId xmlns:a16="http://schemas.microsoft.com/office/drawing/2014/main" id="{F00013B6-2241-400E-9E61-946C485F8D5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11804" y="3952605"/>
            <a:ext cx="3202682" cy="847996"/>
          </a:xfrm>
          <a:noFill/>
        </p:spPr>
        <p:txBody>
          <a:bodyPr vert="horz" lIns="0" tIns="0" rIns="0" bIns="45720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050" dirty="0">
                <a:solidFill>
                  <a:schemeClr val="tx2"/>
                </a:solidFill>
              </a:defRPr>
            </a:lvl1pPr>
            <a:lvl2pPr marL="114300" indent="-114300">
              <a:lnSpc>
                <a:spcPct val="100000"/>
              </a:lnSpc>
              <a:spcBef>
                <a:spcPts val="0"/>
              </a:spcBef>
              <a:defRPr lang="en-US" sz="1000" dirty="0">
                <a:solidFill>
                  <a:schemeClr val="tx2"/>
                </a:solidFill>
              </a:defRPr>
            </a:lvl2pPr>
            <a:lvl3pPr>
              <a:defRPr lang="en-US" sz="1400" dirty="0">
                <a:solidFill>
                  <a:schemeClr val="tx2"/>
                </a:solidFill>
              </a:defRPr>
            </a:lvl3pPr>
            <a:lvl4pPr>
              <a:defRPr lang="en-US" sz="1200" dirty="0">
                <a:solidFill>
                  <a:schemeClr val="tx2"/>
                </a:solidFill>
              </a:defRPr>
            </a:lvl4pPr>
            <a:lvl5pPr>
              <a:defRPr lang="en-US" sz="120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D8C8783A-257B-4A50-95A0-6C7B8E51707B}"/>
              </a:ext>
            </a:extLst>
          </p:cNvPr>
          <p:cNvCxnSpPr>
            <a:cxnSpLocks/>
          </p:cNvCxnSpPr>
          <p:nvPr/>
        </p:nvCxnSpPr>
        <p:spPr>
          <a:xfrm>
            <a:off x="609759" y="1964843"/>
            <a:ext cx="3199645" cy="0"/>
          </a:xfrm>
          <a:prstGeom prst="line">
            <a:avLst/>
          </a:prstGeom>
          <a:ln w="25400">
            <a:solidFill>
              <a:schemeClr val="accent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F789B473-DDE6-4450-A111-3761F341AAE3}"/>
              </a:ext>
            </a:extLst>
          </p:cNvPr>
          <p:cNvCxnSpPr>
            <a:cxnSpLocks/>
          </p:cNvCxnSpPr>
          <p:nvPr/>
        </p:nvCxnSpPr>
        <p:spPr>
          <a:xfrm>
            <a:off x="609759" y="3547676"/>
            <a:ext cx="3199645" cy="0"/>
          </a:xfrm>
          <a:prstGeom prst="line">
            <a:avLst/>
          </a:prstGeom>
          <a:ln w="25400">
            <a:solidFill>
              <a:schemeClr val="accent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 Placeholder 6">
            <a:extLst>
              <a:ext uri="{FF2B5EF4-FFF2-40B4-BE49-F238E27FC236}">
                <a16:creationId xmlns:a16="http://schemas.microsoft.com/office/drawing/2014/main" id="{0D0977FA-A4CA-4F1F-8109-D7498D165ED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3253" y="3634037"/>
            <a:ext cx="2007123" cy="227454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halleng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F992B4C-D72B-4160-80E2-5EE05E2DDD3F}"/>
              </a:ext>
            </a:extLst>
          </p:cNvPr>
          <p:cNvSpPr txBox="1"/>
          <p:nvPr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100000"/>
                </a:lnSpc>
                <a:spcBef>
                  <a:spcPts val="0"/>
                </a:spcBef>
              </a:pPr>
              <a:t>‹#›</a:t>
            </a:fld>
            <a:endParaRPr lang="en-US" sz="1800" dirty="0">
              <a:latin typeface="+mj-lt"/>
            </a:endParaRPr>
          </a:p>
        </p:txBody>
      </p:sp>
      <p:sp>
        <p:nvSpPr>
          <p:cNvPr id="87" name="Content Placeholder 17">
            <a:extLst>
              <a:ext uri="{FF2B5EF4-FFF2-40B4-BE49-F238E27FC236}">
                <a16:creationId xmlns:a16="http://schemas.microsoft.com/office/drawing/2014/main" id="{CB3B18B9-1B70-4F2B-86D9-C5183A845D12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270357" y="2409553"/>
            <a:ext cx="3202682" cy="934931"/>
          </a:xfrm>
          <a:noFill/>
        </p:spPr>
        <p:txBody>
          <a:bodyPr vert="horz" lIns="0" tIns="0" rIns="0" bIns="45720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050" dirty="0">
                <a:solidFill>
                  <a:schemeClr val="tx2"/>
                </a:solidFill>
              </a:defRPr>
            </a:lvl1pPr>
            <a:lvl2pPr marL="114300" indent="-114300">
              <a:lnSpc>
                <a:spcPct val="100000"/>
              </a:lnSpc>
              <a:spcBef>
                <a:spcPts val="0"/>
              </a:spcBef>
              <a:defRPr lang="en-US" sz="1000" dirty="0">
                <a:solidFill>
                  <a:schemeClr val="tx2"/>
                </a:solidFill>
              </a:defRPr>
            </a:lvl2pPr>
            <a:lvl3pPr>
              <a:defRPr lang="en-US" sz="1400" dirty="0">
                <a:solidFill>
                  <a:schemeClr val="tx2"/>
                </a:solidFill>
              </a:defRPr>
            </a:lvl3pPr>
            <a:lvl4pPr>
              <a:defRPr lang="en-US" sz="1200" dirty="0">
                <a:solidFill>
                  <a:schemeClr val="tx2"/>
                </a:solidFill>
              </a:defRPr>
            </a:lvl4pPr>
            <a:lvl5pPr>
              <a:defRPr lang="en-US" sz="120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8" name="Text Placeholder 6">
            <a:extLst>
              <a:ext uri="{FF2B5EF4-FFF2-40B4-BE49-F238E27FC236}">
                <a16:creationId xmlns:a16="http://schemas.microsoft.com/office/drawing/2014/main" id="{45C2837B-EA55-4186-A2EA-1E7FB5B122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71805" y="2079840"/>
            <a:ext cx="2007123" cy="227454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4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Solution</a:t>
            </a:r>
          </a:p>
        </p:txBody>
      </p:sp>
      <p:sp>
        <p:nvSpPr>
          <p:cNvPr id="89" name="Content Placeholder 17">
            <a:extLst>
              <a:ext uri="{FF2B5EF4-FFF2-40B4-BE49-F238E27FC236}">
                <a16:creationId xmlns:a16="http://schemas.microsoft.com/office/drawing/2014/main" id="{00A3A11C-EA43-4ACC-83B9-C4C7C1080E3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70357" y="3952605"/>
            <a:ext cx="3202682" cy="847996"/>
          </a:xfrm>
          <a:noFill/>
        </p:spPr>
        <p:txBody>
          <a:bodyPr vert="horz" lIns="0" tIns="0" rIns="0" bIns="45720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050" dirty="0">
                <a:solidFill>
                  <a:schemeClr val="tx2"/>
                </a:solidFill>
              </a:defRPr>
            </a:lvl1pPr>
            <a:lvl2pPr marL="114300" indent="-114300">
              <a:lnSpc>
                <a:spcPct val="100000"/>
              </a:lnSpc>
              <a:spcBef>
                <a:spcPts val="0"/>
              </a:spcBef>
              <a:defRPr lang="en-US" sz="1000" dirty="0">
                <a:solidFill>
                  <a:schemeClr val="tx2"/>
                </a:solidFill>
              </a:defRPr>
            </a:lvl2pPr>
            <a:lvl3pPr>
              <a:defRPr lang="en-US" sz="1400" dirty="0">
                <a:solidFill>
                  <a:schemeClr val="tx2"/>
                </a:solidFill>
              </a:defRPr>
            </a:lvl3pPr>
            <a:lvl4pPr>
              <a:defRPr lang="en-US" sz="1200" dirty="0">
                <a:solidFill>
                  <a:schemeClr val="tx2"/>
                </a:solidFill>
              </a:defRPr>
            </a:lvl4pPr>
            <a:lvl5pPr>
              <a:defRPr lang="en-US" sz="120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EAAB5B3C-AE89-4605-BB4B-0C07DE733C40}"/>
              </a:ext>
            </a:extLst>
          </p:cNvPr>
          <p:cNvCxnSpPr>
            <a:cxnSpLocks/>
          </p:cNvCxnSpPr>
          <p:nvPr/>
        </p:nvCxnSpPr>
        <p:spPr>
          <a:xfrm>
            <a:off x="4268312" y="1964843"/>
            <a:ext cx="3199645" cy="0"/>
          </a:xfrm>
          <a:prstGeom prst="line">
            <a:avLst/>
          </a:prstGeom>
          <a:ln w="25400">
            <a:solidFill>
              <a:schemeClr val="accent4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4709593A-BC10-40A3-842E-346F6E0EE30C}"/>
              </a:ext>
            </a:extLst>
          </p:cNvPr>
          <p:cNvCxnSpPr>
            <a:cxnSpLocks/>
          </p:cNvCxnSpPr>
          <p:nvPr/>
        </p:nvCxnSpPr>
        <p:spPr>
          <a:xfrm>
            <a:off x="4268312" y="3547676"/>
            <a:ext cx="3199645" cy="0"/>
          </a:xfrm>
          <a:prstGeom prst="line">
            <a:avLst/>
          </a:prstGeom>
          <a:ln w="25400">
            <a:solidFill>
              <a:schemeClr val="accent6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48CE9E08-388B-4458-B1F4-453A8413D63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71805" y="3634037"/>
            <a:ext cx="2007123" cy="227454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6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Impact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D909953-1B24-4C7D-A173-A53DF3FC7EC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384183" y="2971800"/>
            <a:ext cx="3194882" cy="18288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D0ED48B1-3A1C-41E2-BEC6-E8E6B54A07B0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076514" y="1600201"/>
            <a:ext cx="1841980" cy="660399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defRPr/>
            </a:lvl1pPr>
          </a:lstStyle>
          <a:p>
            <a:r>
              <a:rPr lang="en-US" dirty="0"/>
              <a:t>Insert Logo he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0A78DDD-5F83-4940-98A7-CF6D7FB8140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84183" y="5022215"/>
            <a:ext cx="3201234" cy="1153795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400"/>
            </a:lvl1pPr>
            <a:lvl2pPr marL="0" indent="0" algn="ctr">
              <a:lnSpc>
                <a:spcPct val="100000"/>
              </a:lnSpc>
              <a:spcBef>
                <a:spcPts val="0"/>
              </a:spcBef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2pPr>
            <a:lvl3pPr marL="0" indent="0" algn="ctr">
              <a:buFont typeface="Open Sans" panose="020B0606030504020204" pitchFamily="34" charset="0"/>
              <a:buNone/>
              <a:defRPr sz="1200">
                <a:solidFill>
                  <a:schemeClr val="accent1"/>
                </a:solidFill>
              </a:defRPr>
            </a:lvl3pPr>
            <a:lvl4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4pPr>
            <a:lvl5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3" name="Text Placeholder 10">
            <a:extLst>
              <a:ext uri="{FF2B5EF4-FFF2-40B4-BE49-F238E27FC236}">
                <a16:creationId xmlns:a16="http://schemas.microsoft.com/office/drawing/2014/main" id="{356F2006-5264-4FEB-8EBA-8BA6A55D19B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77832" y="2347933"/>
            <a:ext cx="3207585" cy="241300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defRPr sz="1200"/>
            </a:lvl1pPr>
            <a:lvl2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2pPr>
            <a:lvl3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3pPr>
            <a:lvl4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4pPr>
            <a:lvl5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Locatio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AF7F59A-4C67-4F41-A6E0-906850EDF3F1}"/>
              </a:ext>
            </a:extLst>
          </p:cNvPr>
          <p:cNvSpPr/>
          <p:nvPr/>
        </p:nvSpPr>
        <p:spPr>
          <a:xfrm>
            <a:off x="608898" y="4978400"/>
            <a:ext cx="3205588" cy="879645"/>
          </a:xfrm>
          <a:prstGeom prst="rect">
            <a:avLst/>
          </a:prstGeom>
          <a:gradFill>
            <a:gsLst>
              <a:gs pos="0">
                <a:schemeClr val="accent4"/>
              </a:gs>
              <a:gs pos="98000">
                <a:schemeClr val="accent4"/>
              </a:gs>
            </a:gsLst>
            <a:lin ang="5400000" scaled="1"/>
          </a:gradFill>
        </p:spPr>
        <p:txBody>
          <a:bodyPr vert="horz" lIns="594360" tIns="457200" rIns="457200" bIns="45720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​"/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85779326-D874-4DC4-BA73-C7157B414B05}"/>
              </a:ext>
            </a:extLst>
          </p:cNvPr>
          <p:cNvSpPr/>
          <p:nvPr/>
        </p:nvSpPr>
        <p:spPr>
          <a:xfrm>
            <a:off x="4268311" y="4978400"/>
            <a:ext cx="3204728" cy="878840"/>
          </a:xfrm>
          <a:prstGeom prst="rect">
            <a:avLst/>
          </a:prstGeom>
          <a:solidFill>
            <a:schemeClr val="accent1"/>
          </a:solidFill>
        </p:spPr>
        <p:txBody>
          <a:bodyPr vert="horz" lIns="457200" tIns="457200" rIns="594360" bIns="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​"/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0FD359B-DBB1-4A58-B3A5-88DBD360EF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ompany Name</a:t>
            </a:r>
          </a:p>
        </p:txBody>
      </p:sp>
      <p:sp>
        <p:nvSpPr>
          <p:cNvPr id="27" name="Subtitle 2">
            <a:extLst>
              <a:ext uri="{FF2B5EF4-FFF2-40B4-BE49-F238E27FC236}">
                <a16:creationId xmlns:a16="http://schemas.microsoft.com/office/drawing/2014/main" id="{9A29AA74-2865-4B6A-BD11-7A351A336A6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3021" y="811831"/>
            <a:ext cx="10965543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09C7727F-F570-4AF1-856D-98544836237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77832" y="2647290"/>
            <a:ext cx="3207585" cy="241300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defRPr sz="1200"/>
            </a:lvl1pPr>
            <a:lvl2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2pPr>
            <a:lvl3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3pPr>
            <a:lvl4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4pPr>
            <a:lvl5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Industry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F13DC67D-58A2-45BD-A728-B6ECDD8B5A5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3253" y="4978400"/>
            <a:ext cx="3201234" cy="227454"/>
          </a:xfrm>
        </p:spPr>
        <p:txBody>
          <a:bodyPr anchor="b"/>
          <a:lstStyle>
            <a:lvl1pPr algn="ctr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Product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53D9F0A4-74F4-4BA6-AD21-4791EF0A20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275108" y="4978400"/>
            <a:ext cx="3201234" cy="227454"/>
          </a:xfrm>
        </p:spPr>
        <p:txBody>
          <a:bodyPr anchor="b"/>
          <a:lstStyle>
            <a:lvl1pPr algn="ctr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Strategic Priorities</a:t>
            </a:r>
          </a:p>
        </p:txBody>
      </p:sp>
    </p:spTree>
    <p:extLst>
      <p:ext uri="{BB962C8B-B14F-4D97-AF65-F5344CB8AC3E}">
        <p14:creationId xmlns:p14="http://schemas.microsoft.com/office/powerpoint/2010/main" val="1414626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-Bleed Photo"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7F5379A2-B049-4A1C-A18D-79A1F237E82B}"/>
              </a:ext>
            </a:extLst>
          </p:cNvPr>
          <p:cNvSpPr txBox="1"/>
          <p:nvPr/>
        </p:nvSpPr>
        <p:spPr bwMode="white"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bg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2963ABA-B135-4D13-8059-831B7A9446D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1" y="6766561"/>
            <a:ext cx="12192000" cy="95225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EEA9A53D-C1B8-4AC0-AF50-F242E124EF75}"/>
              </a:ext>
            </a:extLst>
          </p:cNvPr>
          <p:cNvGrpSpPr/>
          <p:nvPr/>
        </p:nvGrpSpPr>
        <p:grpSpPr>
          <a:xfrm>
            <a:off x="608171" y="6445106"/>
            <a:ext cx="1184706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A5945F4E-578F-4EE5-B98E-A75643A79F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19DCDB05-0E28-45DE-9267-3E480A2300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9C693093-F44C-4AF7-8565-38BF0EC750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83C36CFC-0A28-4E5C-BEAB-B63CE60700F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45A3F9BB-BAC6-4065-B81D-9F3DF81635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2C0EF4D9-E299-4B39-8F2A-BD56CEC524B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51F9A586-3983-444B-A345-4A891295D74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0566660B-2EAC-47CE-944F-D039B1DF2E0F}"/>
              </a:ext>
            </a:extLst>
          </p:cNvPr>
          <p:cNvSpPr txBox="1"/>
          <p:nvPr/>
        </p:nvSpPr>
        <p:spPr bwMode="white">
          <a:xfrm flipH="1">
            <a:off x="2074133" y="6506318"/>
            <a:ext cx="172933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fidential   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│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©2019 VMware, Inc.</a:t>
            </a:r>
          </a:p>
        </p:txBody>
      </p:sp>
    </p:spTree>
    <p:extLst>
      <p:ext uri="{BB962C8B-B14F-4D97-AF65-F5344CB8AC3E}">
        <p14:creationId xmlns:p14="http://schemas.microsoft.com/office/powerpoint/2010/main" val="1975539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Ic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val 20">
            <a:extLst>
              <a:ext uri="{FF2B5EF4-FFF2-40B4-BE49-F238E27FC236}">
                <a16:creationId xmlns:a16="http://schemas.microsoft.com/office/drawing/2014/main" id="{B1C210DC-5DBB-4F0D-875F-CD8AAAB938CE}"/>
              </a:ext>
            </a:extLst>
          </p:cNvPr>
          <p:cNvSpPr/>
          <p:nvPr/>
        </p:nvSpPr>
        <p:spPr bwMode="gray">
          <a:xfrm>
            <a:off x="1982394" y="2055430"/>
            <a:ext cx="1829435" cy="1828959"/>
          </a:xfrm>
          <a:prstGeom prst="ellipse">
            <a:avLst/>
          </a:prstGeom>
          <a:solidFill>
            <a:schemeClr val="accent4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schemeClr val="accent4"/>
              </a:solidFill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446F04B0-7860-407F-85B7-42E38FAFE34B}"/>
              </a:ext>
            </a:extLst>
          </p:cNvPr>
          <p:cNvSpPr/>
          <p:nvPr/>
        </p:nvSpPr>
        <p:spPr bwMode="gray">
          <a:xfrm>
            <a:off x="8391487" y="2055430"/>
            <a:ext cx="1829435" cy="1828959"/>
          </a:xfrm>
          <a:prstGeom prst="ellipse">
            <a:avLst/>
          </a:prstGeom>
          <a:solidFill>
            <a:schemeClr val="accent2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6FECF9D0-D7A8-43DD-B38D-E1090C0B322F}"/>
              </a:ext>
            </a:extLst>
          </p:cNvPr>
          <p:cNvSpPr/>
          <p:nvPr/>
        </p:nvSpPr>
        <p:spPr bwMode="gray">
          <a:xfrm>
            <a:off x="5186275" y="2055430"/>
            <a:ext cx="1829435" cy="1828959"/>
          </a:xfrm>
          <a:prstGeom prst="ellipse">
            <a:avLst/>
          </a:prstGeom>
          <a:solidFill>
            <a:schemeClr val="accent1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AD23688F-2550-4740-B5D6-C78F74FDE08D}"/>
              </a:ext>
            </a:extLst>
          </p:cNvPr>
          <p:cNvSpPr txBox="1"/>
          <p:nvPr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4C5A99F-0678-4DC4-A266-1AD031E9C8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EBF1472-E940-4CC7-B5D3-349346A425A8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3021" y="811831"/>
            <a:ext cx="10965543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CC9B40-9AF4-4EF7-8384-2ACE79EA95C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26302" y="4267940"/>
            <a:ext cx="2745503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4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D69CA39A-E967-4A68-A944-35C345A456D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22455" y="4267940"/>
            <a:ext cx="2745503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1A16A22-350B-4B24-A3CD-4D5DE470DEE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925277" y="4267940"/>
            <a:ext cx="2745503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09420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resenter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0" y="0"/>
            <a:ext cx="12192000" cy="685824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13" y="426720"/>
            <a:ext cx="9144001" cy="109728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13" y="1600200"/>
            <a:ext cx="9144001" cy="685800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5791200"/>
            <a:ext cx="3657601" cy="2286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2pPr>
            <a:lvl3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3pPr>
            <a:lvl4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4pPr>
            <a:lvl5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5pPr>
            <a:lvl6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6pPr>
            <a:lvl7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7pPr>
            <a:lvl8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8pPr>
          </a:lstStyle>
          <a:p>
            <a:pPr lvl="0"/>
            <a:r>
              <a:rPr lang="en-US" dirty="0"/>
              <a:t>Click to add presenter’s name 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6081068"/>
            <a:ext cx="3657601" cy="2286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2pPr>
            <a:lvl3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3pPr>
            <a:lvl4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4pPr>
            <a:lvl5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5pPr>
            <a:lvl6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6pPr>
            <a:lvl7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7pPr>
            <a:lvl8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8pPr>
          </a:lstStyle>
          <a:p>
            <a:pPr lvl="0"/>
            <a:r>
              <a:rPr lang="en-US" dirty="0"/>
              <a:t>Click to add date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10208810" y="6074857"/>
            <a:ext cx="1373445" cy="216433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22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3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4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5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6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7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8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</p:grpSp>
      <p:sp>
        <p:nvSpPr>
          <p:cNvPr id="15" name="TextBox 14"/>
          <p:cNvSpPr txBox="1"/>
          <p:nvPr/>
        </p:nvSpPr>
        <p:spPr>
          <a:xfrm>
            <a:off x="9830079" y="6505956"/>
            <a:ext cx="1752163" cy="1996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4400">
              <a:lnSpc>
                <a:spcPct val="90000"/>
              </a:lnSpc>
            </a:pPr>
            <a:r>
              <a:rPr lang="en-US" sz="700" dirty="0">
                <a:solidFill>
                  <a:prstClr val="white"/>
                </a:solidFill>
                <a:latin typeface="Arial"/>
              </a:rPr>
              <a:t>© 2014 VMware Inc. All rights reserved.</a:t>
            </a:r>
          </a:p>
        </p:txBody>
      </p:sp>
      <p:sp>
        <p:nvSpPr>
          <p:cNvPr id="16" name="Rectangle 15"/>
          <p:cNvSpPr/>
          <p:nvPr/>
        </p:nvSpPr>
        <p:spPr>
          <a:xfrm>
            <a:off x="531950" y="6414852"/>
            <a:ext cx="6021368" cy="5955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lnSpc>
                <a:spcPct val="90000"/>
              </a:lnSpc>
              <a:defRPr/>
            </a:pPr>
            <a:r>
              <a:rPr lang="en-US" sz="900" i="1" dirty="0">
                <a:solidFill>
                  <a:prstClr val="white"/>
                </a:solidFill>
                <a:latin typeface="Arial"/>
              </a:rPr>
              <a:t>The information on the roadmap is intended to outline our general product direction and it should not be relied on in making a purchasing decision. It is for informational purposes only and may not be incorporated into any contract.</a:t>
            </a:r>
            <a:r>
              <a:rPr lang="en-US" sz="900" dirty="0">
                <a:solidFill>
                  <a:prstClr val="white"/>
                </a:solidFill>
                <a:latin typeface="Arial"/>
              </a:rPr>
              <a:t> </a:t>
            </a:r>
            <a:br>
              <a:rPr lang="en-US" sz="1800" dirty="0">
                <a:solidFill>
                  <a:prstClr val="white"/>
                </a:solidFill>
                <a:latin typeface="Arial"/>
              </a:rPr>
            </a:br>
            <a:endParaRPr lang="en-US" sz="1800" i="1" dirty="0">
              <a:solidFill>
                <a:prstClr val="white"/>
              </a:solidFill>
              <a:latin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wipe dir="r"/>
      </p:transition>
    </mc:Choice>
    <mc:Fallback xmlns="">
      <p:transition xmlns:p14="http://schemas.microsoft.com/office/powerpoint/2010/main" spd="slow">
        <p:wipe dir="r"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ustom Section Header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/>
        </p:nvGrpSpPr>
        <p:grpSpPr bwMode="ltGray">
          <a:xfrm>
            <a:off x="3787" y="-1"/>
            <a:ext cx="12211703" cy="6858001"/>
            <a:chOff x="3786" y="-1"/>
            <a:chExt cx="9156393" cy="5143501"/>
          </a:xfrm>
        </p:grpSpPr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ltGray">
            <a:xfrm>
              <a:off x="3786" y="0"/>
              <a:ext cx="6983947" cy="5143500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ltGray">
            <a:xfrm>
              <a:off x="4534899" y="-1"/>
              <a:ext cx="4625280" cy="387275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14" y="1676400"/>
            <a:ext cx="6096000" cy="1524000"/>
          </a:xfrm>
        </p:spPr>
        <p:txBody>
          <a:bodyPr anchor="b"/>
          <a:lstStyle>
            <a:lvl1pPr algn="l">
              <a:defRPr sz="3600" b="1" cap="none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14" y="3276600"/>
            <a:ext cx="6096000" cy="6096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618039" y="6446072"/>
            <a:ext cx="1100080" cy="173355"/>
            <a:chOff x="-84138" y="5622925"/>
            <a:chExt cx="4330701" cy="682626"/>
          </a:xfrm>
        </p:grpSpPr>
        <p:sp>
          <p:nvSpPr>
            <p:cNvPr id="21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2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4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5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6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7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wipe dir="r"/>
      </p:transition>
    </mc:Choice>
    <mc:Fallback xmlns="">
      <p:transition xmlns:p14="http://schemas.microsoft.com/office/powerpoint/2010/main" spd="slow">
        <p:wipe dir="r"/>
      </p:transition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Ic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val 83">
            <a:extLst>
              <a:ext uri="{FF2B5EF4-FFF2-40B4-BE49-F238E27FC236}">
                <a16:creationId xmlns:a16="http://schemas.microsoft.com/office/drawing/2014/main" id="{085441A7-EBA5-4ABB-8D29-CE4338F0F9B5}"/>
              </a:ext>
            </a:extLst>
          </p:cNvPr>
          <p:cNvSpPr/>
          <p:nvPr/>
        </p:nvSpPr>
        <p:spPr bwMode="gray">
          <a:xfrm>
            <a:off x="1066027" y="2060873"/>
            <a:ext cx="1829435" cy="1828959"/>
          </a:xfrm>
          <a:prstGeom prst="ellipse">
            <a:avLst/>
          </a:prstGeom>
          <a:solidFill>
            <a:schemeClr val="accent4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schemeClr val="accent4"/>
              </a:solidFill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3019BB56-AE7C-42CA-A8FF-432F4F176B8B}"/>
              </a:ext>
            </a:extLst>
          </p:cNvPr>
          <p:cNvSpPr/>
          <p:nvPr/>
        </p:nvSpPr>
        <p:spPr bwMode="gray">
          <a:xfrm>
            <a:off x="9304556" y="2060873"/>
            <a:ext cx="1829435" cy="1828959"/>
          </a:xfrm>
          <a:prstGeom prst="ellipse">
            <a:avLst/>
          </a:prstGeom>
          <a:solidFill>
            <a:schemeClr val="accent2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5670C03F-6336-45E3-A9F4-0CD130D80D1B}"/>
              </a:ext>
            </a:extLst>
          </p:cNvPr>
          <p:cNvSpPr/>
          <p:nvPr/>
        </p:nvSpPr>
        <p:spPr bwMode="gray">
          <a:xfrm>
            <a:off x="6563810" y="2060873"/>
            <a:ext cx="1829435" cy="1828959"/>
          </a:xfrm>
          <a:prstGeom prst="ellipse">
            <a:avLst/>
          </a:prstGeom>
          <a:solidFill>
            <a:schemeClr val="accent1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 dirty="0"/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45D908EF-1F96-4808-A8DB-F55AB9E8E436}"/>
              </a:ext>
            </a:extLst>
          </p:cNvPr>
          <p:cNvSpPr/>
          <p:nvPr/>
        </p:nvSpPr>
        <p:spPr bwMode="gray">
          <a:xfrm>
            <a:off x="3807924" y="2060873"/>
            <a:ext cx="1829435" cy="1828959"/>
          </a:xfrm>
          <a:prstGeom prst="ellipse">
            <a:avLst/>
          </a:prstGeom>
          <a:solidFill>
            <a:schemeClr val="accent3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 dirty="0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0AAF357F-A1D5-401D-94D2-9C67E6AEDA09}"/>
              </a:ext>
            </a:extLst>
          </p:cNvPr>
          <p:cNvSpPr txBox="1"/>
          <p:nvPr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A6ED71B-2619-4816-B753-5E850ED08F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B679D5C-AEFA-4052-96E3-7DF67D7C105A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3021" y="811831"/>
            <a:ext cx="10965543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83A73281-E5F0-4C3B-BE4E-A12D56CC100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42893" y="4269508"/>
            <a:ext cx="2286595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4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70078EAE-661A-4C72-917B-F0225239F6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80746" y="4269508"/>
            <a:ext cx="2286595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3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566D6B40-9CB0-4B56-A3E1-9A7F945F094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24660" y="4269508"/>
            <a:ext cx="2286595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16F5CA9C-E491-4F70-B6EE-A506410601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68575" y="4269508"/>
            <a:ext cx="2286595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74729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Ic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Oval 21">
            <a:extLst>
              <a:ext uri="{FF2B5EF4-FFF2-40B4-BE49-F238E27FC236}">
                <a16:creationId xmlns:a16="http://schemas.microsoft.com/office/drawing/2014/main" id="{A1FDF9D3-5B68-4A75-97BF-2C5113CFAA66}"/>
              </a:ext>
            </a:extLst>
          </p:cNvPr>
          <p:cNvSpPr/>
          <p:nvPr/>
        </p:nvSpPr>
        <p:spPr bwMode="gray">
          <a:xfrm>
            <a:off x="609960" y="2064664"/>
            <a:ext cx="1829435" cy="1828959"/>
          </a:xfrm>
          <a:prstGeom prst="ellipse">
            <a:avLst/>
          </a:prstGeom>
          <a:solidFill>
            <a:schemeClr val="accent4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schemeClr val="accent4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7EAB1992-E472-4489-8A4E-A8FE45DE10CF}"/>
              </a:ext>
            </a:extLst>
          </p:cNvPr>
          <p:cNvSpPr/>
          <p:nvPr/>
        </p:nvSpPr>
        <p:spPr bwMode="gray">
          <a:xfrm>
            <a:off x="9747012" y="2064664"/>
            <a:ext cx="1829435" cy="1828959"/>
          </a:xfrm>
          <a:prstGeom prst="ellipse">
            <a:avLst/>
          </a:prstGeom>
          <a:solidFill>
            <a:schemeClr val="accent5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C551C90A-573F-4E4A-9359-5C7B0F546BF9}"/>
              </a:ext>
            </a:extLst>
          </p:cNvPr>
          <p:cNvSpPr/>
          <p:nvPr/>
        </p:nvSpPr>
        <p:spPr bwMode="gray">
          <a:xfrm>
            <a:off x="5202736" y="2064664"/>
            <a:ext cx="1829435" cy="18289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ctr"/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AF79E162-3D8F-4829-A4AD-02A03597B11A}"/>
              </a:ext>
            </a:extLst>
          </p:cNvPr>
          <p:cNvSpPr/>
          <p:nvPr/>
        </p:nvSpPr>
        <p:spPr bwMode="gray">
          <a:xfrm>
            <a:off x="2893206" y="2064664"/>
            <a:ext cx="1829435" cy="1828959"/>
          </a:xfrm>
          <a:prstGeom prst="ellipse">
            <a:avLst/>
          </a:prstGeom>
          <a:solidFill>
            <a:schemeClr val="accent3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 dirty="0"/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026B9B36-08E7-4664-970C-13123F24C793}"/>
              </a:ext>
            </a:extLst>
          </p:cNvPr>
          <p:cNvSpPr/>
          <p:nvPr/>
        </p:nvSpPr>
        <p:spPr bwMode="gray">
          <a:xfrm>
            <a:off x="7466866" y="2064664"/>
            <a:ext cx="1829435" cy="1828959"/>
          </a:xfrm>
          <a:prstGeom prst="ellipse">
            <a:avLst/>
          </a:prstGeom>
          <a:solidFill>
            <a:schemeClr val="accent2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 dirty="0">
              <a:solidFill>
                <a:schemeClr val="lt1"/>
              </a:solidFill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0E19ACAF-9401-49DF-ACFF-2BA2129506AB}"/>
              </a:ext>
            </a:extLst>
          </p:cNvPr>
          <p:cNvSpPr txBox="1"/>
          <p:nvPr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BA8A47F-2243-412F-A1A8-FA8E3475F5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EEA64E97-C31D-49B1-B8E1-20E5F404F516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3021" y="811831"/>
            <a:ext cx="10965543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2E201879-B985-4ADE-8AD6-6C3E14CE0AF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1009" y="4282873"/>
            <a:ext cx="1829276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000">
                <a:solidFill>
                  <a:schemeClr val="accent4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9495BAAB-E860-4075-9DA3-ABA7C32D235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94767" y="4282873"/>
            <a:ext cx="1829276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000">
                <a:solidFill>
                  <a:schemeClr val="accent3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62D3946B-F2F1-42AF-8E89-00761A7745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86444" y="4282873"/>
            <a:ext cx="1829276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000">
                <a:solidFill>
                  <a:schemeClr val="accent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2F84664-2E68-46AE-AE2C-E8D2B6C9A1D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71947" y="4282873"/>
            <a:ext cx="1829276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000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CDC9B65E-8BAA-4676-9F32-44EC3772D34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754553" y="4282873"/>
            <a:ext cx="1829276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000">
                <a:solidFill>
                  <a:schemeClr val="accent5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39767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3FC38F94-115E-4DBE-80BB-680CB172F9FB}"/>
              </a:ext>
            </a:extLst>
          </p:cNvPr>
          <p:cNvSpPr/>
          <p:nvPr/>
        </p:nvSpPr>
        <p:spPr>
          <a:xfrm rot="2700000">
            <a:off x="811896" y="-3658611"/>
            <a:ext cx="9864449" cy="13471649"/>
          </a:xfrm>
          <a:custGeom>
            <a:avLst/>
            <a:gdLst>
              <a:gd name="connsiteX0" fmla="*/ 0 w 9864449"/>
              <a:gd name="connsiteY0" fmla="*/ 7314461 h 13468141"/>
              <a:gd name="connsiteX1" fmla="*/ 7314462 w 9864449"/>
              <a:gd name="connsiteY1" fmla="*/ 0 h 13468141"/>
              <a:gd name="connsiteX2" fmla="*/ 9864449 w 9864449"/>
              <a:gd name="connsiteY2" fmla="*/ 2549987 h 13468141"/>
              <a:gd name="connsiteX3" fmla="*/ 9864449 w 9864449"/>
              <a:gd name="connsiteY3" fmla="*/ 7148688 h 13468141"/>
              <a:gd name="connsiteX4" fmla="*/ 3544996 w 9864449"/>
              <a:gd name="connsiteY4" fmla="*/ 13468141 h 13468141"/>
              <a:gd name="connsiteX5" fmla="*/ 0 w 9864449"/>
              <a:gd name="connsiteY5" fmla="*/ 9923145 h 134681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864449" h="13468141">
                <a:moveTo>
                  <a:pt x="0" y="7314461"/>
                </a:moveTo>
                <a:lnTo>
                  <a:pt x="7314462" y="0"/>
                </a:lnTo>
                <a:lnTo>
                  <a:pt x="9864449" y="2549987"/>
                </a:lnTo>
                <a:lnTo>
                  <a:pt x="9864449" y="7148688"/>
                </a:lnTo>
                <a:lnTo>
                  <a:pt x="3544996" y="13468141"/>
                </a:lnTo>
                <a:lnTo>
                  <a:pt x="0" y="9923145"/>
                </a:lnTo>
                <a:close/>
              </a:path>
            </a:pathLst>
          </a:custGeom>
          <a:gradFill>
            <a:gsLst>
              <a:gs pos="0">
                <a:schemeClr val="bg1">
                  <a:alpha val="76000"/>
                </a:schemeClr>
              </a:gs>
              <a:gs pos="89000">
                <a:schemeClr val="tx1">
                  <a:lumMod val="16000"/>
                  <a:lumOff val="84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863" name="Text Placeholder 862">
            <a:extLst>
              <a:ext uri="{FF2B5EF4-FFF2-40B4-BE49-F238E27FC236}">
                <a16:creationId xmlns:a16="http://schemas.microsoft.com/office/drawing/2014/main" id="{806A8161-3A3C-4E8C-98F0-AD01607CDAE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8172" y="2057401"/>
            <a:ext cx="5945147" cy="2285999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600"/>
            </a:lvl1pPr>
            <a:lvl2pPr marL="273050" indent="0"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512" name="TextBox 1511">
            <a:extLst>
              <a:ext uri="{FF2B5EF4-FFF2-40B4-BE49-F238E27FC236}">
                <a16:creationId xmlns:a16="http://schemas.microsoft.com/office/drawing/2014/main" id="{6C78DB77-69E8-414D-8309-EC1F1C8DCA8E}"/>
              </a:ext>
            </a:extLst>
          </p:cNvPr>
          <p:cNvSpPr txBox="1"/>
          <p:nvPr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DA08A2D-0A8A-41FD-AA58-0A072FFF329F}"/>
              </a:ext>
            </a:extLst>
          </p:cNvPr>
          <p:cNvGrpSpPr/>
          <p:nvPr/>
        </p:nvGrpSpPr>
        <p:grpSpPr>
          <a:xfrm>
            <a:off x="608171" y="6445106"/>
            <a:ext cx="1184706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3596DD11-914A-4FCB-BD5A-B452681B61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522938A5-2D76-46C8-B7C1-3F77D5812E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D6EDDC02-7874-477D-8151-D0B193E894D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11497605-B9F0-499D-9BAD-CAD4DF264DD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87A173DB-972A-49CD-B107-F84916A5F7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AA7E256D-662E-4F46-945F-75B84B1B314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745AE183-7E5A-47CA-8BC0-5071F1977EE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9C494915-7365-4D9B-82B2-73349D47E724}"/>
              </a:ext>
            </a:extLst>
          </p:cNvPr>
          <p:cNvSpPr txBox="1"/>
          <p:nvPr/>
        </p:nvSpPr>
        <p:spPr bwMode="white">
          <a:xfrm flipH="1">
            <a:off x="2074133" y="6506318"/>
            <a:ext cx="172933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C5E11EA0-C34E-47CC-A1C4-C041612819E2}"/>
              </a:ext>
            </a:extLst>
          </p:cNvPr>
          <p:cNvSpPr/>
          <p:nvPr/>
        </p:nvSpPr>
        <p:spPr>
          <a:xfrm rot="2700000">
            <a:off x="9039732" y="3334353"/>
            <a:ext cx="970552" cy="4541320"/>
          </a:xfrm>
          <a:custGeom>
            <a:avLst/>
            <a:gdLst>
              <a:gd name="connsiteX0" fmla="*/ 1 w 970552"/>
              <a:gd name="connsiteY0" fmla="*/ 970551 h 4540137"/>
              <a:gd name="connsiteX1" fmla="*/ 970552 w 970552"/>
              <a:gd name="connsiteY1" fmla="*/ 0 h 4540137"/>
              <a:gd name="connsiteX2" fmla="*/ 970552 w 970552"/>
              <a:gd name="connsiteY2" fmla="*/ 3569585 h 4540137"/>
              <a:gd name="connsiteX3" fmla="*/ 0 w 970552"/>
              <a:gd name="connsiteY3" fmla="*/ 4540137 h 4540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0552" h="4540137">
                <a:moveTo>
                  <a:pt x="1" y="970551"/>
                </a:moveTo>
                <a:lnTo>
                  <a:pt x="970552" y="0"/>
                </a:lnTo>
                <a:lnTo>
                  <a:pt x="970552" y="3569585"/>
                </a:lnTo>
                <a:lnTo>
                  <a:pt x="0" y="4540137"/>
                </a:lnTo>
                <a:close/>
              </a:path>
            </a:pathLst>
          </a:custGeom>
          <a:gradFill>
            <a:gsLst>
              <a:gs pos="24000">
                <a:schemeClr val="accent4"/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909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atement –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4AA04BF1-028D-4BDA-A4B7-2EF92A074224}"/>
              </a:ext>
            </a:extLst>
          </p:cNvPr>
          <p:cNvSpPr/>
          <p:nvPr/>
        </p:nvSpPr>
        <p:spPr>
          <a:xfrm rot="2700000">
            <a:off x="811896" y="-3658611"/>
            <a:ext cx="9864449" cy="13471649"/>
          </a:xfrm>
          <a:custGeom>
            <a:avLst/>
            <a:gdLst>
              <a:gd name="connsiteX0" fmla="*/ 0 w 9864449"/>
              <a:gd name="connsiteY0" fmla="*/ 7314461 h 13468141"/>
              <a:gd name="connsiteX1" fmla="*/ 7314462 w 9864449"/>
              <a:gd name="connsiteY1" fmla="*/ 0 h 13468141"/>
              <a:gd name="connsiteX2" fmla="*/ 9864449 w 9864449"/>
              <a:gd name="connsiteY2" fmla="*/ 2549987 h 13468141"/>
              <a:gd name="connsiteX3" fmla="*/ 9864449 w 9864449"/>
              <a:gd name="connsiteY3" fmla="*/ 7148688 h 13468141"/>
              <a:gd name="connsiteX4" fmla="*/ 3544996 w 9864449"/>
              <a:gd name="connsiteY4" fmla="*/ 13468141 h 13468141"/>
              <a:gd name="connsiteX5" fmla="*/ 0 w 9864449"/>
              <a:gd name="connsiteY5" fmla="*/ 9923145 h 134681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864449" h="13468141">
                <a:moveTo>
                  <a:pt x="0" y="7314461"/>
                </a:moveTo>
                <a:lnTo>
                  <a:pt x="7314462" y="0"/>
                </a:lnTo>
                <a:lnTo>
                  <a:pt x="9864449" y="2549987"/>
                </a:lnTo>
                <a:lnTo>
                  <a:pt x="9864449" y="7148688"/>
                </a:lnTo>
                <a:lnTo>
                  <a:pt x="3544996" y="13468141"/>
                </a:lnTo>
                <a:lnTo>
                  <a:pt x="0" y="9923145"/>
                </a:lnTo>
                <a:close/>
              </a:path>
            </a:pathLst>
          </a:custGeom>
          <a:gradFill>
            <a:gsLst>
              <a:gs pos="0">
                <a:schemeClr val="bg1">
                  <a:alpha val="76000"/>
                </a:schemeClr>
              </a:gs>
              <a:gs pos="89000">
                <a:schemeClr val="tx1">
                  <a:lumMod val="16000"/>
                  <a:lumOff val="84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473426A1-35AB-43B6-9A41-2142ACF3ACC4}"/>
              </a:ext>
            </a:extLst>
          </p:cNvPr>
          <p:cNvSpPr/>
          <p:nvPr/>
        </p:nvSpPr>
        <p:spPr>
          <a:xfrm rot="2700000">
            <a:off x="9039732" y="3334353"/>
            <a:ext cx="970552" cy="4541320"/>
          </a:xfrm>
          <a:custGeom>
            <a:avLst/>
            <a:gdLst>
              <a:gd name="connsiteX0" fmla="*/ 1 w 970552"/>
              <a:gd name="connsiteY0" fmla="*/ 970551 h 4540137"/>
              <a:gd name="connsiteX1" fmla="*/ 970552 w 970552"/>
              <a:gd name="connsiteY1" fmla="*/ 0 h 4540137"/>
              <a:gd name="connsiteX2" fmla="*/ 970552 w 970552"/>
              <a:gd name="connsiteY2" fmla="*/ 3569585 h 4540137"/>
              <a:gd name="connsiteX3" fmla="*/ 0 w 970552"/>
              <a:gd name="connsiteY3" fmla="*/ 4540137 h 4540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0552" h="4540137">
                <a:moveTo>
                  <a:pt x="1" y="970551"/>
                </a:moveTo>
                <a:lnTo>
                  <a:pt x="970552" y="0"/>
                </a:lnTo>
                <a:lnTo>
                  <a:pt x="970552" y="3569585"/>
                </a:lnTo>
                <a:lnTo>
                  <a:pt x="0" y="4540137"/>
                </a:lnTo>
                <a:close/>
              </a:path>
            </a:pathLst>
          </a:custGeom>
          <a:gradFill>
            <a:gsLst>
              <a:gs pos="24000">
                <a:srgbClr val="7F35AB"/>
              </a:gs>
              <a:gs pos="87000">
                <a:srgbClr val="264088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863" name="Text Placeholder 862">
            <a:extLst>
              <a:ext uri="{FF2B5EF4-FFF2-40B4-BE49-F238E27FC236}">
                <a16:creationId xmlns:a16="http://schemas.microsoft.com/office/drawing/2014/main" id="{806A8161-3A3C-4E8C-98F0-AD01607CDAE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8172" y="2057401"/>
            <a:ext cx="5945147" cy="2285999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600"/>
            </a:lvl1pPr>
            <a:lvl2pPr marL="273050" indent="0"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512" name="TextBox 1511">
            <a:extLst>
              <a:ext uri="{FF2B5EF4-FFF2-40B4-BE49-F238E27FC236}">
                <a16:creationId xmlns:a16="http://schemas.microsoft.com/office/drawing/2014/main" id="{6C78DB77-69E8-414D-8309-EC1F1C8DCA8E}"/>
              </a:ext>
            </a:extLst>
          </p:cNvPr>
          <p:cNvSpPr txBox="1"/>
          <p:nvPr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DA08A2D-0A8A-41FD-AA58-0A072FFF329F}"/>
              </a:ext>
            </a:extLst>
          </p:cNvPr>
          <p:cNvGrpSpPr/>
          <p:nvPr/>
        </p:nvGrpSpPr>
        <p:grpSpPr>
          <a:xfrm>
            <a:off x="608171" y="6445106"/>
            <a:ext cx="1184706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3596DD11-914A-4FCB-BD5A-B452681B61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522938A5-2D76-46C8-B7C1-3F77D5812E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D6EDDC02-7874-477D-8151-D0B193E894D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11497605-B9F0-499D-9BAD-CAD4DF264DD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87A173DB-972A-49CD-B107-F84916A5F7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AA7E256D-662E-4F46-945F-75B84B1B314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745AE183-7E5A-47CA-8BC0-5071F1977EE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9C494915-7365-4D9B-82B2-73349D47E724}"/>
              </a:ext>
            </a:extLst>
          </p:cNvPr>
          <p:cNvSpPr txBox="1"/>
          <p:nvPr/>
        </p:nvSpPr>
        <p:spPr bwMode="white">
          <a:xfrm flipH="1">
            <a:off x="2074133" y="6506318"/>
            <a:ext cx="172933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</p:spTree>
    <p:extLst>
      <p:ext uri="{BB962C8B-B14F-4D97-AF65-F5344CB8AC3E}">
        <p14:creationId xmlns:p14="http://schemas.microsoft.com/office/powerpoint/2010/main" val="3132602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atement –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19A14F3E-8802-40CC-94BC-F7A8969E93E3}"/>
              </a:ext>
            </a:extLst>
          </p:cNvPr>
          <p:cNvSpPr/>
          <p:nvPr/>
        </p:nvSpPr>
        <p:spPr>
          <a:xfrm rot="2700000">
            <a:off x="811896" y="-3658611"/>
            <a:ext cx="9864449" cy="13471649"/>
          </a:xfrm>
          <a:custGeom>
            <a:avLst/>
            <a:gdLst>
              <a:gd name="connsiteX0" fmla="*/ 0 w 9864449"/>
              <a:gd name="connsiteY0" fmla="*/ 7314461 h 13468141"/>
              <a:gd name="connsiteX1" fmla="*/ 7314462 w 9864449"/>
              <a:gd name="connsiteY1" fmla="*/ 0 h 13468141"/>
              <a:gd name="connsiteX2" fmla="*/ 9864449 w 9864449"/>
              <a:gd name="connsiteY2" fmla="*/ 2549987 h 13468141"/>
              <a:gd name="connsiteX3" fmla="*/ 9864449 w 9864449"/>
              <a:gd name="connsiteY3" fmla="*/ 7148688 h 13468141"/>
              <a:gd name="connsiteX4" fmla="*/ 3544996 w 9864449"/>
              <a:gd name="connsiteY4" fmla="*/ 13468141 h 13468141"/>
              <a:gd name="connsiteX5" fmla="*/ 0 w 9864449"/>
              <a:gd name="connsiteY5" fmla="*/ 9923145 h 134681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864449" h="13468141">
                <a:moveTo>
                  <a:pt x="0" y="7314461"/>
                </a:moveTo>
                <a:lnTo>
                  <a:pt x="7314462" y="0"/>
                </a:lnTo>
                <a:lnTo>
                  <a:pt x="9864449" y="2549987"/>
                </a:lnTo>
                <a:lnTo>
                  <a:pt x="9864449" y="7148688"/>
                </a:lnTo>
                <a:lnTo>
                  <a:pt x="3544996" y="13468141"/>
                </a:lnTo>
                <a:lnTo>
                  <a:pt x="0" y="9923145"/>
                </a:lnTo>
                <a:close/>
              </a:path>
            </a:pathLst>
          </a:custGeom>
          <a:gradFill>
            <a:gsLst>
              <a:gs pos="0">
                <a:schemeClr val="bg1">
                  <a:alpha val="76000"/>
                </a:schemeClr>
              </a:gs>
              <a:gs pos="89000">
                <a:schemeClr val="tx1">
                  <a:lumMod val="16000"/>
                  <a:lumOff val="84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0CD52C01-87CF-4DAA-AF73-217E439433CA}"/>
              </a:ext>
            </a:extLst>
          </p:cNvPr>
          <p:cNvSpPr/>
          <p:nvPr/>
        </p:nvSpPr>
        <p:spPr>
          <a:xfrm rot="2700000">
            <a:off x="9039732" y="3334353"/>
            <a:ext cx="970552" cy="4541320"/>
          </a:xfrm>
          <a:custGeom>
            <a:avLst/>
            <a:gdLst>
              <a:gd name="connsiteX0" fmla="*/ 1 w 970552"/>
              <a:gd name="connsiteY0" fmla="*/ 970551 h 4540137"/>
              <a:gd name="connsiteX1" fmla="*/ 970552 w 970552"/>
              <a:gd name="connsiteY1" fmla="*/ 0 h 4540137"/>
              <a:gd name="connsiteX2" fmla="*/ 970552 w 970552"/>
              <a:gd name="connsiteY2" fmla="*/ 3569585 h 4540137"/>
              <a:gd name="connsiteX3" fmla="*/ 0 w 970552"/>
              <a:gd name="connsiteY3" fmla="*/ 4540137 h 4540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0552" h="4540137">
                <a:moveTo>
                  <a:pt x="1" y="970551"/>
                </a:moveTo>
                <a:lnTo>
                  <a:pt x="970552" y="0"/>
                </a:lnTo>
                <a:lnTo>
                  <a:pt x="970552" y="3569585"/>
                </a:lnTo>
                <a:lnTo>
                  <a:pt x="0" y="4540137"/>
                </a:lnTo>
                <a:close/>
              </a:path>
            </a:pathLst>
          </a:custGeom>
          <a:gradFill>
            <a:gsLst>
              <a:gs pos="24000">
                <a:schemeClr val="accent3"/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863" name="Text Placeholder 862">
            <a:extLst>
              <a:ext uri="{FF2B5EF4-FFF2-40B4-BE49-F238E27FC236}">
                <a16:creationId xmlns:a16="http://schemas.microsoft.com/office/drawing/2014/main" id="{806A8161-3A3C-4E8C-98F0-AD01607CDAE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8172" y="2057401"/>
            <a:ext cx="5945147" cy="2285999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600"/>
            </a:lvl1pPr>
            <a:lvl2pPr marL="273050" indent="0"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512" name="TextBox 1511">
            <a:extLst>
              <a:ext uri="{FF2B5EF4-FFF2-40B4-BE49-F238E27FC236}">
                <a16:creationId xmlns:a16="http://schemas.microsoft.com/office/drawing/2014/main" id="{6C78DB77-69E8-414D-8309-EC1F1C8DCA8E}"/>
              </a:ext>
            </a:extLst>
          </p:cNvPr>
          <p:cNvSpPr txBox="1"/>
          <p:nvPr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DA08A2D-0A8A-41FD-AA58-0A072FFF329F}"/>
              </a:ext>
            </a:extLst>
          </p:cNvPr>
          <p:cNvGrpSpPr/>
          <p:nvPr/>
        </p:nvGrpSpPr>
        <p:grpSpPr>
          <a:xfrm>
            <a:off x="608171" y="6445106"/>
            <a:ext cx="1184706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3596DD11-914A-4FCB-BD5A-B452681B61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522938A5-2D76-46C8-B7C1-3F77D5812E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D6EDDC02-7874-477D-8151-D0B193E894D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11497605-B9F0-499D-9BAD-CAD4DF264DD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87A173DB-972A-49CD-B107-F84916A5F7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AA7E256D-662E-4F46-945F-75B84B1B314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745AE183-7E5A-47CA-8BC0-5071F1977EE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9C494915-7365-4D9B-82B2-73349D47E724}"/>
              </a:ext>
            </a:extLst>
          </p:cNvPr>
          <p:cNvSpPr txBox="1"/>
          <p:nvPr/>
        </p:nvSpPr>
        <p:spPr bwMode="white">
          <a:xfrm flipH="1">
            <a:off x="2074133" y="6506318"/>
            <a:ext cx="172933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</p:spTree>
    <p:extLst>
      <p:ext uri="{BB962C8B-B14F-4D97-AF65-F5344CB8AC3E}">
        <p14:creationId xmlns:p14="http://schemas.microsoft.com/office/powerpoint/2010/main" val="788368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with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B95FD2E6-B8EA-4366-97C4-6A53370F84D0}"/>
              </a:ext>
            </a:extLst>
          </p:cNvPr>
          <p:cNvSpPr/>
          <p:nvPr/>
        </p:nvSpPr>
        <p:spPr>
          <a:xfrm>
            <a:off x="5381121" y="-52904"/>
            <a:ext cx="6811740" cy="6821367"/>
          </a:xfrm>
          <a:custGeom>
            <a:avLst/>
            <a:gdLst>
              <a:gd name="connsiteX0" fmla="*/ 6845677 w 6846538"/>
              <a:gd name="connsiteY0" fmla="*/ 4820854 h 6858000"/>
              <a:gd name="connsiteX1" fmla="*/ 4811938 w 6846538"/>
              <a:gd name="connsiteY1" fmla="*/ 6857998 h 6858000"/>
              <a:gd name="connsiteX2" fmla="*/ 6845677 w 6846538"/>
              <a:gd name="connsiteY2" fmla="*/ 6857998 h 6858000"/>
              <a:gd name="connsiteX3" fmla="*/ 6846538 w 6846538"/>
              <a:gd name="connsiteY3" fmla="*/ 0 h 6858000"/>
              <a:gd name="connsiteX4" fmla="*/ 6846538 w 6846538"/>
              <a:gd name="connsiteY4" fmla="*/ 6858000 h 6858000"/>
              <a:gd name="connsiteX5" fmla="*/ 0 w 684653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46538" h="6858000">
                <a:moveTo>
                  <a:pt x="6845677" y="4820854"/>
                </a:moveTo>
                <a:lnTo>
                  <a:pt x="4811938" y="6857998"/>
                </a:lnTo>
                <a:lnTo>
                  <a:pt x="6845677" y="6857998"/>
                </a:lnTo>
                <a:close/>
                <a:moveTo>
                  <a:pt x="6846538" y="0"/>
                </a:moveTo>
                <a:lnTo>
                  <a:pt x="6846538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bg1">
                  <a:alpha val="76000"/>
                </a:schemeClr>
              </a:gs>
              <a:gs pos="89000">
                <a:schemeClr val="tx1">
                  <a:lumMod val="16000"/>
                  <a:lumOff val="84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774" name="TextBox 773">
            <a:extLst>
              <a:ext uri="{FF2B5EF4-FFF2-40B4-BE49-F238E27FC236}">
                <a16:creationId xmlns:a16="http://schemas.microsoft.com/office/drawing/2014/main" id="{BC2C04F8-C4D0-4DA4-8689-3A3303F0660F}"/>
              </a:ext>
            </a:extLst>
          </p:cNvPr>
          <p:cNvSpPr txBox="1"/>
          <p:nvPr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  <p:sp>
        <p:nvSpPr>
          <p:cNvPr id="2147" name="Oval 2146">
            <a:extLst>
              <a:ext uri="{FF2B5EF4-FFF2-40B4-BE49-F238E27FC236}">
                <a16:creationId xmlns:a16="http://schemas.microsoft.com/office/drawing/2014/main" id="{FDDA58E5-A99B-48C0-A6B7-6BAE32E46F62}"/>
              </a:ext>
            </a:extLst>
          </p:cNvPr>
          <p:cNvSpPr/>
          <p:nvPr/>
        </p:nvSpPr>
        <p:spPr bwMode="gray">
          <a:xfrm>
            <a:off x="7275710" y="1515193"/>
            <a:ext cx="3736885" cy="3735912"/>
          </a:xfrm>
          <a:prstGeom prst="ellipse">
            <a:avLst/>
          </a:prstGeom>
          <a:solidFill>
            <a:schemeClr val="accent1"/>
          </a:solidFill>
          <a:ln w="76200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0325" lvl="0" algn="ctr">
              <a:spcAft>
                <a:spcPts val="800"/>
              </a:spcAft>
            </a:pPr>
            <a:endParaRPr lang="en-US" sz="1400" kern="0" dirty="0"/>
          </a:p>
        </p:txBody>
      </p:sp>
      <p:sp>
        <p:nvSpPr>
          <p:cNvPr id="18" name="Text Placeholder 862">
            <a:extLst>
              <a:ext uri="{FF2B5EF4-FFF2-40B4-BE49-F238E27FC236}">
                <a16:creationId xmlns:a16="http://schemas.microsoft.com/office/drawing/2014/main" id="{E56855D3-D3B3-4208-ADBF-9790190F0A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8172" y="2514601"/>
            <a:ext cx="5487273" cy="1828799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600"/>
            </a:lvl1pPr>
            <a:lvl2pPr marL="273050" indent="0"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894608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with Icon –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904AD3C8-5B0F-4AB1-B568-AA55FF64194A}"/>
              </a:ext>
            </a:extLst>
          </p:cNvPr>
          <p:cNvSpPr/>
          <p:nvPr/>
        </p:nvSpPr>
        <p:spPr>
          <a:xfrm>
            <a:off x="5381121" y="-52904"/>
            <a:ext cx="6811740" cy="6821367"/>
          </a:xfrm>
          <a:custGeom>
            <a:avLst/>
            <a:gdLst>
              <a:gd name="connsiteX0" fmla="*/ 6845677 w 6846538"/>
              <a:gd name="connsiteY0" fmla="*/ 4820854 h 6858000"/>
              <a:gd name="connsiteX1" fmla="*/ 4811938 w 6846538"/>
              <a:gd name="connsiteY1" fmla="*/ 6857998 h 6858000"/>
              <a:gd name="connsiteX2" fmla="*/ 6845677 w 6846538"/>
              <a:gd name="connsiteY2" fmla="*/ 6857998 h 6858000"/>
              <a:gd name="connsiteX3" fmla="*/ 6846538 w 6846538"/>
              <a:gd name="connsiteY3" fmla="*/ 0 h 6858000"/>
              <a:gd name="connsiteX4" fmla="*/ 6846538 w 6846538"/>
              <a:gd name="connsiteY4" fmla="*/ 6858000 h 6858000"/>
              <a:gd name="connsiteX5" fmla="*/ 0 w 684653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46538" h="6858000">
                <a:moveTo>
                  <a:pt x="6845677" y="4820854"/>
                </a:moveTo>
                <a:lnTo>
                  <a:pt x="4811938" y="6857998"/>
                </a:lnTo>
                <a:lnTo>
                  <a:pt x="6845677" y="6857998"/>
                </a:lnTo>
                <a:close/>
                <a:moveTo>
                  <a:pt x="6846538" y="0"/>
                </a:moveTo>
                <a:lnTo>
                  <a:pt x="6846538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bg1">
                  <a:alpha val="76000"/>
                </a:schemeClr>
              </a:gs>
              <a:gs pos="89000">
                <a:schemeClr val="tx1">
                  <a:lumMod val="16000"/>
                  <a:lumOff val="84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774" name="TextBox 773">
            <a:extLst>
              <a:ext uri="{FF2B5EF4-FFF2-40B4-BE49-F238E27FC236}">
                <a16:creationId xmlns:a16="http://schemas.microsoft.com/office/drawing/2014/main" id="{BC2C04F8-C4D0-4DA4-8689-3A3303F0660F}"/>
              </a:ext>
            </a:extLst>
          </p:cNvPr>
          <p:cNvSpPr txBox="1"/>
          <p:nvPr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  <p:sp>
        <p:nvSpPr>
          <p:cNvPr id="2147" name="Oval 2146">
            <a:extLst>
              <a:ext uri="{FF2B5EF4-FFF2-40B4-BE49-F238E27FC236}">
                <a16:creationId xmlns:a16="http://schemas.microsoft.com/office/drawing/2014/main" id="{FDDA58E5-A99B-48C0-A6B7-6BAE32E46F62}"/>
              </a:ext>
            </a:extLst>
          </p:cNvPr>
          <p:cNvSpPr/>
          <p:nvPr/>
        </p:nvSpPr>
        <p:spPr bwMode="gray">
          <a:xfrm rot="10800000">
            <a:off x="7275710" y="1515193"/>
            <a:ext cx="3736885" cy="3735912"/>
          </a:xfrm>
          <a:prstGeom prst="ellipse">
            <a:avLst/>
          </a:prstGeom>
          <a:solidFill>
            <a:schemeClr val="accent4"/>
          </a:solidFill>
          <a:ln w="76200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0325" lvl="0" algn="ctr">
              <a:spcAft>
                <a:spcPts val="800"/>
              </a:spcAft>
            </a:pPr>
            <a:endParaRPr lang="en-US" sz="1400" kern="0" dirty="0"/>
          </a:p>
        </p:txBody>
      </p:sp>
      <p:sp>
        <p:nvSpPr>
          <p:cNvPr id="18" name="Text Placeholder 862">
            <a:extLst>
              <a:ext uri="{FF2B5EF4-FFF2-40B4-BE49-F238E27FC236}">
                <a16:creationId xmlns:a16="http://schemas.microsoft.com/office/drawing/2014/main" id="{E56855D3-D3B3-4208-ADBF-9790190F0A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8172" y="2514601"/>
            <a:ext cx="5487273" cy="1828799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600"/>
            </a:lvl1pPr>
            <a:lvl2pPr marL="273050" indent="0"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042928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with Icon –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8E49745E-959E-424E-B5AD-B75ACA32BFE8}"/>
              </a:ext>
            </a:extLst>
          </p:cNvPr>
          <p:cNvSpPr/>
          <p:nvPr/>
        </p:nvSpPr>
        <p:spPr>
          <a:xfrm>
            <a:off x="5381121" y="-52904"/>
            <a:ext cx="6811740" cy="6821367"/>
          </a:xfrm>
          <a:custGeom>
            <a:avLst/>
            <a:gdLst>
              <a:gd name="connsiteX0" fmla="*/ 6845677 w 6846538"/>
              <a:gd name="connsiteY0" fmla="*/ 4820854 h 6858000"/>
              <a:gd name="connsiteX1" fmla="*/ 4811938 w 6846538"/>
              <a:gd name="connsiteY1" fmla="*/ 6857998 h 6858000"/>
              <a:gd name="connsiteX2" fmla="*/ 6845677 w 6846538"/>
              <a:gd name="connsiteY2" fmla="*/ 6857998 h 6858000"/>
              <a:gd name="connsiteX3" fmla="*/ 6846538 w 6846538"/>
              <a:gd name="connsiteY3" fmla="*/ 0 h 6858000"/>
              <a:gd name="connsiteX4" fmla="*/ 6846538 w 6846538"/>
              <a:gd name="connsiteY4" fmla="*/ 6858000 h 6858000"/>
              <a:gd name="connsiteX5" fmla="*/ 0 w 684653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46538" h="6858000">
                <a:moveTo>
                  <a:pt x="6845677" y="4820854"/>
                </a:moveTo>
                <a:lnTo>
                  <a:pt x="4811938" y="6857998"/>
                </a:lnTo>
                <a:lnTo>
                  <a:pt x="6845677" y="6857998"/>
                </a:lnTo>
                <a:close/>
                <a:moveTo>
                  <a:pt x="6846538" y="0"/>
                </a:moveTo>
                <a:lnTo>
                  <a:pt x="6846538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bg1">
                  <a:alpha val="76000"/>
                </a:schemeClr>
              </a:gs>
              <a:gs pos="89000">
                <a:schemeClr val="tx1">
                  <a:lumMod val="16000"/>
                  <a:lumOff val="84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774" name="TextBox 773">
            <a:extLst>
              <a:ext uri="{FF2B5EF4-FFF2-40B4-BE49-F238E27FC236}">
                <a16:creationId xmlns:a16="http://schemas.microsoft.com/office/drawing/2014/main" id="{BC2C04F8-C4D0-4DA4-8689-3A3303F0660F}"/>
              </a:ext>
            </a:extLst>
          </p:cNvPr>
          <p:cNvSpPr txBox="1"/>
          <p:nvPr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  <p:sp>
        <p:nvSpPr>
          <p:cNvPr id="2147" name="Oval 2146">
            <a:extLst>
              <a:ext uri="{FF2B5EF4-FFF2-40B4-BE49-F238E27FC236}">
                <a16:creationId xmlns:a16="http://schemas.microsoft.com/office/drawing/2014/main" id="{FDDA58E5-A99B-48C0-A6B7-6BAE32E46F62}"/>
              </a:ext>
            </a:extLst>
          </p:cNvPr>
          <p:cNvSpPr/>
          <p:nvPr/>
        </p:nvSpPr>
        <p:spPr bwMode="gray">
          <a:xfrm>
            <a:off x="7275710" y="1515193"/>
            <a:ext cx="3736885" cy="3735912"/>
          </a:xfrm>
          <a:prstGeom prst="ellipse">
            <a:avLst/>
          </a:prstGeom>
          <a:solidFill>
            <a:schemeClr val="accent5"/>
          </a:solidFill>
          <a:ln w="76200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0325" lvl="0" algn="ctr">
              <a:spcAft>
                <a:spcPts val="800"/>
              </a:spcAft>
            </a:pPr>
            <a:endParaRPr lang="en-US" sz="1400" kern="0" dirty="0"/>
          </a:p>
        </p:txBody>
      </p:sp>
      <p:sp>
        <p:nvSpPr>
          <p:cNvPr id="18" name="Text Placeholder 862">
            <a:extLst>
              <a:ext uri="{FF2B5EF4-FFF2-40B4-BE49-F238E27FC236}">
                <a16:creationId xmlns:a16="http://schemas.microsoft.com/office/drawing/2014/main" id="{E56855D3-D3B3-4208-ADBF-9790190F0A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8172" y="2514601"/>
            <a:ext cx="5487273" cy="1828799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600"/>
            </a:lvl1pPr>
            <a:lvl2pPr marL="273050" indent="0"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560461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5DD6E7D-B875-48DF-B6A8-450BD6AE171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787456" y="0"/>
            <a:ext cx="5404545" cy="6764798"/>
          </a:xfrm>
        </p:spPr>
        <p:txBody>
          <a:bodyPr lIns="640080" tIns="0" rIns="640080" anchor="ctr"/>
          <a:lstStyle>
            <a:lvl1pPr algn="ctr">
              <a:defRPr/>
            </a:lvl1pPr>
          </a:lstStyle>
          <a:p>
            <a:r>
              <a:rPr lang="en-US" dirty="0"/>
              <a:t>Click on the icon to insert a picture from your computer</a:t>
            </a:r>
          </a:p>
        </p:txBody>
      </p:sp>
      <p:sp>
        <p:nvSpPr>
          <p:cNvPr id="17" name="Text Placeholder 862">
            <a:extLst>
              <a:ext uri="{FF2B5EF4-FFF2-40B4-BE49-F238E27FC236}">
                <a16:creationId xmlns:a16="http://schemas.microsoft.com/office/drawing/2014/main" id="{C8F55BC8-3E55-49EB-BF20-18EB4F7F597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8172" y="2514601"/>
            <a:ext cx="5487273" cy="1828799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600"/>
            </a:lvl1pPr>
            <a:lvl2pPr marL="273050" indent="0"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A6E1A1B-7C56-4DE3-BC90-B387C7F3E670}"/>
              </a:ext>
            </a:extLst>
          </p:cNvPr>
          <p:cNvSpPr txBox="1"/>
          <p:nvPr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916045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ist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0F1D41E-848B-4178-A0D2-2A18C6921400}"/>
              </a:ext>
            </a:extLst>
          </p:cNvPr>
          <p:cNvSpPr/>
          <p:nvPr/>
        </p:nvSpPr>
        <p:spPr bwMode="hidden">
          <a:xfrm>
            <a:off x="0" y="0"/>
            <a:ext cx="12191997" cy="4332288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1ED419A-30D8-44AB-9256-156B54D449CD}"/>
              </a:ext>
            </a:extLst>
          </p:cNvPr>
          <p:cNvSpPr/>
          <p:nvPr/>
        </p:nvSpPr>
        <p:spPr bwMode="white">
          <a:xfrm>
            <a:off x="672702" y="722997"/>
            <a:ext cx="4471564" cy="4470400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E4BDA96F-134D-4855-8751-F1043ABF3B4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7588" y="2514600"/>
            <a:ext cx="5028923" cy="1371601"/>
          </a:xfrm>
        </p:spPr>
        <p:txBody>
          <a:bodyPr anchor="ctr"/>
          <a:lstStyle>
            <a:lvl1pPr>
              <a:spcBef>
                <a:spcPts val="0"/>
              </a:spcBef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3" name="Chart Placeholder 22">
            <a:extLst>
              <a:ext uri="{FF2B5EF4-FFF2-40B4-BE49-F238E27FC236}">
                <a16:creationId xmlns:a16="http://schemas.microsoft.com/office/drawing/2014/main" id="{4093E53D-7586-4113-99BD-F45F1343692F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662845" y="722997"/>
            <a:ext cx="4481423" cy="448025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Click to insert a </a:t>
            </a:r>
            <a:br>
              <a:rPr lang="en-US" dirty="0"/>
            </a:br>
            <a:r>
              <a:rPr lang="en-US" dirty="0"/>
              <a:t>Doughnut char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C4F4198-4BE0-4282-8B86-20DED598DC1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8489" y="5507147"/>
            <a:ext cx="1371421" cy="423862"/>
          </a:xfrm>
        </p:spPr>
        <p:txBody>
          <a:bodyPr/>
          <a:lstStyle>
            <a:lvl1pPr algn="l">
              <a:defRPr sz="12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Text Placeholder 12">
            <a:extLst>
              <a:ext uri="{FF2B5EF4-FFF2-40B4-BE49-F238E27FC236}">
                <a16:creationId xmlns:a16="http://schemas.microsoft.com/office/drawing/2014/main" id="{4B5F4E67-F2E8-4777-B495-668C321DCBA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437051" y="5507147"/>
            <a:ext cx="1371421" cy="423862"/>
          </a:xfrm>
        </p:spPr>
        <p:txBody>
          <a:bodyPr/>
          <a:lstStyle>
            <a:lvl1pPr algn="l">
              <a:defRPr sz="12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1" name="Text Placeholder 12">
            <a:extLst>
              <a:ext uri="{FF2B5EF4-FFF2-40B4-BE49-F238E27FC236}">
                <a16:creationId xmlns:a16="http://schemas.microsoft.com/office/drawing/2014/main" id="{704846F3-64ED-4181-8AEC-68B9734DA96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62213" y="5507147"/>
            <a:ext cx="1371421" cy="423862"/>
          </a:xfrm>
        </p:spPr>
        <p:txBody>
          <a:bodyPr/>
          <a:lstStyle>
            <a:lvl1pPr algn="l">
              <a:defRPr sz="12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2" name="Text Placeholder 12">
            <a:extLst>
              <a:ext uri="{FF2B5EF4-FFF2-40B4-BE49-F238E27FC236}">
                <a16:creationId xmlns:a16="http://schemas.microsoft.com/office/drawing/2014/main" id="{DD17F439-D919-44B7-889F-96A1DAF172D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89695" y="5507147"/>
            <a:ext cx="1371421" cy="423862"/>
          </a:xfrm>
        </p:spPr>
        <p:txBody>
          <a:bodyPr/>
          <a:lstStyle>
            <a:lvl1pPr algn="l">
              <a:defRPr sz="1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3" name="Text Placeholder 12">
            <a:extLst>
              <a:ext uri="{FF2B5EF4-FFF2-40B4-BE49-F238E27FC236}">
                <a16:creationId xmlns:a16="http://schemas.microsoft.com/office/drawing/2014/main" id="{0DA74846-CC03-44FE-9AE5-4975E808F8A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922735" y="5507147"/>
            <a:ext cx="1371421" cy="423862"/>
          </a:xfrm>
        </p:spPr>
        <p:txBody>
          <a:bodyPr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4" name="Text Placeholder 12">
            <a:extLst>
              <a:ext uri="{FF2B5EF4-FFF2-40B4-BE49-F238E27FC236}">
                <a16:creationId xmlns:a16="http://schemas.microsoft.com/office/drawing/2014/main" id="{EB51A67B-FBDC-4AB8-B81A-6B6B96D04F4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752568" y="5507147"/>
            <a:ext cx="1371421" cy="423862"/>
          </a:xfrm>
        </p:spPr>
        <p:txBody>
          <a:bodyPr/>
          <a:lstStyle>
            <a:lvl1pPr algn="l">
              <a:defRPr sz="12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6C03ACE7-B591-43FD-A636-47D01F482F04}"/>
              </a:ext>
            </a:extLst>
          </p:cNvPr>
          <p:cNvSpPr txBox="1"/>
          <p:nvPr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681229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Quote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-14056" y="2702470"/>
            <a:ext cx="5347871" cy="4155557"/>
          </a:xfrm>
          <a:prstGeom prst="rect">
            <a:avLst/>
          </a:prstGeom>
        </p:spPr>
      </p:pic>
      <p:grpSp>
        <p:nvGrpSpPr>
          <p:cNvPr id="15" name="Group 14"/>
          <p:cNvGrpSpPr/>
          <p:nvPr/>
        </p:nvGrpSpPr>
        <p:grpSpPr>
          <a:xfrm>
            <a:off x="618039" y="6446072"/>
            <a:ext cx="1100080" cy="173355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2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9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30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31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32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</p:grpSp>
      <p:sp>
        <p:nvSpPr>
          <p:cNvPr id="12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914412" y="2593231"/>
            <a:ext cx="4813303" cy="5334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Click to add Name, Title, Compan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843281" y="457200"/>
            <a:ext cx="4876800" cy="2011680"/>
          </a:xfrm>
        </p:spPr>
        <p:txBody>
          <a:bodyPr/>
          <a:lstStyle>
            <a:lvl1pPr marL="58738" indent="-55563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wipe dir="r"/>
      </p:transition>
    </mc:Choice>
    <mc:Fallback xmlns="">
      <p:transition xmlns:p14="http://schemas.microsoft.com/office/powerpoint/2010/main" spd="slow">
        <p:wipe dir="r"/>
      </p:transition>
    </mc:Fallback>
  </mc:AlternateConten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55025D71-18A5-4A22-8386-917E1B08C46A}"/>
              </a:ext>
            </a:extLst>
          </p:cNvPr>
          <p:cNvSpPr txBox="1"/>
          <p:nvPr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73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 / 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A88A8ACB-CBE3-4DC0-BBE3-C6829C462CD7}"/>
              </a:ext>
            </a:extLst>
          </p:cNvPr>
          <p:cNvSpPr/>
          <p:nvPr/>
        </p:nvSpPr>
        <p:spPr>
          <a:xfrm rot="2700000">
            <a:off x="500610" y="-2251805"/>
            <a:ext cx="2891746" cy="8397980"/>
          </a:xfrm>
          <a:custGeom>
            <a:avLst/>
            <a:gdLst>
              <a:gd name="connsiteX0" fmla="*/ 0 w 2891746"/>
              <a:gd name="connsiteY0" fmla="*/ 2890035 h 8395793"/>
              <a:gd name="connsiteX1" fmla="*/ 1390389 w 2891746"/>
              <a:gd name="connsiteY1" fmla="*/ 1499646 h 8395793"/>
              <a:gd name="connsiteX2" fmla="*/ 1390389 w 2891746"/>
              <a:gd name="connsiteY2" fmla="*/ 1499646 h 8395793"/>
              <a:gd name="connsiteX3" fmla="*/ 2890036 w 2891746"/>
              <a:gd name="connsiteY3" fmla="*/ 0 h 8395793"/>
              <a:gd name="connsiteX4" fmla="*/ 2890036 w 2891746"/>
              <a:gd name="connsiteY4" fmla="*/ 8322767 h 8395793"/>
              <a:gd name="connsiteX5" fmla="*/ 2891746 w 2891746"/>
              <a:gd name="connsiteY5" fmla="*/ 8340727 h 8395793"/>
              <a:gd name="connsiteX6" fmla="*/ 2891741 w 2891746"/>
              <a:gd name="connsiteY6" fmla="*/ 8395793 h 8395793"/>
              <a:gd name="connsiteX7" fmla="*/ 2546313 w 2891746"/>
              <a:gd name="connsiteY7" fmla="*/ 8050365 h 8395793"/>
              <a:gd name="connsiteX8" fmla="*/ 2546315 w 2891746"/>
              <a:gd name="connsiteY8" fmla="*/ 8050364 h 8395793"/>
              <a:gd name="connsiteX9" fmla="*/ 0 w 2891746"/>
              <a:gd name="connsiteY9" fmla="*/ 5504049 h 8395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891746" h="8395793">
                <a:moveTo>
                  <a:pt x="0" y="2890035"/>
                </a:moveTo>
                <a:lnTo>
                  <a:pt x="1390389" y="1499646"/>
                </a:lnTo>
                <a:lnTo>
                  <a:pt x="1390389" y="1499646"/>
                </a:lnTo>
                <a:lnTo>
                  <a:pt x="2890036" y="0"/>
                </a:lnTo>
                <a:lnTo>
                  <a:pt x="2890036" y="8322767"/>
                </a:lnTo>
                <a:lnTo>
                  <a:pt x="2891746" y="8340727"/>
                </a:lnTo>
                <a:lnTo>
                  <a:pt x="2891741" y="8395793"/>
                </a:lnTo>
                <a:lnTo>
                  <a:pt x="2546313" y="8050365"/>
                </a:lnTo>
                <a:lnTo>
                  <a:pt x="2546315" y="8050364"/>
                </a:lnTo>
                <a:lnTo>
                  <a:pt x="0" y="5504049"/>
                </a:lnTo>
                <a:close/>
              </a:path>
            </a:pathLst>
          </a:custGeom>
          <a:gradFill>
            <a:gsLst>
              <a:gs pos="24000">
                <a:schemeClr val="accent4"/>
              </a:gs>
              <a:gs pos="100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5B87096-C8D7-45D0-8DCC-218276F547CC}"/>
              </a:ext>
            </a:extLst>
          </p:cNvPr>
          <p:cNvGrpSpPr/>
          <p:nvPr/>
        </p:nvGrpSpPr>
        <p:grpSpPr>
          <a:xfrm>
            <a:off x="608171" y="6445106"/>
            <a:ext cx="1184706" cy="186690"/>
            <a:chOff x="863272" y="6563918"/>
            <a:chExt cx="861082" cy="135727"/>
          </a:xfrm>
          <a:solidFill>
            <a:schemeClr val="tx1"/>
          </a:solidFill>
        </p:grpSpPr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FAC0FC71-A82A-4369-B44E-4E8FF53CA1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0D84D398-3251-432F-8986-05570D3BB8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07096BFD-803A-42D4-BA19-C683E35B0D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089E6840-6882-4279-A152-16C7CCB9BE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021DF59C-D6C9-4EC0-90A3-7752F6B722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E4C478B3-2ECE-440E-A04E-B8C84D0416E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2190CFD5-6EEA-46D1-AE5E-D69C2E08F3D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D479A9FB-8CEE-475F-BF22-3B0B11EB4E81}"/>
              </a:ext>
            </a:extLst>
          </p:cNvPr>
          <p:cNvSpPr txBox="1"/>
          <p:nvPr/>
        </p:nvSpPr>
        <p:spPr bwMode="white">
          <a:xfrm flipH="1">
            <a:off x="2074133" y="6506318"/>
            <a:ext cx="172933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52F598B-F734-42BE-8CB8-5E3FDDD7ED52}"/>
              </a:ext>
            </a:extLst>
          </p:cNvPr>
          <p:cNvSpPr txBox="1"/>
          <p:nvPr/>
        </p:nvSpPr>
        <p:spPr>
          <a:xfrm>
            <a:off x="7124768" y="4133698"/>
            <a:ext cx="3586491" cy="69249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en-US" sz="5000" b="0" kern="1200" cap="none" baseline="0" dirty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Thank You</a:t>
            </a: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5B8D218C-9E1A-4E8B-A343-F3F3A628E78E}"/>
              </a:ext>
            </a:extLst>
          </p:cNvPr>
          <p:cNvSpPr/>
          <p:nvPr/>
        </p:nvSpPr>
        <p:spPr>
          <a:xfrm rot="18900000">
            <a:off x="-1253764" y="2913755"/>
            <a:ext cx="6374445" cy="905566"/>
          </a:xfrm>
          <a:custGeom>
            <a:avLst/>
            <a:gdLst>
              <a:gd name="connsiteX0" fmla="*/ 6372785 w 6372785"/>
              <a:gd name="connsiteY0" fmla="*/ 0 h 905566"/>
              <a:gd name="connsiteX1" fmla="*/ 6372785 w 6372785"/>
              <a:gd name="connsiteY1" fmla="*/ 905566 h 905566"/>
              <a:gd name="connsiteX2" fmla="*/ 0 w 6372785"/>
              <a:gd name="connsiteY2" fmla="*/ 905566 h 905566"/>
              <a:gd name="connsiteX3" fmla="*/ 905566 w 6372785"/>
              <a:gd name="connsiteY3" fmla="*/ 0 h 905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72785" h="905566">
                <a:moveTo>
                  <a:pt x="6372785" y="0"/>
                </a:moveTo>
                <a:lnTo>
                  <a:pt x="6372785" y="905566"/>
                </a:lnTo>
                <a:lnTo>
                  <a:pt x="0" y="905566"/>
                </a:lnTo>
                <a:lnTo>
                  <a:pt x="905566" y="0"/>
                </a:lnTo>
                <a:close/>
              </a:path>
            </a:pathLst>
          </a:custGeom>
          <a:gradFill>
            <a:gsLst>
              <a:gs pos="94000">
                <a:schemeClr val="bg1"/>
              </a:gs>
              <a:gs pos="16000">
                <a:schemeClr val="accent4"/>
              </a:gs>
              <a:gs pos="76000">
                <a:schemeClr val="bg1">
                  <a:alpha val="91000"/>
                </a:schemeClr>
              </a:gs>
            </a:gsLst>
            <a:lin ang="7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1814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 / Closing –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171CD93A-658C-4473-839D-9C0B5E8F5F7C}"/>
              </a:ext>
            </a:extLst>
          </p:cNvPr>
          <p:cNvGrpSpPr/>
          <p:nvPr/>
        </p:nvGrpSpPr>
        <p:grpSpPr>
          <a:xfrm>
            <a:off x="608171" y="6445106"/>
            <a:ext cx="1184706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CDFBF2D3-5C06-47C4-A81C-0305B322C5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464D7FA4-CABA-4E4E-ACCA-68953799CF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4EB1261E-CBF9-4479-A018-76C0F24D3B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8C4A243B-FBF5-4C04-8CD0-8E1C4721D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F67E765D-8E8B-44F9-BE70-63FC0512FD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1B4614B4-F94A-4053-B179-EC5C3F70A9E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E157F005-56AC-4E75-8AA5-582D0D69E2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9473A8DE-DD1F-43EE-8FA2-4C689A038BA5}"/>
              </a:ext>
            </a:extLst>
          </p:cNvPr>
          <p:cNvSpPr txBox="1"/>
          <p:nvPr/>
        </p:nvSpPr>
        <p:spPr bwMode="white">
          <a:xfrm flipH="1">
            <a:off x="2074133" y="6506318"/>
            <a:ext cx="172933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1594E1E-E234-471D-B539-F75E8CC06D07}"/>
              </a:ext>
            </a:extLst>
          </p:cNvPr>
          <p:cNvSpPr txBox="1"/>
          <p:nvPr/>
        </p:nvSpPr>
        <p:spPr>
          <a:xfrm>
            <a:off x="7124768" y="4133698"/>
            <a:ext cx="3586491" cy="69249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en-US" sz="5000" b="0" kern="1200" cap="none" baseline="0" dirty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Thank You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4C67E5CD-C662-462D-9821-CBF45A809F13}"/>
              </a:ext>
            </a:extLst>
          </p:cNvPr>
          <p:cNvSpPr/>
          <p:nvPr/>
        </p:nvSpPr>
        <p:spPr>
          <a:xfrm rot="2700000">
            <a:off x="500610" y="-2251805"/>
            <a:ext cx="2891746" cy="8397980"/>
          </a:xfrm>
          <a:custGeom>
            <a:avLst/>
            <a:gdLst>
              <a:gd name="connsiteX0" fmla="*/ 0 w 2891746"/>
              <a:gd name="connsiteY0" fmla="*/ 2890035 h 8395793"/>
              <a:gd name="connsiteX1" fmla="*/ 1390389 w 2891746"/>
              <a:gd name="connsiteY1" fmla="*/ 1499646 h 8395793"/>
              <a:gd name="connsiteX2" fmla="*/ 1390389 w 2891746"/>
              <a:gd name="connsiteY2" fmla="*/ 1499646 h 8395793"/>
              <a:gd name="connsiteX3" fmla="*/ 2890036 w 2891746"/>
              <a:gd name="connsiteY3" fmla="*/ 0 h 8395793"/>
              <a:gd name="connsiteX4" fmla="*/ 2890036 w 2891746"/>
              <a:gd name="connsiteY4" fmla="*/ 8322767 h 8395793"/>
              <a:gd name="connsiteX5" fmla="*/ 2891746 w 2891746"/>
              <a:gd name="connsiteY5" fmla="*/ 8340727 h 8395793"/>
              <a:gd name="connsiteX6" fmla="*/ 2891741 w 2891746"/>
              <a:gd name="connsiteY6" fmla="*/ 8395793 h 8395793"/>
              <a:gd name="connsiteX7" fmla="*/ 2546313 w 2891746"/>
              <a:gd name="connsiteY7" fmla="*/ 8050365 h 8395793"/>
              <a:gd name="connsiteX8" fmla="*/ 2546315 w 2891746"/>
              <a:gd name="connsiteY8" fmla="*/ 8050364 h 8395793"/>
              <a:gd name="connsiteX9" fmla="*/ 0 w 2891746"/>
              <a:gd name="connsiteY9" fmla="*/ 5504049 h 8395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891746" h="8395793">
                <a:moveTo>
                  <a:pt x="0" y="2890035"/>
                </a:moveTo>
                <a:lnTo>
                  <a:pt x="1390389" y="1499646"/>
                </a:lnTo>
                <a:lnTo>
                  <a:pt x="1390389" y="1499646"/>
                </a:lnTo>
                <a:lnTo>
                  <a:pt x="2890036" y="0"/>
                </a:lnTo>
                <a:lnTo>
                  <a:pt x="2890036" y="8322767"/>
                </a:lnTo>
                <a:lnTo>
                  <a:pt x="2891746" y="8340727"/>
                </a:lnTo>
                <a:lnTo>
                  <a:pt x="2891741" y="8395793"/>
                </a:lnTo>
                <a:lnTo>
                  <a:pt x="2546313" y="8050365"/>
                </a:lnTo>
                <a:lnTo>
                  <a:pt x="2546315" y="8050364"/>
                </a:lnTo>
                <a:lnTo>
                  <a:pt x="0" y="5504049"/>
                </a:lnTo>
                <a:close/>
              </a:path>
            </a:pathLst>
          </a:custGeom>
          <a:gradFill>
            <a:gsLst>
              <a:gs pos="24000">
                <a:srgbClr val="7F35AB"/>
              </a:gs>
              <a:gs pos="87000">
                <a:srgbClr val="264088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DBDC7692-DF81-49A0-9672-BF8E1DB9B662}"/>
              </a:ext>
            </a:extLst>
          </p:cNvPr>
          <p:cNvSpPr/>
          <p:nvPr/>
        </p:nvSpPr>
        <p:spPr>
          <a:xfrm rot="18900000">
            <a:off x="-1253764" y="2913755"/>
            <a:ext cx="6374445" cy="905566"/>
          </a:xfrm>
          <a:custGeom>
            <a:avLst/>
            <a:gdLst>
              <a:gd name="connsiteX0" fmla="*/ 6372785 w 6372785"/>
              <a:gd name="connsiteY0" fmla="*/ 0 h 905566"/>
              <a:gd name="connsiteX1" fmla="*/ 6372785 w 6372785"/>
              <a:gd name="connsiteY1" fmla="*/ 905566 h 905566"/>
              <a:gd name="connsiteX2" fmla="*/ 0 w 6372785"/>
              <a:gd name="connsiteY2" fmla="*/ 905566 h 905566"/>
              <a:gd name="connsiteX3" fmla="*/ 905566 w 6372785"/>
              <a:gd name="connsiteY3" fmla="*/ 0 h 905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72785" h="905566">
                <a:moveTo>
                  <a:pt x="6372785" y="0"/>
                </a:moveTo>
                <a:lnTo>
                  <a:pt x="6372785" y="905566"/>
                </a:lnTo>
                <a:lnTo>
                  <a:pt x="0" y="905566"/>
                </a:lnTo>
                <a:lnTo>
                  <a:pt x="905566" y="0"/>
                </a:lnTo>
                <a:close/>
              </a:path>
            </a:pathLst>
          </a:custGeom>
          <a:gradFill>
            <a:gsLst>
              <a:gs pos="22000">
                <a:srgbClr val="7F35AB">
                  <a:alpha val="94000"/>
                </a:srgbClr>
              </a:gs>
              <a:gs pos="95000">
                <a:schemeClr val="bg1"/>
              </a:gs>
              <a:gs pos="77000">
                <a:schemeClr val="bg1">
                  <a:alpha val="79000"/>
                </a:schemeClr>
              </a:gs>
            </a:gsLst>
            <a:lin ang="8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4418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 / Closing –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35B1C875-AD13-4256-9E56-D2FCF94B81E1}"/>
              </a:ext>
            </a:extLst>
          </p:cNvPr>
          <p:cNvGrpSpPr/>
          <p:nvPr/>
        </p:nvGrpSpPr>
        <p:grpSpPr>
          <a:xfrm>
            <a:off x="608171" y="6445106"/>
            <a:ext cx="1184706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E1B65455-CBDD-4B2B-8BB7-0D016422E2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AF202269-FCD9-4D84-82E7-4E6E4F5B7E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68585838-6A08-43B0-827A-D33942E82F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AAAE7B3A-0116-4C7F-85A1-4CDFE95B9B5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9CA84427-5217-43A1-9C71-25D9E1DFDD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A60ADC44-391E-4E50-A7BB-332F2C9E8B4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1DA390D7-F8F5-442A-8A17-9A9EB73BF94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C31C01D4-7C61-4B0F-8304-87A15AD01262}"/>
              </a:ext>
            </a:extLst>
          </p:cNvPr>
          <p:cNvSpPr txBox="1"/>
          <p:nvPr/>
        </p:nvSpPr>
        <p:spPr bwMode="white">
          <a:xfrm flipH="1">
            <a:off x="2074133" y="6506318"/>
            <a:ext cx="172933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39F709C-1996-44DB-8C47-9CBD9243BF4E}"/>
              </a:ext>
            </a:extLst>
          </p:cNvPr>
          <p:cNvSpPr txBox="1"/>
          <p:nvPr/>
        </p:nvSpPr>
        <p:spPr>
          <a:xfrm>
            <a:off x="7124768" y="4133698"/>
            <a:ext cx="3586491" cy="69249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en-US" sz="5000" b="0" kern="1200" cap="none" baseline="0" dirty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Thank You</a:t>
            </a: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811A168A-1363-4430-87C6-83E5143B39F6}"/>
              </a:ext>
            </a:extLst>
          </p:cNvPr>
          <p:cNvSpPr/>
          <p:nvPr/>
        </p:nvSpPr>
        <p:spPr>
          <a:xfrm rot="2700000">
            <a:off x="500610" y="-2251805"/>
            <a:ext cx="2891746" cy="8397980"/>
          </a:xfrm>
          <a:custGeom>
            <a:avLst/>
            <a:gdLst>
              <a:gd name="connsiteX0" fmla="*/ 0 w 2891746"/>
              <a:gd name="connsiteY0" fmla="*/ 2890035 h 8395793"/>
              <a:gd name="connsiteX1" fmla="*/ 1390389 w 2891746"/>
              <a:gd name="connsiteY1" fmla="*/ 1499646 h 8395793"/>
              <a:gd name="connsiteX2" fmla="*/ 1390389 w 2891746"/>
              <a:gd name="connsiteY2" fmla="*/ 1499646 h 8395793"/>
              <a:gd name="connsiteX3" fmla="*/ 2890036 w 2891746"/>
              <a:gd name="connsiteY3" fmla="*/ 0 h 8395793"/>
              <a:gd name="connsiteX4" fmla="*/ 2890036 w 2891746"/>
              <a:gd name="connsiteY4" fmla="*/ 8322767 h 8395793"/>
              <a:gd name="connsiteX5" fmla="*/ 2891746 w 2891746"/>
              <a:gd name="connsiteY5" fmla="*/ 8340727 h 8395793"/>
              <a:gd name="connsiteX6" fmla="*/ 2891741 w 2891746"/>
              <a:gd name="connsiteY6" fmla="*/ 8395793 h 8395793"/>
              <a:gd name="connsiteX7" fmla="*/ 2546313 w 2891746"/>
              <a:gd name="connsiteY7" fmla="*/ 8050365 h 8395793"/>
              <a:gd name="connsiteX8" fmla="*/ 2546315 w 2891746"/>
              <a:gd name="connsiteY8" fmla="*/ 8050364 h 8395793"/>
              <a:gd name="connsiteX9" fmla="*/ 0 w 2891746"/>
              <a:gd name="connsiteY9" fmla="*/ 5504049 h 8395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891746" h="8395793">
                <a:moveTo>
                  <a:pt x="0" y="2890035"/>
                </a:moveTo>
                <a:lnTo>
                  <a:pt x="1390389" y="1499646"/>
                </a:lnTo>
                <a:lnTo>
                  <a:pt x="1390389" y="1499646"/>
                </a:lnTo>
                <a:lnTo>
                  <a:pt x="2890036" y="0"/>
                </a:lnTo>
                <a:lnTo>
                  <a:pt x="2890036" y="8322767"/>
                </a:lnTo>
                <a:lnTo>
                  <a:pt x="2891746" y="8340727"/>
                </a:lnTo>
                <a:lnTo>
                  <a:pt x="2891741" y="8395793"/>
                </a:lnTo>
                <a:lnTo>
                  <a:pt x="2546313" y="8050365"/>
                </a:lnTo>
                <a:lnTo>
                  <a:pt x="2546315" y="8050364"/>
                </a:lnTo>
                <a:lnTo>
                  <a:pt x="0" y="5504049"/>
                </a:lnTo>
                <a:close/>
              </a:path>
            </a:pathLst>
          </a:custGeom>
          <a:gradFill>
            <a:gsLst>
              <a:gs pos="24000">
                <a:schemeClr val="accent3"/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2C946B50-6B2C-4792-825B-BEFD24908723}"/>
              </a:ext>
            </a:extLst>
          </p:cNvPr>
          <p:cNvSpPr/>
          <p:nvPr/>
        </p:nvSpPr>
        <p:spPr>
          <a:xfrm rot="18900000">
            <a:off x="-1253764" y="2913755"/>
            <a:ext cx="6374445" cy="905566"/>
          </a:xfrm>
          <a:custGeom>
            <a:avLst/>
            <a:gdLst>
              <a:gd name="connsiteX0" fmla="*/ 6372785 w 6372785"/>
              <a:gd name="connsiteY0" fmla="*/ 0 h 905566"/>
              <a:gd name="connsiteX1" fmla="*/ 6372785 w 6372785"/>
              <a:gd name="connsiteY1" fmla="*/ 905566 h 905566"/>
              <a:gd name="connsiteX2" fmla="*/ 0 w 6372785"/>
              <a:gd name="connsiteY2" fmla="*/ 905566 h 905566"/>
              <a:gd name="connsiteX3" fmla="*/ 905566 w 6372785"/>
              <a:gd name="connsiteY3" fmla="*/ 0 h 905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72785" h="905566">
                <a:moveTo>
                  <a:pt x="6372785" y="0"/>
                </a:moveTo>
                <a:lnTo>
                  <a:pt x="6372785" y="905566"/>
                </a:lnTo>
                <a:lnTo>
                  <a:pt x="0" y="905566"/>
                </a:lnTo>
                <a:lnTo>
                  <a:pt x="905566" y="0"/>
                </a:lnTo>
                <a:close/>
              </a:path>
            </a:pathLst>
          </a:custGeom>
          <a:gradFill>
            <a:gsLst>
              <a:gs pos="24000">
                <a:schemeClr val="accent3"/>
              </a:gs>
              <a:gs pos="80511">
                <a:schemeClr val="bg1">
                  <a:alpha val="76000"/>
                </a:schemeClr>
              </a:gs>
              <a:gs pos="100000">
                <a:schemeClr val="bg1"/>
              </a:gs>
            </a:gsLst>
            <a:lin ang="8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1633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ont Che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EA75217-7D87-4C71-8F80-833477FCB149}"/>
              </a:ext>
            </a:extLst>
          </p:cNvPr>
          <p:cNvSpPr/>
          <p:nvPr/>
        </p:nvSpPr>
        <p:spPr bwMode="hidden">
          <a:xfrm>
            <a:off x="1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49AC7DF-BFC1-4044-BB52-C9946AD8A327}"/>
              </a:ext>
            </a:extLst>
          </p:cNvPr>
          <p:cNvSpPr txBox="1">
            <a:spLocks/>
          </p:cNvSpPr>
          <p:nvPr/>
        </p:nvSpPr>
        <p:spPr>
          <a:xfrm>
            <a:off x="564716" y="366687"/>
            <a:ext cx="11003870" cy="7061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5000" dirty="0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3C12014-9EC5-4F8C-BD3D-B60E85EC9FFD}"/>
              </a:ext>
            </a:extLst>
          </p:cNvPr>
          <p:cNvSpPr txBox="1"/>
          <p:nvPr/>
        </p:nvSpPr>
        <p:spPr>
          <a:xfrm>
            <a:off x="621057" y="3906061"/>
            <a:ext cx="10965543" cy="23807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30000"/>
              </a:lnSpc>
            </a:pPr>
            <a:r>
              <a:rPr lang="en-US" sz="1800" dirty="0">
                <a:solidFill>
                  <a:schemeClr val="bg1"/>
                </a:solidFill>
              </a:rPr>
              <a:t>If yes, you are good to go!</a:t>
            </a:r>
          </a:p>
          <a:p>
            <a:pPr>
              <a:lnSpc>
                <a:spcPct val="130000"/>
              </a:lnSpc>
            </a:pPr>
            <a:r>
              <a:rPr lang="en-US" sz="1800" dirty="0">
                <a:solidFill>
                  <a:schemeClr val="bg1"/>
                </a:solidFill>
              </a:rPr>
              <a:t>If the answer is no, you do not have the Metropolis font installed.</a:t>
            </a:r>
          </a:p>
          <a:p>
            <a:pPr>
              <a:lnSpc>
                <a:spcPct val="130000"/>
              </a:lnSpc>
            </a:pPr>
            <a:endParaRPr lang="en-US" sz="180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dirty="0">
                <a:solidFill>
                  <a:schemeClr val="bg1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lick here</a:t>
            </a:r>
            <a:r>
              <a:rPr lang="en-US" sz="1800" dirty="0">
                <a:solidFill>
                  <a:schemeClr val="bg1"/>
                </a:solidFill>
              </a:rPr>
              <a:t> to download the font</a:t>
            </a:r>
            <a:r>
              <a:rPr lang="en-US" sz="1800" baseline="0" dirty="0">
                <a:solidFill>
                  <a:schemeClr val="bg1"/>
                </a:solidFill>
              </a:rPr>
              <a:t>.</a:t>
            </a:r>
          </a:p>
          <a:p>
            <a:pPr marL="400050" marR="0" lvl="0" indent="-227013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sz="1800" strike="noStrike" baseline="0" dirty="0">
                <a:solidFill>
                  <a:schemeClr val="bg1"/>
                </a:solidFill>
              </a:rPr>
              <a:t>Log in with SSO and select the Brand Assets tab in Brand Central</a:t>
            </a:r>
          </a:p>
          <a:p>
            <a:pPr>
              <a:lnSpc>
                <a:spcPct val="130000"/>
              </a:lnSpc>
            </a:pPr>
            <a:r>
              <a:rPr lang="en-US" sz="1800" dirty="0">
                <a:solidFill>
                  <a:schemeClr val="bg1"/>
                </a:solidFill>
              </a:rPr>
              <a:t>Need more information on how to install fonts? </a:t>
            </a:r>
            <a:br>
              <a:rPr lang="en-US" sz="1800" dirty="0">
                <a:solidFill>
                  <a:schemeClr val="bg1"/>
                </a:solidFill>
              </a:rPr>
            </a:br>
            <a:r>
              <a:rPr lang="en-US" sz="1800" dirty="0">
                <a:solidFill>
                  <a:schemeClr val="bg1"/>
                </a:solidFill>
              </a:rPr>
              <a:t>Refer to the quick-start section in the template guidelines or contact Oasis.</a:t>
            </a:r>
          </a:p>
          <a:p>
            <a:pPr>
              <a:lnSpc>
                <a:spcPct val="130000"/>
              </a:lnSpc>
            </a:pPr>
            <a:r>
              <a:rPr lang="en-US" sz="1800" dirty="0">
                <a:solidFill>
                  <a:schemeClr val="bg1"/>
                </a:solidFill>
              </a:rPr>
              <a:t> 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DDDC76C1-EE98-469A-A6AD-21148374D6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98270" y="2908233"/>
            <a:ext cx="5356032" cy="895350"/>
          </a:xfrm>
        </p:spPr>
        <p:txBody>
          <a:bodyPr/>
          <a:lstStyle>
            <a:lvl1pPr>
              <a:defRPr sz="4900">
                <a:solidFill>
                  <a:schemeClr val="bg1"/>
                </a:solidFill>
              </a:defRPr>
            </a:lvl1pPr>
            <a:lvl2pPr>
              <a:defRPr sz="3600">
                <a:solidFill>
                  <a:schemeClr val="bg1"/>
                </a:solidFill>
              </a:defRPr>
            </a:lvl2pPr>
            <a:lvl3pPr>
              <a:defRPr sz="32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etropolis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29BE03A-21B0-4196-A033-4E90957BA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z="2800" dirty="0">
                <a:solidFill>
                  <a:schemeClr val="bg1"/>
                </a:solidFill>
              </a:rPr>
              <a:t>Metropolis Font Check</a:t>
            </a:r>
          </a:p>
        </p:txBody>
      </p:sp>
      <p:sp>
        <p:nvSpPr>
          <p:cNvPr id="51" name="Subtitle 2">
            <a:extLst>
              <a:ext uri="{FF2B5EF4-FFF2-40B4-BE49-F238E27FC236}">
                <a16:creationId xmlns:a16="http://schemas.microsoft.com/office/drawing/2014/main" id="{CB049186-CC25-4BD3-8410-4DE62ED4B08B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3021" y="838105"/>
            <a:ext cx="10965543" cy="247743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Is the Metropolis font installed on my computer?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1A92F24-FC82-4FA9-9362-801284731CC8}"/>
              </a:ext>
            </a:extLst>
          </p:cNvPr>
          <p:cNvSpPr/>
          <p:nvPr/>
        </p:nvSpPr>
        <p:spPr bwMode="gray">
          <a:xfrm>
            <a:off x="623526" y="1616678"/>
            <a:ext cx="4634944" cy="2441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100" dirty="0">
                <a:solidFill>
                  <a:schemeClr val="bg1"/>
                </a:solidFill>
              </a:rPr>
              <a:t>Do the fonts in the words below match on your screen?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B59E37DB-3217-4772-AE8E-E9673A139975}"/>
              </a:ext>
            </a:extLst>
          </p:cNvPr>
          <p:cNvCxnSpPr>
            <a:cxnSpLocks/>
          </p:cNvCxnSpPr>
          <p:nvPr/>
        </p:nvCxnSpPr>
        <p:spPr>
          <a:xfrm>
            <a:off x="623527" y="1860778"/>
            <a:ext cx="7301750" cy="0"/>
          </a:xfrm>
          <a:prstGeom prst="line">
            <a:avLst/>
          </a:prstGeom>
          <a:ln w="25400">
            <a:solidFill>
              <a:schemeClr val="bg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 Placeholder 43">
            <a:extLst>
              <a:ext uri="{FF2B5EF4-FFF2-40B4-BE49-F238E27FC236}">
                <a16:creationId xmlns:a16="http://schemas.microsoft.com/office/drawing/2014/main" id="{6C28CB3F-7257-499E-B2F6-B9B1B38D82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85242" y="2908233"/>
            <a:ext cx="5356032" cy="895350"/>
          </a:xfrm>
        </p:spPr>
        <p:txBody>
          <a:bodyPr/>
          <a:lstStyle>
            <a:lvl1pPr>
              <a:defRPr sz="4900">
                <a:solidFill>
                  <a:schemeClr val="bg1"/>
                </a:solidFill>
                <a:latin typeface="+mj-lt"/>
              </a:defRPr>
            </a:lvl1pPr>
            <a:lvl2pPr>
              <a:defRPr sz="3600">
                <a:solidFill>
                  <a:schemeClr val="bg1"/>
                </a:solidFill>
              </a:defRPr>
            </a:lvl2pPr>
            <a:lvl3pPr>
              <a:defRPr sz="32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etropolis Light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365F6992-4889-4035-986F-E69979C7B028}"/>
              </a:ext>
            </a:extLst>
          </p:cNvPr>
          <p:cNvGrpSpPr/>
          <p:nvPr/>
        </p:nvGrpSpPr>
        <p:grpSpPr>
          <a:xfrm>
            <a:off x="6056500" y="2225997"/>
            <a:ext cx="4700685" cy="542276"/>
            <a:chOff x="6685343" y="2270804"/>
            <a:chExt cx="4699461" cy="542276"/>
          </a:xfrm>
          <a:solidFill>
            <a:schemeClr val="bg1"/>
          </a:solidFill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157C5E2C-9A8F-469D-810E-FD271477DD05}"/>
                </a:ext>
              </a:extLst>
            </p:cNvPr>
            <p:cNvSpPr/>
            <p:nvPr/>
          </p:nvSpPr>
          <p:spPr>
            <a:xfrm>
              <a:off x="9320530" y="2270804"/>
              <a:ext cx="53167" cy="53167"/>
            </a:xfrm>
            <a:custGeom>
              <a:avLst/>
              <a:gdLst/>
              <a:ahLst/>
              <a:cxnLst/>
              <a:rect l="l" t="t" r="r" b="b"/>
              <a:pathLst>
                <a:path w="53167" h="53167">
                  <a:moveTo>
                    <a:pt x="26583" y="0"/>
                  </a:moveTo>
                  <a:cubicBezTo>
                    <a:pt x="34183" y="219"/>
                    <a:pt x="40467" y="2872"/>
                    <a:pt x="45439" y="7959"/>
                  </a:cubicBezTo>
                  <a:cubicBezTo>
                    <a:pt x="50411" y="13047"/>
                    <a:pt x="52987" y="19255"/>
                    <a:pt x="53167" y="26583"/>
                  </a:cubicBezTo>
                  <a:cubicBezTo>
                    <a:pt x="52987" y="34182"/>
                    <a:pt x="50411" y="40468"/>
                    <a:pt x="45439" y="45439"/>
                  </a:cubicBezTo>
                  <a:cubicBezTo>
                    <a:pt x="40467" y="50411"/>
                    <a:pt x="34183" y="52987"/>
                    <a:pt x="26583" y="53167"/>
                  </a:cubicBezTo>
                  <a:cubicBezTo>
                    <a:pt x="18985" y="52987"/>
                    <a:pt x="12699" y="50411"/>
                    <a:pt x="7727" y="45439"/>
                  </a:cubicBezTo>
                  <a:cubicBezTo>
                    <a:pt x="2756" y="40468"/>
                    <a:pt x="180" y="34182"/>
                    <a:pt x="0" y="26583"/>
                  </a:cubicBezTo>
                  <a:cubicBezTo>
                    <a:pt x="180" y="19255"/>
                    <a:pt x="2756" y="13047"/>
                    <a:pt x="7727" y="7959"/>
                  </a:cubicBezTo>
                  <a:cubicBezTo>
                    <a:pt x="12699" y="2872"/>
                    <a:pt x="18985" y="219"/>
                    <a:pt x="26583" y="0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16D8268-B556-4A2E-A24F-2098FB05E4CA}"/>
                </a:ext>
              </a:extLst>
            </p:cNvPr>
            <p:cNvSpPr/>
            <p:nvPr/>
          </p:nvSpPr>
          <p:spPr>
            <a:xfrm>
              <a:off x="10320655" y="2270804"/>
              <a:ext cx="53167" cy="53167"/>
            </a:xfrm>
            <a:custGeom>
              <a:avLst/>
              <a:gdLst/>
              <a:ahLst/>
              <a:cxnLst/>
              <a:rect l="l" t="t" r="r" b="b"/>
              <a:pathLst>
                <a:path w="53167" h="53167">
                  <a:moveTo>
                    <a:pt x="26583" y="0"/>
                  </a:moveTo>
                  <a:cubicBezTo>
                    <a:pt x="34182" y="219"/>
                    <a:pt x="40468" y="2872"/>
                    <a:pt x="45439" y="7959"/>
                  </a:cubicBezTo>
                  <a:cubicBezTo>
                    <a:pt x="50411" y="13047"/>
                    <a:pt x="52986" y="19255"/>
                    <a:pt x="53167" y="26583"/>
                  </a:cubicBezTo>
                  <a:cubicBezTo>
                    <a:pt x="52986" y="34182"/>
                    <a:pt x="50411" y="40468"/>
                    <a:pt x="45439" y="45439"/>
                  </a:cubicBezTo>
                  <a:cubicBezTo>
                    <a:pt x="40468" y="50411"/>
                    <a:pt x="34182" y="52987"/>
                    <a:pt x="26583" y="53167"/>
                  </a:cubicBezTo>
                  <a:cubicBezTo>
                    <a:pt x="18984" y="52987"/>
                    <a:pt x="12699" y="50411"/>
                    <a:pt x="7727" y="45439"/>
                  </a:cubicBezTo>
                  <a:cubicBezTo>
                    <a:pt x="2756" y="40468"/>
                    <a:pt x="180" y="34182"/>
                    <a:pt x="0" y="26583"/>
                  </a:cubicBezTo>
                  <a:cubicBezTo>
                    <a:pt x="180" y="19255"/>
                    <a:pt x="2756" y="13047"/>
                    <a:pt x="7727" y="7959"/>
                  </a:cubicBezTo>
                  <a:cubicBezTo>
                    <a:pt x="12699" y="2872"/>
                    <a:pt x="18984" y="219"/>
                    <a:pt x="26583" y="0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54C27A0-5E49-4C0A-B9A5-777E28510D88}"/>
                </a:ext>
              </a:extLst>
            </p:cNvPr>
            <p:cNvSpPr/>
            <p:nvPr/>
          </p:nvSpPr>
          <p:spPr>
            <a:xfrm>
              <a:off x="9176178" y="2273899"/>
              <a:ext cx="38309" cy="432691"/>
            </a:xfrm>
            <a:custGeom>
              <a:avLst/>
              <a:gdLst/>
              <a:ahLst/>
              <a:cxnLst/>
              <a:rect l="l" t="t" r="r" b="b"/>
              <a:pathLst>
                <a:path w="38309" h="432691">
                  <a:moveTo>
                    <a:pt x="0" y="0"/>
                  </a:moveTo>
                  <a:lnTo>
                    <a:pt x="38309" y="0"/>
                  </a:lnTo>
                  <a:lnTo>
                    <a:pt x="38309" y="432691"/>
                  </a:lnTo>
                  <a:lnTo>
                    <a:pt x="0" y="43269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B6DC2D46-24E8-497A-AE7E-3F29CF07D0E0}"/>
                </a:ext>
              </a:extLst>
            </p:cNvPr>
            <p:cNvSpPr/>
            <p:nvPr/>
          </p:nvSpPr>
          <p:spPr>
            <a:xfrm>
              <a:off x="10871628" y="2273899"/>
              <a:ext cx="263051" cy="432691"/>
            </a:xfrm>
            <a:custGeom>
              <a:avLst/>
              <a:gdLst/>
              <a:ahLst/>
              <a:cxnLst/>
              <a:rect l="l" t="t" r="r" b="b"/>
              <a:pathLst>
                <a:path w="263051" h="432691">
                  <a:moveTo>
                    <a:pt x="0" y="0"/>
                  </a:moveTo>
                  <a:lnTo>
                    <a:pt x="38309" y="0"/>
                  </a:lnTo>
                  <a:lnTo>
                    <a:pt x="38309" y="164610"/>
                  </a:lnTo>
                  <a:cubicBezTo>
                    <a:pt x="47303" y="146708"/>
                    <a:pt x="61058" y="132407"/>
                    <a:pt x="79575" y="121706"/>
                  </a:cubicBezTo>
                  <a:cubicBezTo>
                    <a:pt x="98091" y="111006"/>
                    <a:pt x="119435" y="105521"/>
                    <a:pt x="143603" y="105252"/>
                  </a:cubicBezTo>
                  <a:cubicBezTo>
                    <a:pt x="179471" y="105803"/>
                    <a:pt x="208206" y="117063"/>
                    <a:pt x="229805" y="139033"/>
                  </a:cubicBezTo>
                  <a:cubicBezTo>
                    <a:pt x="251405" y="161002"/>
                    <a:pt x="262487" y="190372"/>
                    <a:pt x="263051" y="227142"/>
                  </a:cubicBezTo>
                  <a:lnTo>
                    <a:pt x="263051" y="432691"/>
                  </a:lnTo>
                  <a:lnTo>
                    <a:pt x="224743" y="432691"/>
                  </a:lnTo>
                  <a:lnTo>
                    <a:pt x="224743" y="232095"/>
                  </a:lnTo>
                  <a:cubicBezTo>
                    <a:pt x="224343" y="204441"/>
                    <a:pt x="216316" y="182359"/>
                    <a:pt x="200663" y="165849"/>
                  </a:cubicBezTo>
                  <a:cubicBezTo>
                    <a:pt x="185011" y="149339"/>
                    <a:pt x="164133" y="140877"/>
                    <a:pt x="138029" y="140464"/>
                  </a:cubicBezTo>
                  <a:cubicBezTo>
                    <a:pt x="109215" y="141019"/>
                    <a:pt x="85549" y="149506"/>
                    <a:pt x="67032" y="165926"/>
                  </a:cubicBezTo>
                  <a:cubicBezTo>
                    <a:pt x="48515" y="182346"/>
                    <a:pt x="38941" y="203370"/>
                    <a:pt x="38309" y="228999"/>
                  </a:cubicBezTo>
                  <a:lnTo>
                    <a:pt x="38309" y="432691"/>
                  </a:lnTo>
                  <a:lnTo>
                    <a:pt x="0" y="43269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0B6A4DE9-31A3-428E-B420-424F68D79E41}"/>
                </a:ext>
              </a:extLst>
            </p:cNvPr>
            <p:cNvSpPr/>
            <p:nvPr/>
          </p:nvSpPr>
          <p:spPr>
            <a:xfrm>
              <a:off x="6685343" y="2281329"/>
              <a:ext cx="403593" cy="425261"/>
            </a:xfrm>
            <a:custGeom>
              <a:avLst/>
              <a:gdLst/>
              <a:ahLst/>
              <a:cxnLst/>
              <a:rect l="l" t="t" r="r" b="b"/>
              <a:pathLst>
                <a:path w="403593" h="425261">
                  <a:moveTo>
                    <a:pt x="0" y="0"/>
                  </a:moveTo>
                  <a:lnTo>
                    <a:pt x="39547" y="0"/>
                  </a:lnTo>
                  <a:lnTo>
                    <a:pt x="201797" y="304554"/>
                  </a:lnTo>
                  <a:lnTo>
                    <a:pt x="364046" y="0"/>
                  </a:lnTo>
                  <a:lnTo>
                    <a:pt x="403593" y="0"/>
                  </a:lnTo>
                  <a:lnTo>
                    <a:pt x="403593" y="425261"/>
                  </a:lnTo>
                  <a:lnTo>
                    <a:pt x="364046" y="425261"/>
                  </a:lnTo>
                  <a:lnTo>
                    <a:pt x="364046" y="84186"/>
                  </a:lnTo>
                  <a:lnTo>
                    <a:pt x="201797" y="388740"/>
                  </a:lnTo>
                  <a:lnTo>
                    <a:pt x="39547" y="84186"/>
                  </a:lnTo>
                  <a:lnTo>
                    <a:pt x="39547" y="425261"/>
                  </a:lnTo>
                  <a:lnTo>
                    <a:pt x="0" y="42526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9221A60B-A1D2-4D5F-ADCD-2B3BF1989BD1}"/>
                </a:ext>
              </a:extLst>
            </p:cNvPr>
            <p:cNvSpPr/>
            <p:nvPr/>
          </p:nvSpPr>
          <p:spPr>
            <a:xfrm>
              <a:off x="9980992" y="2281329"/>
              <a:ext cx="276052" cy="425261"/>
            </a:xfrm>
            <a:custGeom>
              <a:avLst/>
              <a:gdLst/>
              <a:ahLst/>
              <a:cxnLst/>
              <a:rect l="l" t="t" r="r" b="b"/>
              <a:pathLst>
                <a:path w="276052" h="425261">
                  <a:moveTo>
                    <a:pt x="0" y="0"/>
                  </a:moveTo>
                  <a:lnTo>
                    <a:pt x="39547" y="0"/>
                  </a:lnTo>
                  <a:lnTo>
                    <a:pt x="39547" y="387572"/>
                  </a:lnTo>
                  <a:lnTo>
                    <a:pt x="276052" y="387572"/>
                  </a:lnTo>
                  <a:lnTo>
                    <a:pt x="276052" y="425261"/>
                  </a:lnTo>
                  <a:lnTo>
                    <a:pt x="0" y="42526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BB738972-CA48-44E6-B7DD-E4E8B81F3D9E}"/>
                </a:ext>
              </a:extLst>
            </p:cNvPr>
            <p:cNvSpPr/>
            <p:nvPr/>
          </p:nvSpPr>
          <p:spPr>
            <a:xfrm>
              <a:off x="7532020" y="2298664"/>
              <a:ext cx="185660" cy="415356"/>
            </a:xfrm>
            <a:custGeom>
              <a:avLst/>
              <a:gdLst/>
              <a:ahLst/>
              <a:cxnLst/>
              <a:rect l="l" t="t" r="r" b="b"/>
              <a:pathLst>
                <a:path w="185660" h="415356">
                  <a:moveTo>
                    <a:pt x="52006" y="0"/>
                  </a:moveTo>
                  <a:lnTo>
                    <a:pt x="90314" y="0"/>
                  </a:lnTo>
                  <a:lnTo>
                    <a:pt x="90314" y="87916"/>
                  </a:lnTo>
                  <a:lnTo>
                    <a:pt x="170801" y="87916"/>
                  </a:lnTo>
                  <a:lnTo>
                    <a:pt x="170801" y="123129"/>
                  </a:lnTo>
                  <a:lnTo>
                    <a:pt x="90314" y="123129"/>
                  </a:lnTo>
                  <a:lnTo>
                    <a:pt x="90314" y="333695"/>
                  </a:lnTo>
                  <a:cubicBezTo>
                    <a:pt x="90598" y="347552"/>
                    <a:pt x="94365" y="358699"/>
                    <a:pt x="101613" y="367138"/>
                  </a:cubicBezTo>
                  <a:cubicBezTo>
                    <a:pt x="108862" y="375576"/>
                    <a:pt x="117891" y="379911"/>
                    <a:pt x="128700" y="380143"/>
                  </a:cubicBezTo>
                  <a:cubicBezTo>
                    <a:pt x="136207" y="380079"/>
                    <a:pt x="143172" y="378814"/>
                    <a:pt x="149596" y="376350"/>
                  </a:cubicBezTo>
                  <a:cubicBezTo>
                    <a:pt x="156019" y="373886"/>
                    <a:pt x="161436" y="370608"/>
                    <a:pt x="165848" y="366518"/>
                  </a:cubicBezTo>
                  <a:lnTo>
                    <a:pt x="185660" y="394970"/>
                  </a:lnTo>
                  <a:cubicBezTo>
                    <a:pt x="177185" y="401495"/>
                    <a:pt x="167821" y="406514"/>
                    <a:pt x="157567" y="410028"/>
                  </a:cubicBezTo>
                  <a:cubicBezTo>
                    <a:pt x="147313" y="413541"/>
                    <a:pt x="136865" y="415317"/>
                    <a:pt x="126224" y="415356"/>
                  </a:cubicBezTo>
                  <a:cubicBezTo>
                    <a:pt x="104177" y="414934"/>
                    <a:pt x="86392" y="407284"/>
                    <a:pt x="72869" y="392407"/>
                  </a:cubicBezTo>
                  <a:cubicBezTo>
                    <a:pt x="59345" y="377530"/>
                    <a:pt x="52391" y="357959"/>
                    <a:pt x="52006" y="333695"/>
                  </a:cubicBezTo>
                  <a:lnTo>
                    <a:pt x="52006" y="123129"/>
                  </a:lnTo>
                  <a:lnTo>
                    <a:pt x="0" y="123129"/>
                  </a:lnTo>
                  <a:lnTo>
                    <a:pt x="0" y="87916"/>
                  </a:lnTo>
                  <a:lnTo>
                    <a:pt x="52006" y="87916"/>
                  </a:lnTo>
                  <a:lnTo>
                    <a:pt x="52006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C0E3A6F-0249-4454-864B-04BF720A73B8}"/>
                </a:ext>
              </a:extLst>
            </p:cNvPr>
            <p:cNvSpPr/>
            <p:nvPr/>
          </p:nvSpPr>
          <p:spPr>
            <a:xfrm>
              <a:off x="11199144" y="2298664"/>
              <a:ext cx="185660" cy="415356"/>
            </a:xfrm>
            <a:custGeom>
              <a:avLst/>
              <a:gdLst/>
              <a:ahLst/>
              <a:cxnLst/>
              <a:rect l="l" t="t" r="r" b="b"/>
              <a:pathLst>
                <a:path w="185660" h="415356">
                  <a:moveTo>
                    <a:pt x="52006" y="0"/>
                  </a:moveTo>
                  <a:lnTo>
                    <a:pt x="90315" y="0"/>
                  </a:lnTo>
                  <a:lnTo>
                    <a:pt x="90315" y="87916"/>
                  </a:lnTo>
                  <a:lnTo>
                    <a:pt x="170802" y="87916"/>
                  </a:lnTo>
                  <a:lnTo>
                    <a:pt x="170802" y="123129"/>
                  </a:lnTo>
                  <a:lnTo>
                    <a:pt x="90315" y="123129"/>
                  </a:lnTo>
                  <a:lnTo>
                    <a:pt x="90315" y="333695"/>
                  </a:lnTo>
                  <a:cubicBezTo>
                    <a:pt x="90599" y="347552"/>
                    <a:pt x="94366" y="358699"/>
                    <a:pt x="101614" y="367138"/>
                  </a:cubicBezTo>
                  <a:cubicBezTo>
                    <a:pt x="108863" y="375576"/>
                    <a:pt x="117892" y="379911"/>
                    <a:pt x="128701" y="380143"/>
                  </a:cubicBezTo>
                  <a:cubicBezTo>
                    <a:pt x="136208" y="380079"/>
                    <a:pt x="143173" y="378814"/>
                    <a:pt x="149596" y="376350"/>
                  </a:cubicBezTo>
                  <a:cubicBezTo>
                    <a:pt x="156020" y="373886"/>
                    <a:pt x="161437" y="370608"/>
                    <a:pt x="165848" y="366518"/>
                  </a:cubicBezTo>
                  <a:lnTo>
                    <a:pt x="185660" y="394970"/>
                  </a:lnTo>
                  <a:cubicBezTo>
                    <a:pt x="177186" y="401495"/>
                    <a:pt x="167822" y="406514"/>
                    <a:pt x="157568" y="410028"/>
                  </a:cubicBezTo>
                  <a:cubicBezTo>
                    <a:pt x="147314" y="413541"/>
                    <a:pt x="136866" y="415317"/>
                    <a:pt x="126224" y="415356"/>
                  </a:cubicBezTo>
                  <a:cubicBezTo>
                    <a:pt x="104178" y="414934"/>
                    <a:pt x="86393" y="407284"/>
                    <a:pt x="72870" y="392407"/>
                  </a:cubicBezTo>
                  <a:cubicBezTo>
                    <a:pt x="59346" y="377530"/>
                    <a:pt x="52392" y="357959"/>
                    <a:pt x="52006" y="333695"/>
                  </a:cubicBezTo>
                  <a:lnTo>
                    <a:pt x="52006" y="123129"/>
                  </a:lnTo>
                  <a:lnTo>
                    <a:pt x="0" y="123129"/>
                  </a:lnTo>
                  <a:lnTo>
                    <a:pt x="0" y="87916"/>
                  </a:lnTo>
                  <a:lnTo>
                    <a:pt x="52006" y="87916"/>
                  </a:lnTo>
                  <a:lnTo>
                    <a:pt x="52006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BD5D52F-83DC-4C29-BFF9-C29AC76D694C}"/>
                </a:ext>
              </a:extLst>
            </p:cNvPr>
            <p:cNvSpPr/>
            <p:nvPr/>
          </p:nvSpPr>
          <p:spPr>
            <a:xfrm>
              <a:off x="7184309" y="2379151"/>
              <a:ext cx="309486" cy="334869"/>
            </a:xfrm>
            <a:custGeom>
              <a:avLst/>
              <a:gdLst/>
              <a:ahLst/>
              <a:cxnLst/>
              <a:rect l="l" t="t" r="r" b="b"/>
              <a:pathLst>
                <a:path w="309486" h="334869">
                  <a:moveTo>
                    <a:pt x="157840" y="0"/>
                  </a:moveTo>
                  <a:cubicBezTo>
                    <a:pt x="205615" y="720"/>
                    <a:pt x="242734" y="17376"/>
                    <a:pt x="269197" y="49965"/>
                  </a:cubicBezTo>
                  <a:cubicBezTo>
                    <a:pt x="295660" y="82555"/>
                    <a:pt x="309089" y="126754"/>
                    <a:pt x="309486" y="182564"/>
                  </a:cubicBezTo>
                  <a:lnTo>
                    <a:pt x="38928" y="182564"/>
                  </a:lnTo>
                  <a:cubicBezTo>
                    <a:pt x="42863" y="216445"/>
                    <a:pt x="55740" y="244247"/>
                    <a:pt x="77559" y="265969"/>
                  </a:cubicBezTo>
                  <a:cubicBezTo>
                    <a:pt x="99377" y="287692"/>
                    <a:pt x="126963" y="298921"/>
                    <a:pt x="160317" y="299656"/>
                  </a:cubicBezTo>
                  <a:cubicBezTo>
                    <a:pt x="181013" y="299488"/>
                    <a:pt x="201090" y="295797"/>
                    <a:pt x="220547" y="288582"/>
                  </a:cubicBezTo>
                  <a:cubicBezTo>
                    <a:pt x="240005" y="281367"/>
                    <a:pt x="255436" y="271635"/>
                    <a:pt x="266842" y="259387"/>
                  </a:cubicBezTo>
                  <a:lnTo>
                    <a:pt x="290950" y="285407"/>
                  </a:lnTo>
                  <a:cubicBezTo>
                    <a:pt x="276534" y="300459"/>
                    <a:pt x="257271" y="312414"/>
                    <a:pt x="233160" y="321273"/>
                  </a:cubicBezTo>
                  <a:cubicBezTo>
                    <a:pt x="209050" y="330132"/>
                    <a:pt x="184975" y="334664"/>
                    <a:pt x="160937" y="334869"/>
                  </a:cubicBezTo>
                  <a:cubicBezTo>
                    <a:pt x="132043" y="334568"/>
                    <a:pt x="105473" y="327127"/>
                    <a:pt x="81227" y="312548"/>
                  </a:cubicBezTo>
                  <a:cubicBezTo>
                    <a:pt x="56980" y="297968"/>
                    <a:pt x="37482" y="278056"/>
                    <a:pt x="22732" y="252812"/>
                  </a:cubicBezTo>
                  <a:cubicBezTo>
                    <a:pt x="7982" y="227567"/>
                    <a:pt x="405" y="198797"/>
                    <a:pt x="0" y="166502"/>
                  </a:cubicBezTo>
                  <a:cubicBezTo>
                    <a:pt x="343" y="134622"/>
                    <a:pt x="7561" y="106198"/>
                    <a:pt x="21654" y="81230"/>
                  </a:cubicBezTo>
                  <a:cubicBezTo>
                    <a:pt x="35746" y="56262"/>
                    <a:pt x="54656" y="36557"/>
                    <a:pt x="78382" y="22115"/>
                  </a:cubicBezTo>
                  <a:cubicBezTo>
                    <a:pt x="102109" y="7673"/>
                    <a:pt x="128595" y="301"/>
                    <a:pt x="157840" y="0"/>
                  </a:cubicBezTo>
                  <a:close/>
                  <a:moveTo>
                    <a:pt x="159079" y="35212"/>
                  </a:moveTo>
                  <a:cubicBezTo>
                    <a:pt x="127505" y="35742"/>
                    <a:pt x="100848" y="46145"/>
                    <a:pt x="79107" y="66423"/>
                  </a:cubicBezTo>
                  <a:cubicBezTo>
                    <a:pt x="57366" y="86700"/>
                    <a:pt x="44179" y="113676"/>
                    <a:pt x="39547" y="147351"/>
                  </a:cubicBezTo>
                  <a:lnTo>
                    <a:pt x="271796" y="147351"/>
                  </a:lnTo>
                  <a:cubicBezTo>
                    <a:pt x="268881" y="114489"/>
                    <a:pt x="257836" y="87745"/>
                    <a:pt x="238663" y="67120"/>
                  </a:cubicBezTo>
                  <a:cubicBezTo>
                    <a:pt x="219489" y="46494"/>
                    <a:pt x="192961" y="35858"/>
                    <a:pt x="159079" y="35212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8A50D27D-9134-4260-9625-A03ACB43BB75}"/>
                </a:ext>
              </a:extLst>
            </p:cNvPr>
            <p:cNvSpPr/>
            <p:nvPr/>
          </p:nvSpPr>
          <p:spPr>
            <a:xfrm>
              <a:off x="7784908" y="2379151"/>
              <a:ext cx="162134" cy="327439"/>
            </a:xfrm>
            <a:custGeom>
              <a:avLst/>
              <a:gdLst/>
              <a:ahLst/>
              <a:cxnLst/>
              <a:rect l="l" t="t" r="r" b="b"/>
              <a:pathLst>
                <a:path w="162134" h="327439">
                  <a:moveTo>
                    <a:pt x="162134" y="0"/>
                  </a:moveTo>
                  <a:lnTo>
                    <a:pt x="162134" y="35212"/>
                  </a:lnTo>
                  <a:cubicBezTo>
                    <a:pt x="125283" y="35792"/>
                    <a:pt x="95591" y="46396"/>
                    <a:pt x="73057" y="67025"/>
                  </a:cubicBezTo>
                  <a:cubicBezTo>
                    <a:pt x="50523" y="87655"/>
                    <a:pt x="38941" y="114831"/>
                    <a:pt x="38309" y="148556"/>
                  </a:cubicBezTo>
                  <a:lnTo>
                    <a:pt x="38309" y="327439"/>
                  </a:lnTo>
                  <a:lnTo>
                    <a:pt x="0" y="327439"/>
                  </a:lnTo>
                  <a:lnTo>
                    <a:pt x="0" y="7429"/>
                  </a:lnTo>
                  <a:lnTo>
                    <a:pt x="38309" y="7429"/>
                  </a:lnTo>
                  <a:lnTo>
                    <a:pt x="38309" y="74217"/>
                  </a:lnTo>
                  <a:cubicBezTo>
                    <a:pt x="47338" y="51898"/>
                    <a:pt x="62713" y="34035"/>
                    <a:pt x="84434" y="20628"/>
                  </a:cubicBezTo>
                  <a:cubicBezTo>
                    <a:pt x="106154" y="7222"/>
                    <a:pt x="132054" y="345"/>
                    <a:pt x="162134" y="0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8AD9AAAC-AEE1-41E7-98D0-8AAAA66A65F2}"/>
                </a:ext>
              </a:extLst>
            </p:cNvPr>
            <p:cNvSpPr/>
            <p:nvPr/>
          </p:nvSpPr>
          <p:spPr>
            <a:xfrm>
              <a:off x="7992696" y="2379151"/>
              <a:ext cx="330536" cy="334869"/>
            </a:xfrm>
            <a:custGeom>
              <a:avLst/>
              <a:gdLst/>
              <a:ahLst/>
              <a:cxnLst/>
              <a:rect l="l" t="t" r="r" b="b"/>
              <a:pathLst>
                <a:path w="330536" h="334869">
                  <a:moveTo>
                    <a:pt x="165267" y="0"/>
                  </a:moveTo>
                  <a:cubicBezTo>
                    <a:pt x="195773" y="366"/>
                    <a:pt x="223451" y="8019"/>
                    <a:pt x="248301" y="22960"/>
                  </a:cubicBezTo>
                  <a:cubicBezTo>
                    <a:pt x="273151" y="37901"/>
                    <a:pt x="292978" y="57935"/>
                    <a:pt x="307782" y="83060"/>
                  </a:cubicBezTo>
                  <a:cubicBezTo>
                    <a:pt x="322585" y="108185"/>
                    <a:pt x="330170" y="136207"/>
                    <a:pt x="330536" y="167125"/>
                  </a:cubicBezTo>
                  <a:cubicBezTo>
                    <a:pt x="330170" y="198051"/>
                    <a:pt x="322585" y="226126"/>
                    <a:pt x="307782" y="251351"/>
                  </a:cubicBezTo>
                  <a:cubicBezTo>
                    <a:pt x="292978" y="276575"/>
                    <a:pt x="273151" y="296708"/>
                    <a:pt x="248301" y="311748"/>
                  </a:cubicBezTo>
                  <a:cubicBezTo>
                    <a:pt x="223451" y="326788"/>
                    <a:pt x="195773" y="334495"/>
                    <a:pt x="165267" y="334869"/>
                  </a:cubicBezTo>
                  <a:cubicBezTo>
                    <a:pt x="134762" y="334495"/>
                    <a:pt x="107084" y="326788"/>
                    <a:pt x="82234" y="311748"/>
                  </a:cubicBezTo>
                  <a:cubicBezTo>
                    <a:pt x="57384" y="296708"/>
                    <a:pt x="37557" y="276575"/>
                    <a:pt x="22754" y="251351"/>
                  </a:cubicBezTo>
                  <a:cubicBezTo>
                    <a:pt x="7951" y="226126"/>
                    <a:pt x="366" y="198051"/>
                    <a:pt x="0" y="167125"/>
                  </a:cubicBezTo>
                  <a:cubicBezTo>
                    <a:pt x="366" y="136207"/>
                    <a:pt x="7951" y="108185"/>
                    <a:pt x="22754" y="83060"/>
                  </a:cubicBezTo>
                  <a:cubicBezTo>
                    <a:pt x="37557" y="57935"/>
                    <a:pt x="57384" y="37901"/>
                    <a:pt x="82234" y="22960"/>
                  </a:cubicBezTo>
                  <a:cubicBezTo>
                    <a:pt x="107084" y="8019"/>
                    <a:pt x="134762" y="366"/>
                    <a:pt x="165267" y="0"/>
                  </a:cubicBezTo>
                  <a:close/>
                  <a:moveTo>
                    <a:pt x="165267" y="35212"/>
                  </a:moveTo>
                  <a:cubicBezTo>
                    <a:pt x="129954" y="36180"/>
                    <a:pt x="100407" y="49108"/>
                    <a:pt x="76628" y="73997"/>
                  </a:cubicBezTo>
                  <a:cubicBezTo>
                    <a:pt x="52849" y="98885"/>
                    <a:pt x="40489" y="129928"/>
                    <a:pt x="39547" y="167125"/>
                  </a:cubicBezTo>
                  <a:cubicBezTo>
                    <a:pt x="40489" y="204348"/>
                    <a:pt x="52849" y="235494"/>
                    <a:pt x="76628" y="260563"/>
                  </a:cubicBezTo>
                  <a:cubicBezTo>
                    <a:pt x="100407" y="285632"/>
                    <a:pt x="129954" y="298663"/>
                    <a:pt x="165267" y="299656"/>
                  </a:cubicBezTo>
                  <a:cubicBezTo>
                    <a:pt x="200581" y="298663"/>
                    <a:pt x="230128" y="285632"/>
                    <a:pt x="253907" y="260563"/>
                  </a:cubicBezTo>
                  <a:cubicBezTo>
                    <a:pt x="277686" y="235494"/>
                    <a:pt x="290047" y="204348"/>
                    <a:pt x="290989" y="167125"/>
                  </a:cubicBezTo>
                  <a:cubicBezTo>
                    <a:pt x="290047" y="129928"/>
                    <a:pt x="277686" y="98885"/>
                    <a:pt x="253907" y="73997"/>
                  </a:cubicBezTo>
                  <a:cubicBezTo>
                    <a:pt x="230128" y="49108"/>
                    <a:pt x="200581" y="36180"/>
                    <a:pt x="165267" y="35212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05D99233-8B51-431E-B7AE-9CFD2F67C3E6}"/>
                </a:ext>
              </a:extLst>
            </p:cNvPr>
            <p:cNvSpPr/>
            <p:nvPr/>
          </p:nvSpPr>
          <p:spPr>
            <a:xfrm>
              <a:off x="8404653" y="2379151"/>
              <a:ext cx="303913" cy="433929"/>
            </a:xfrm>
            <a:custGeom>
              <a:avLst/>
              <a:gdLst/>
              <a:ahLst/>
              <a:cxnLst/>
              <a:rect l="l" t="t" r="r" b="b"/>
              <a:pathLst>
                <a:path w="303913" h="433929">
                  <a:moveTo>
                    <a:pt x="157842" y="0"/>
                  </a:moveTo>
                  <a:cubicBezTo>
                    <a:pt x="199966" y="1002"/>
                    <a:pt x="234608" y="16936"/>
                    <a:pt x="261767" y="47802"/>
                  </a:cubicBezTo>
                  <a:cubicBezTo>
                    <a:pt x="288926" y="78669"/>
                    <a:pt x="302975" y="118456"/>
                    <a:pt x="303913" y="167163"/>
                  </a:cubicBezTo>
                  <a:cubicBezTo>
                    <a:pt x="302975" y="216136"/>
                    <a:pt x="288926" y="256082"/>
                    <a:pt x="261767" y="287003"/>
                  </a:cubicBezTo>
                  <a:cubicBezTo>
                    <a:pt x="234608" y="317924"/>
                    <a:pt x="199966" y="333879"/>
                    <a:pt x="157842" y="334869"/>
                  </a:cubicBezTo>
                  <a:cubicBezTo>
                    <a:pt x="131378" y="334665"/>
                    <a:pt x="107972" y="328432"/>
                    <a:pt x="87624" y="316172"/>
                  </a:cubicBezTo>
                  <a:cubicBezTo>
                    <a:pt x="67276" y="303912"/>
                    <a:pt x="50837" y="286849"/>
                    <a:pt x="38308" y="264985"/>
                  </a:cubicBezTo>
                  <a:lnTo>
                    <a:pt x="38308" y="433929"/>
                  </a:lnTo>
                  <a:lnTo>
                    <a:pt x="0" y="433929"/>
                  </a:lnTo>
                  <a:lnTo>
                    <a:pt x="0" y="7429"/>
                  </a:lnTo>
                  <a:lnTo>
                    <a:pt x="38308" y="7429"/>
                  </a:lnTo>
                  <a:lnTo>
                    <a:pt x="38308" y="69894"/>
                  </a:lnTo>
                  <a:cubicBezTo>
                    <a:pt x="50837" y="48025"/>
                    <a:pt x="67276" y="30959"/>
                    <a:pt x="87624" y="18698"/>
                  </a:cubicBezTo>
                  <a:cubicBezTo>
                    <a:pt x="107972" y="6437"/>
                    <a:pt x="131378" y="204"/>
                    <a:pt x="157842" y="0"/>
                  </a:cubicBezTo>
                  <a:close/>
                  <a:moveTo>
                    <a:pt x="150410" y="35212"/>
                  </a:moveTo>
                  <a:cubicBezTo>
                    <a:pt x="117017" y="35870"/>
                    <a:pt x="90127" y="48179"/>
                    <a:pt x="69740" y="72139"/>
                  </a:cubicBezTo>
                  <a:cubicBezTo>
                    <a:pt x="49354" y="96098"/>
                    <a:pt x="38876" y="127760"/>
                    <a:pt x="38308" y="167125"/>
                  </a:cubicBezTo>
                  <a:cubicBezTo>
                    <a:pt x="38876" y="206515"/>
                    <a:pt x="49354" y="238281"/>
                    <a:pt x="69740" y="262421"/>
                  </a:cubicBezTo>
                  <a:cubicBezTo>
                    <a:pt x="90127" y="286561"/>
                    <a:pt x="117017" y="298972"/>
                    <a:pt x="150410" y="299656"/>
                  </a:cubicBezTo>
                  <a:cubicBezTo>
                    <a:pt x="183312" y="298856"/>
                    <a:pt x="210253" y="286212"/>
                    <a:pt x="231233" y="261724"/>
                  </a:cubicBezTo>
                  <a:cubicBezTo>
                    <a:pt x="252213" y="237235"/>
                    <a:pt x="263051" y="205703"/>
                    <a:pt x="263747" y="167125"/>
                  </a:cubicBezTo>
                  <a:cubicBezTo>
                    <a:pt x="263051" y="128573"/>
                    <a:pt x="252213" y="97143"/>
                    <a:pt x="231233" y="72836"/>
                  </a:cubicBezTo>
                  <a:cubicBezTo>
                    <a:pt x="210253" y="48528"/>
                    <a:pt x="183312" y="35987"/>
                    <a:pt x="150410" y="35212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99B1F118-34ED-4FB8-A180-737A1399C241}"/>
                </a:ext>
              </a:extLst>
            </p:cNvPr>
            <p:cNvSpPr/>
            <p:nvPr/>
          </p:nvSpPr>
          <p:spPr>
            <a:xfrm>
              <a:off x="8764222" y="2379151"/>
              <a:ext cx="330535" cy="334869"/>
            </a:xfrm>
            <a:custGeom>
              <a:avLst/>
              <a:gdLst/>
              <a:ahLst/>
              <a:cxnLst/>
              <a:rect l="l" t="t" r="r" b="b"/>
              <a:pathLst>
                <a:path w="330535" h="334869">
                  <a:moveTo>
                    <a:pt x="165267" y="0"/>
                  </a:moveTo>
                  <a:cubicBezTo>
                    <a:pt x="195773" y="366"/>
                    <a:pt x="223451" y="8019"/>
                    <a:pt x="248301" y="22960"/>
                  </a:cubicBezTo>
                  <a:cubicBezTo>
                    <a:pt x="273151" y="37901"/>
                    <a:pt x="292978" y="57935"/>
                    <a:pt x="307781" y="83060"/>
                  </a:cubicBezTo>
                  <a:cubicBezTo>
                    <a:pt x="322585" y="108185"/>
                    <a:pt x="330169" y="136207"/>
                    <a:pt x="330535" y="167125"/>
                  </a:cubicBezTo>
                  <a:cubicBezTo>
                    <a:pt x="330169" y="198051"/>
                    <a:pt x="322585" y="226126"/>
                    <a:pt x="307781" y="251351"/>
                  </a:cubicBezTo>
                  <a:cubicBezTo>
                    <a:pt x="292978" y="276575"/>
                    <a:pt x="273151" y="296708"/>
                    <a:pt x="248301" y="311748"/>
                  </a:cubicBezTo>
                  <a:cubicBezTo>
                    <a:pt x="223451" y="326788"/>
                    <a:pt x="195773" y="334495"/>
                    <a:pt x="165267" y="334869"/>
                  </a:cubicBezTo>
                  <a:cubicBezTo>
                    <a:pt x="134761" y="334495"/>
                    <a:pt x="107083" y="326788"/>
                    <a:pt x="82234" y="311748"/>
                  </a:cubicBezTo>
                  <a:cubicBezTo>
                    <a:pt x="57383" y="296708"/>
                    <a:pt x="37557" y="276575"/>
                    <a:pt x="22754" y="251351"/>
                  </a:cubicBezTo>
                  <a:cubicBezTo>
                    <a:pt x="7951" y="226126"/>
                    <a:pt x="366" y="198051"/>
                    <a:pt x="0" y="167125"/>
                  </a:cubicBezTo>
                  <a:cubicBezTo>
                    <a:pt x="366" y="136207"/>
                    <a:pt x="7951" y="108185"/>
                    <a:pt x="22754" y="83060"/>
                  </a:cubicBezTo>
                  <a:cubicBezTo>
                    <a:pt x="37557" y="57935"/>
                    <a:pt x="57383" y="37901"/>
                    <a:pt x="82234" y="22960"/>
                  </a:cubicBezTo>
                  <a:cubicBezTo>
                    <a:pt x="107083" y="8019"/>
                    <a:pt x="134761" y="366"/>
                    <a:pt x="165267" y="0"/>
                  </a:cubicBezTo>
                  <a:close/>
                  <a:moveTo>
                    <a:pt x="165267" y="35212"/>
                  </a:moveTo>
                  <a:cubicBezTo>
                    <a:pt x="129954" y="36180"/>
                    <a:pt x="100407" y="49108"/>
                    <a:pt x="76628" y="73997"/>
                  </a:cubicBezTo>
                  <a:cubicBezTo>
                    <a:pt x="52849" y="98885"/>
                    <a:pt x="40489" y="129928"/>
                    <a:pt x="39547" y="167125"/>
                  </a:cubicBezTo>
                  <a:cubicBezTo>
                    <a:pt x="40489" y="204348"/>
                    <a:pt x="52849" y="235494"/>
                    <a:pt x="76628" y="260563"/>
                  </a:cubicBezTo>
                  <a:cubicBezTo>
                    <a:pt x="100407" y="285632"/>
                    <a:pt x="129954" y="298663"/>
                    <a:pt x="165267" y="299656"/>
                  </a:cubicBezTo>
                  <a:cubicBezTo>
                    <a:pt x="200581" y="298663"/>
                    <a:pt x="230128" y="285632"/>
                    <a:pt x="253907" y="260563"/>
                  </a:cubicBezTo>
                  <a:cubicBezTo>
                    <a:pt x="277686" y="235494"/>
                    <a:pt x="290047" y="204348"/>
                    <a:pt x="290989" y="167125"/>
                  </a:cubicBezTo>
                  <a:cubicBezTo>
                    <a:pt x="290047" y="129928"/>
                    <a:pt x="277686" y="98885"/>
                    <a:pt x="253907" y="73997"/>
                  </a:cubicBezTo>
                  <a:cubicBezTo>
                    <a:pt x="230128" y="49108"/>
                    <a:pt x="200581" y="36180"/>
                    <a:pt x="165267" y="35212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99817CB1-DAD9-42CD-BEDA-3ADB122B8709}"/>
                </a:ext>
              </a:extLst>
            </p:cNvPr>
            <p:cNvSpPr/>
            <p:nvPr/>
          </p:nvSpPr>
          <p:spPr>
            <a:xfrm>
              <a:off x="9443830" y="2379151"/>
              <a:ext cx="247572" cy="334869"/>
            </a:xfrm>
            <a:custGeom>
              <a:avLst/>
              <a:gdLst/>
              <a:ahLst/>
              <a:cxnLst/>
              <a:rect l="l" t="t" r="r" b="b"/>
              <a:pathLst>
                <a:path w="247572" h="334869">
                  <a:moveTo>
                    <a:pt x="127498" y="0"/>
                  </a:moveTo>
                  <a:cubicBezTo>
                    <a:pt x="147218" y="103"/>
                    <a:pt x="166934" y="3295"/>
                    <a:pt x="186644" y="9575"/>
                  </a:cubicBezTo>
                  <a:cubicBezTo>
                    <a:pt x="206354" y="15856"/>
                    <a:pt x="224810" y="24609"/>
                    <a:pt x="242012" y="35833"/>
                  </a:cubicBezTo>
                  <a:lnTo>
                    <a:pt x="222857" y="65559"/>
                  </a:lnTo>
                  <a:cubicBezTo>
                    <a:pt x="206974" y="55624"/>
                    <a:pt x="190931" y="48089"/>
                    <a:pt x="174726" y="42954"/>
                  </a:cubicBezTo>
                  <a:cubicBezTo>
                    <a:pt x="158521" y="37819"/>
                    <a:pt x="142778" y="35238"/>
                    <a:pt x="127498" y="35212"/>
                  </a:cubicBezTo>
                  <a:cubicBezTo>
                    <a:pt x="107457" y="35367"/>
                    <a:pt x="90706" y="39857"/>
                    <a:pt x="77246" y="48683"/>
                  </a:cubicBezTo>
                  <a:cubicBezTo>
                    <a:pt x="63786" y="57508"/>
                    <a:pt x="56792" y="69739"/>
                    <a:pt x="56263" y="85377"/>
                  </a:cubicBezTo>
                  <a:cubicBezTo>
                    <a:pt x="56004" y="99440"/>
                    <a:pt x="62715" y="110949"/>
                    <a:pt x="76394" y="119903"/>
                  </a:cubicBezTo>
                  <a:cubicBezTo>
                    <a:pt x="90074" y="128857"/>
                    <a:pt x="112270" y="138198"/>
                    <a:pt x="142984" y="147927"/>
                  </a:cubicBezTo>
                  <a:cubicBezTo>
                    <a:pt x="173358" y="156519"/>
                    <a:pt x="198222" y="167667"/>
                    <a:pt x="217578" y="181369"/>
                  </a:cubicBezTo>
                  <a:cubicBezTo>
                    <a:pt x="236933" y="195071"/>
                    <a:pt x="246931" y="215508"/>
                    <a:pt x="247572" y="242680"/>
                  </a:cubicBezTo>
                  <a:cubicBezTo>
                    <a:pt x="246802" y="270365"/>
                    <a:pt x="235668" y="292542"/>
                    <a:pt x="214171" y="309212"/>
                  </a:cubicBezTo>
                  <a:cubicBezTo>
                    <a:pt x="192674" y="325881"/>
                    <a:pt x="165434" y="334434"/>
                    <a:pt x="132453" y="334869"/>
                  </a:cubicBezTo>
                  <a:cubicBezTo>
                    <a:pt x="109819" y="334780"/>
                    <a:pt x="86962" y="330634"/>
                    <a:pt x="63881" y="322433"/>
                  </a:cubicBezTo>
                  <a:cubicBezTo>
                    <a:pt x="40800" y="314231"/>
                    <a:pt x="19507" y="302510"/>
                    <a:pt x="0" y="287270"/>
                  </a:cubicBezTo>
                  <a:lnTo>
                    <a:pt x="21044" y="258782"/>
                  </a:lnTo>
                  <a:cubicBezTo>
                    <a:pt x="39390" y="272136"/>
                    <a:pt x="58025" y="282277"/>
                    <a:pt x="76948" y="289205"/>
                  </a:cubicBezTo>
                  <a:cubicBezTo>
                    <a:pt x="95870" y="296134"/>
                    <a:pt x="114372" y="299618"/>
                    <a:pt x="132453" y="299656"/>
                  </a:cubicBezTo>
                  <a:cubicBezTo>
                    <a:pt x="155166" y="299372"/>
                    <a:pt x="173543" y="294366"/>
                    <a:pt x="187584" y="284638"/>
                  </a:cubicBezTo>
                  <a:cubicBezTo>
                    <a:pt x="201624" y="274910"/>
                    <a:pt x="208851" y="262162"/>
                    <a:pt x="209264" y="246396"/>
                  </a:cubicBezTo>
                  <a:cubicBezTo>
                    <a:pt x="208942" y="229481"/>
                    <a:pt x="201224" y="216244"/>
                    <a:pt x="186112" y="206683"/>
                  </a:cubicBezTo>
                  <a:cubicBezTo>
                    <a:pt x="171000" y="197123"/>
                    <a:pt x="150430" y="188685"/>
                    <a:pt x="124401" y="181369"/>
                  </a:cubicBezTo>
                  <a:cubicBezTo>
                    <a:pt x="86371" y="170622"/>
                    <a:pt x="59031" y="158210"/>
                    <a:pt x="42382" y="144133"/>
                  </a:cubicBezTo>
                  <a:cubicBezTo>
                    <a:pt x="25733" y="130057"/>
                    <a:pt x="17590" y="111917"/>
                    <a:pt x="17954" y="89712"/>
                  </a:cubicBezTo>
                  <a:cubicBezTo>
                    <a:pt x="18686" y="62673"/>
                    <a:pt x="29278" y="41063"/>
                    <a:pt x="49729" y="24883"/>
                  </a:cubicBezTo>
                  <a:cubicBezTo>
                    <a:pt x="70181" y="8703"/>
                    <a:pt x="96104" y="409"/>
                    <a:pt x="127498" y="0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8965CEB0-3B0E-4C5D-82CE-B28C6B20C2B1}"/>
                </a:ext>
              </a:extLst>
            </p:cNvPr>
            <p:cNvSpPr/>
            <p:nvPr/>
          </p:nvSpPr>
          <p:spPr>
            <a:xfrm>
              <a:off x="10449527" y="2379151"/>
              <a:ext cx="305770" cy="433929"/>
            </a:xfrm>
            <a:custGeom>
              <a:avLst/>
              <a:gdLst/>
              <a:ahLst/>
              <a:cxnLst/>
              <a:rect l="l" t="t" r="r" b="b"/>
              <a:pathLst>
                <a:path w="305770" h="433929">
                  <a:moveTo>
                    <a:pt x="144833" y="0"/>
                  </a:moveTo>
                  <a:cubicBezTo>
                    <a:pt x="172238" y="138"/>
                    <a:pt x="196392" y="6193"/>
                    <a:pt x="217295" y="18166"/>
                  </a:cubicBezTo>
                  <a:cubicBezTo>
                    <a:pt x="238197" y="30138"/>
                    <a:pt x="254920" y="47197"/>
                    <a:pt x="267462" y="69342"/>
                  </a:cubicBezTo>
                  <a:lnTo>
                    <a:pt x="267462" y="7429"/>
                  </a:lnTo>
                  <a:lnTo>
                    <a:pt x="305770" y="7429"/>
                  </a:lnTo>
                  <a:lnTo>
                    <a:pt x="305770" y="293411"/>
                  </a:lnTo>
                  <a:cubicBezTo>
                    <a:pt x="304987" y="335306"/>
                    <a:pt x="290628" y="369024"/>
                    <a:pt x="262693" y="394562"/>
                  </a:cubicBezTo>
                  <a:cubicBezTo>
                    <a:pt x="234759" y="420100"/>
                    <a:pt x="197950" y="433223"/>
                    <a:pt x="152265" y="433929"/>
                  </a:cubicBezTo>
                  <a:cubicBezTo>
                    <a:pt x="126743" y="433698"/>
                    <a:pt x="102539" y="429681"/>
                    <a:pt x="79653" y="421880"/>
                  </a:cubicBezTo>
                  <a:cubicBezTo>
                    <a:pt x="56767" y="414078"/>
                    <a:pt x="37837" y="403878"/>
                    <a:pt x="22863" y="391281"/>
                  </a:cubicBezTo>
                  <a:lnTo>
                    <a:pt x="40165" y="360299"/>
                  </a:lnTo>
                  <a:cubicBezTo>
                    <a:pt x="53533" y="372201"/>
                    <a:pt x="69687" y="381547"/>
                    <a:pt x="88629" y="388337"/>
                  </a:cubicBezTo>
                  <a:cubicBezTo>
                    <a:pt x="107569" y="395128"/>
                    <a:pt x="127130" y="398587"/>
                    <a:pt x="147310" y="398716"/>
                  </a:cubicBezTo>
                  <a:cubicBezTo>
                    <a:pt x="184561" y="398393"/>
                    <a:pt x="213799" y="388971"/>
                    <a:pt x="235023" y="370449"/>
                  </a:cubicBezTo>
                  <a:cubicBezTo>
                    <a:pt x="256249" y="351928"/>
                    <a:pt x="267062" y="326249"/>
                    <a:pt x="267462" y="293411"/>
                  </a:cubicBezTo>
                  <a:lnTo>
                    <a:pt x="267462" y="234017"/>
                  </a:lnTo>
                  <a:cubicBezTo>
                    <a:pt x="254843" y="256428"/>
                    <a:pt x="237965" y="273648"/>
                    <a:pt x="216830" y="285678"/>
                  </a:cubicBezTo>
                  <a:cubicBezTo>
                    <a:pt x="195696" y="297707"/>
                    <a:pt x="171696" y="303786"/>
                    <a:pt x="144833" y="303913"/>
                  </a:cubicBezTo>
                  <a:cubicBezTo>
                    <a:pt x="102761" y="303026"/>
                    <a:pt x="68325" y="288564"/>
                    <a:pt x="41527" y="260527"/>
                  </a:cubicBezTo>
                  <a:cubicBezTo>
                    <a:pt x="14729" y="232489"/>
                    <a:pt x="886" y="196196"/>
                    <a:pt x="0" y="151646"/>
                  </a:cubicBezTo>
                  <a:cubicBezTo>
                    <a:pt x="886" y="107393"/>
                    <a:pt x="14729" y="71281"/>
                    <a:pt x="41527" y="43308"/>
                  </a:cubicBezTo>
                  <a:cubicBezTo>
                    <a:pt x="68325" y="15335"/>
                    <a:pt x="102761" y="899"/>
                    <a:pt x="144833" y="0"/>
                  </a:cubicBezTo>
                  <a:close/>
                  <a:moveTo>
                    <a:pt x="152265" y="35212"/>
                  </a:moveTo>
                  <a:cubicBezTo>
                    <a:pt x="119685" y="35921"/>
                    <a:pt x="93028" y="47045"/>
                    <a:pt x="72294" y="68583"/>
                  </a:cubicBezTo>
                  <a:cubicBezTo>
                    <a:pt x="51559" y="90122"/>
                    <a:pt x="40849" y="117823"/>
                    <a:pt x="40165" y="151685"/>
                  </a:cubicBezTo>
                  <a:cubicBezTo>
                    <a:pt x="40849" y="185815"/>
                    <a:pt x="51559" y="213675"/>
                    <a:pt x="72294" y="235267"/>
                  </a:cubicBezTo>
                  <a:cubicBezTo>
                    <a:pt x="93028" y="256859"/>
                    <a:pt x="119685" y="268003"/>
                    <a:pt x="152265" y="268700"/>
                  </a:cubicBezTo>
                  <a:cubicBezTo>
                    <a:pt x="186057" y="268120"/>
                    <a:pt x="213540" y="257207"/>
                    <a:pt x="234714" y="235959"/>
                  </a:cubicBezTo>
                  <a:cubicBezTo>
                    <a:pt x="255888" y="214711"/>
                    <a:pt x="266804" y="186607"/>
                    <a:pt x="267462" y="151646"/>
                  </a:cubicBezTo>
                  <a:cubicBezTo>
                    <a:pt x="266804" y="116989"/>
                    <a:pt x="255888" y="89068"/>
                    <a:pt x="234714" y="67882"/>
                  </a:cubicBezTo>
                  <a:cubicBezTo>
                    <a:pt x="213540" y="46696"/>
                    <a:pt x="186057" y="35806"/>
                    <a:pt x="152265" y="35212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2C78B23A-632F-4FF2-B1DB-D62779A331A5}"/>
                </a:ext>
              </a:extLst>
            </p:cNvPr>
            <p:cNvSpPr/>
            <p:nvPr/>
          </p:nvSpPr>
          <p:spPr>
            <a:xfrm>
              <a:off x="9327958" y="2386580"/>
              <a:ext cx="38308" cy="320010"/>
            </a:xfrm>
            <a:custGeom>
              <a:avLst/>
              <a:gdLst/>
              <a:ahLst/>
              <a:cxnLst/>
              <a:rect l="l" t="t" r="r" b="b"/>
              <a:pathLst>
                <a:path w="38308" h="320010">
                  <a:moveTo>
                    <a:pt x="0" y="0"/>
                  </a:moveTo>
                  <a:lnTo>
                    <a:pt x="38308" y="0"/>
                  </a:lnTo>
                  <a:lnTo>
                    <a:pt x="38308" y="320010"/>
                  </a:lnTo>
                  <a:lnTo>
                    <a:pt x="0" y="32001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624329D5-649B-4928-85CD-14362B04489C}"/>
                </a:ext>
              </a:extLst>
            </p:cNvPr>
            <p:cNvSpPr/>
            <p:nvPr/>
          </p:nvSpPr>
          <p:spPr>
            <a:xfrm>
              <a:off x="10328084" y="2386580"/>
              <a:ext cx="38309" cy="320010"/>
            </a:xfrm>
            <a:custGeom>
              <a:avLst/>
              <a:gdLst/>
              <a:ahLst/>
              <a:cxnLst/>
              <a:rect l="l" t="t" r="r" b="b"/>
              <a:pathLst>
                <a:path w="38309" h="320010">
                  <a:moveTo>
                    <a:pt x="0" y="0"/>
                  </a:moveTo>
                  <a:lnTo>
                    <a:pt x="38309" y="0"/>
                  </a:lnTo>
                  <a:lnTo>
                    <a:pt x="38309" y="320010"/>
                  </a:lnTo>
                  <a:lnTo>
                    <a:pt x="0" y="32001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164E83D4-30F6-4C59-8FFA-AD2FC2966221}"/>
              </a:ext>
            </a:extLst>
          </p:cNvPr>
          <p:cNvGrpSpPr/>
          <p:nvPr/>
        </p:nvGrpSpPr>
        <p:grpSpPr>
          <a:xfrm>
            <a:off x="672634" y="2225997"/>
            <a:ext cx="3022640" cy="546070"/>
            <a:chOff x="2656324" y="2163854"/>
            <a:chExt cx="3021853" cy="546070"/>
          </a:xfrm>
        </p:grpSpPr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F3051B0B-E539-41DA-BF1C-88B850B08AC1}"/>
                </a:ext>
              </a:extLst>
            </p:cNvPr>
            <p:cNvSpPr txBox="1">
              <a:spLocks/>
            </p:cNvSpPr>
            <p:nvPr/>
          </p:nvSpPr>
          <p:spPr>
            <a:xfrm>
              <a:off x="5302274" y="2163854"/>
              <a:ext cx="61293" cy="61294"/>
            </a:xfrm>
            <a:custGeom>
              <a:avLst/>
              <a:gdLst/>
              <a:ahLst/>
              <a:cxnLst/>
              <a:rect l="l" t="t" r="r" b="b"/>
              <a:pathLst>
                <a:path w="61293" h="61294">
                  <a:moveTo>
                    <a:pt x="30956" y="0"/>
                  </a:moveTo>
                  <a:cubicBezTo>
                    <a:pt x="39211" y="0"/>
                    <a:pt x="46331" y="2993"/>
                    <a:pt x="52316" y="8978"/>
                  </a:cubicBezTo>
                  <a:cubicBezTo>
                    <a:pt x="58301" y="14963"/>
                    <a:pt x="61293" y="22083"/>
                    <a:pt x="61293" y="30338"/>
                  </a:cubicBezTo>
                  <a:cubicBezTo>
                    <a:pt x="61293" y="38592"/>
                    <a:pt x="58301" y="45816"/>
                    <a:pt x="52316" y="52007"/>
                  </a:cubicBezTo>
                  <a:cubicBezTo>
                    <a:pt x="46331" y="58198"/>
                    <a:pt x="39211" y="61294"/>
                    <a:pt x="30956" y="61294"/>
                  </a:cubicBezTo>
                  <a:cubicBezTo>
                    <a:pt x="22288" y="61294"/>
                    <a:pt x="14962" y="58198"/>
                    <a:pt x="8977" y="52007"/>
                  </a:cubicBezTo>
                  <a:cubicBezTo>
                    <a:pt x="2992" y="45816"/>
                    <a:pt x="0" y="38592"/>
                    <a:pt x="0" y="30338"/>
                  </a:cubicBezTo>
                  <a:cubicBezTo>
                    <a:pt x="0" y="22083"/>
                    <a:pt x="2992" y="14963"/>
                    <a:pt x="8977" y="8978"/>
                  </a:cubicBezTo>
                  <a:cubicBezTo>
                    <a:pt x="14962" y="2993"/>
                    <a:pt x="22288" y="0"/>
                    <a:pt x="3095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4900" dirty="0"/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E869A88A-B6ED-41AF-A29B-C30FFF486BB6}"/>
                </a:ext>
              </a:extLst>
            </p:cNvPr>
            <p:cNvSpPr txBox="1">
              <a:spLocks/>
            </p:cNvSpPr>
            <p:nvPr/>
          </p:nvSpPr>
          <p:spPr>
            <a:xfrm>
              <a:off x="5157303" y="2170665"/>
              <a:ext cx="46434" cy="432768"/>
            </a:xfrm>
            <a:custGeom>
              <a:avLst/>
              <a:gdLst/>
              <a:ahLst/>
              <a:cxnLst/>
              <a:rect l="l" t="t" r="r" b="b"/>
              <a:pathLst>
                <a:path w="46434" h="432768">
                  <a:moveTo>
                    <a:pt x="0" y="0"/>
                  </a:moveTo>
                  <a:lnTo>
                    <a:pt x="46434" y="0"/>
                  </a:lnTo>
                  <a:lnTo>
                    <a:pt x="46434" y="432768"/>
                  </a:lnTo>
                  <a:lnTo>
                    <a:pt x="0" y="43276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4900" dirty="0"/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2801540C-5A6C-4A54-B0C6-6C0846EC4390}"/>
                </a:ext>
              </a:extLst>
            </p:cNvPr>
            <p:cNvSpPr txBox="1">
              <a:spLocks/>
            </p:cNvSpPr>
            <p:nvPr/>
          </p:nvSpPr>
          <p:spPr>
            <a:xfrm>
              <a:off x="2656324" y="2178095"/>
              <a:ext cx="412337" cy="425339"/>
            </a:xfrm>
            <a:custGeom>
              <a:avLst/>
              <a:gdLst/>
              <a:ahLst/>
              <a:cxnLst/>
              <a:rect l="l" t="t" r="r" b="b"/>
              <a:pathLst>
                <a:path w="412337" h="425339">
                  <a:moveTo>
                    <a:pt x="0" y="0"/>
                  </a:moveTo>
                  <a:lnTo>
                    <a:pt x="48291" y="0"/>
                  </a:lnTo>
                  <a:lnTo>
                    <a:pt x="206168" y="296561"/>
                  </a:lnTo>
                  <a:lnTo>
                    <a:pt x="364045" y="0"/>
                  </a:lnTo>
                  <a:lnTo>
                    <a:pt x="412337" y="0"/>
                  </a:lnTo>
                  <a:lnTo>
                    <a:pt x="412337" y="425339"/>
                  </a:lnTo>
                  <a:lnTo>
                    <a:pt x="364045" y="425339"/>
                  </a:lnTo>
                  <a:lnTo>
                    <a:pt x="364045" y="104013"/>
                  </a:lnTo>
                  <a:lnTo>
                    <a:pt x="206168" y="400574"/>
                  </a:lnTo>
                  <a:lnTo>
                    <a:pt x="48291" y="104013"/>
                  </a:lnTo>
                  <a:lnTo>
                    <a:pt x="48291" y="425339"/>
                  </a:lnTo>
                  <a:lnTo>
                    <a:pt x="0" y="4253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4900" dirty="0"/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B91D5C56-2A21-48F7-9A01-6B21056777FC}"/>
                </a:ext>
              </a:extLst>
            </p:cNvPr>
            <p:cNvSpPr txBox="1">
              <a:spLocks/>
            </p:cNvSpPr>
            <p:nvPr/>
          </p:nvSpPr>
          <p:spPr>
            <a:xfrm>
              <a:off x="3506716" y="2195431"/>
              <a:ext cx="187595" cy="415433"/>
            </a:xfrm>
            <a:custGeom>
              <a:avLst/>
              <a:gdLst/>
              <a:ahLst/>
              <a:cxnLst/>
              <a:rect l="l" t="t" r="r" b="b"/>
              <a:pathLst>
                <a:path w="187595" h="415433">
                  <a:moveTo>
                    <a:pt x="50149" y="0"/>
                  </a:moveTo>
                  <a:lnTo>
                    <a:pt x="96583" y="0"/>
                  </a:lnTo>
                  <a:lnTo>
                    <a:pt x="96583" y="87916"/>
                  </a:lnTo>
                  <a:lnTo>
                    <a:pt x="175212" y="87916"/>
                  </a:lnTo>
                  <a:lnTo>
                    <a:pt x="175212" y="129397"/>
                  </a:lnTo>
                  <a:lnTo>
                    <a:pt x="96583" y="129397"/>
                  </a:lnTo>
                  <a:lnTo>
                    <a:pt x="96583" y="333708"/>
                  </a:lnTo>
                  <a:cubicBezTo>
                    <a:pt x="96583" y="345265"/>
                    <a:pt x="99988" y="354862"/>
                    <a:pt x="106799" y="362497"/>
                  </a:cubicBezTo>
                  <a:cubicBezTo>
                    <a:pt x="113609" y="370133"/>
                    <a:pt x="121761" y="373951"/>
                    <a:pt x="131254" y="373951"/>
                  </a:cubicBezTo>
                  <a:cubicBezTo>
                    <a:pt x="138271" y="373951"/>
                    <a:pt x="144669" y="372713"/>
                    <a:pt x="150447" y="370237"/>
                  </a:cubicBezTo>
                  <a:cubicBezTo>
                    <a:pt x="156226" y="367760"/>
                    <a:pt x="160972" y="364664"/>
                    <a:pt x="164687" y="360950"/>
                  </a:cubicBezTo>
                  <a:lnTo>
                    <a:pt x="187595" y="395002"/>
                  </a:lnTo>
                  <a:cubicBezTo>
                    <a:pt x="170259" y="408622"/>
                    <a:pt x="150447" y="415433"/>
                    <a:pt x="128158" y="415433"/>
                  </a:cubicBezTo>
                  <a:cubicBezTo>
                    <a:pt x="105457" y="415433"/>
                    <a:pt x="86780" y="407797"/>
                    <a:pt x="72128" y="392525"/>
                  </a:cubicBezTo>
                  <a:cubicBezTo>
                    <a:pt x="57475" y="377253"/>
                    <a:pt x="50149" y="357648"/>
                    <a:pt x="50149" y="333708"/>
                  </a:cubicBezTo>
                  <a:lnTo>
                    <a:pt x="50149" y="129397"/>
                  </a:lnTo>
                  <a:lnTo>
                    <a:pt x="0" y="129397"/>
                  </a:lnTo>
                  <a:lnTo>
                    <a:pt x="0" y="87916"/>
                  </a:lnTo>
                  <a:lnTo>
                    <a:pt x="50149" y="87916"/>
                  </a:lnTo>
                  <a:lnTo>
                    <a:pt x="50149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4900" dirty="0"/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938751F7-5AB7-4F81-9DD2-C1AE3EE50FDD}"/>
                </a:ext>
              </a:extLst>
            </p:cNvPr>
            <p:cNvSpPr txBox="1">
              <a:spLocks/>
            </p:cNvSpPr>
            <p:nvPr/>
          </p:nvSpPr>
          <p:spPr>
            <a:xfrm>
              <a:off x="3159005" y="2275917"/>
              <a:ext cx="309563" cy="334947"/>
            </a:xfrm>
            <a:custGeom>
              <a:avLst/>
              <a:gdLst/>
              <a:ahLst/>
              <a:cxnLst/>
              <a:rect l="l" t="t" r="r" b="b"/>
              <a:pathLst>
                <a:path w="309563" h="334947">
                  <a:moveTo>
                    <a:pt x="157877" y="0"/>
                  </a:moveTo>
                  <a:cubicBezTo>
                    <a:pt x="205757" y="0"/>
                    <a:pt x="243007" y="16716"/>
                    <a:pt x="269629" y="50149"/>
                  </a:cubicBezTo>
                  <a:cubicBezTo>
                    <a:pt x="296252" y="83582"/>
                    <a:pt x="309563" y="128572"/>
                    <a:pt x="309563" y="185118"/>
                  </a:cubicBezTo>
                  <a:lnTo>
                    <a:pt x="47673" y="185118"/>
                  </a:lnTo>
                  <a:cubicBezTo>
                    <a:pt x="50975" y="216900"/>
                    <a:pt x="63048" y="242903"/>
                    <a:pt x="83892" y="263128"/>
                  </a:cubicBezTo>
                  <a:cubicBezTo>
                    <a:pt x="104736" y="283353"/>
                    <a:pt x="130636" y="293465"/>
                    <a:pt x="161592" y="293465"/>
                  </a:cubicBezTo>
                  <a:cubicBezTo>
                    <a:pt x="180579" y="293465"/>
                    <a:pt x="199669" y="289751"/>
                    <a:pt x="218861" y="282321"/>
                  </a:cubicBezTo>
                  <a:cubicBezTo>
                    <a:pt x="238054" y="274892"/>
                    <a:pt x="252604" y="265811"/>
                    <a:pt x="262509" y="255080"/>
                  </a:cubicBezTo>
                  <a:lnTo>
                    <a:pt x="290989" y="285417"/>
                  </a:lnTo>
                  <a:cubicBezTo>
                    <a:pt x="277368" y="300276"/>
                    <a:pt x="258279" y="312245"/>
                    <a:pt x="233720" y="321326"/>
                  </a:cubicBezTo>
                  <a:cubicBezTo>
                    <a:pt x="209162" y="330406"/>
                    <a:pt x="185326" y="334947"/>
                    <a:pt x="162211" y="334947"/>
                  </a:cubicBezTo>
                  <a:cubicBezTo>
                    <a:pt x="133732" y="334947"/>
                    <a:pt x="107109" y="327724"/>
                    <a:pt x="82344" y="313277"/>
                  </a:cubicBezTo>
                  <a:cubicBezTo>
                    <a:pt x="57579" y="298831"/>
                    <a:pt x="37664" y="278709"/>
                    <a:pt x="22599" y="252913"/>
                  </a:cubicBezTo>
                  <a:cubicBezTo>
                    <a:pt x="7533" y="227116"/>
                    <a:pt x="0" y="198326"/>
                    <a:pt x="0" y="166545"/>
                  </a:cubicBezTo>
                  <a:cubicBezTo>
                    <a:pt x="0" y="135588"/>
                    <a:pt x="7120" y="107315"/>
                    <a:pt x="21361" y="81725"/>
                  </a:cubicBezTo>
                  <a:cubicBezTo>
                    <a:pt x="35600" y="56134"/>
                    <a:pt x="54793" y="36116"/>
                    <a:pt x="78939" y="21669"/>
                  </a:cubicBezTo>
                  <a:cubicBezTo>
                    <a:pt x="103085" y="7223"/>
                    <a:pt x="129398" y="0"/>
                    <a:pt x="157877" y="0"/>
                  </a:cubicBezTo>
                  <a:close/>
                  <a:moveTo>
                    <a:pt x="159735" y="41481"/>
                  </a:moveTo>
                  <a:cubicBezTo>
                    <a:pt x="130842" y="41481"/>
                    <a:pt x="106077" y="50871"/>
                    <a:pt x="85440" y="69652"/>
                  </a:cubicBezTo>
                  <a:cubicBezTo>
                    <a:pt x="64802" y="88432"/>
                    <a:pt x="52420" y="113094"/>
                    <a:pt x="48292" y="143637"/>
                  </a:cubicBezTo>
                  <a:lnTo>
                    <a:pt x="263748" y="143637"/>
                  </a:lnTo>
                  <a:cubicBezTo>
                    <a:pt x="260446" y="113094"/>
                    <a:pt x="249921" y="88432"/>
                    <a:pt x="232172" y="69652"/>
                  </a:cubicBezTo>
                  <a:cubicBezTo>
                    <a:pt x="214424" y="50871"/>
                    <a:pt x="190278" y="41481"/>
                    <a:pt x="159735" y="4148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4900" dirty="0"/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2977B035-ADE6-4A4C-86F9-E9355E9D8122}"/>
                </a:ext>
              </a:extLst>
            </p:cNvPr>
            <p:cNvSpPr txBox="1">
              <a:spLocks/>
            </p:cNvSpPr>
            <p:nvPr/>
          </p:nvSpPr>
          <p:spPr>
            <a:xfrm>
              <a:off x="3757128" y="2275917"/>
              <a:ext cx="170259" cy="327517"/>
            </a:xfrm>
            <a:custGeom>
              <a:avLst/>
              <a:gdLst/>
              <a:ahLst/>
              <a:cxnLst/>
              <a:rect l="l" t="t" r="r" b="b"/>
              <a:pathLst>
                <a:path w="170259" h="327517">
                  <a:moveTo>
                    <a:pt x="170259" y="0"/>
                  </a:moveTo>
                  <a:lnTo>
                    <a:pt x="170259" y="41481"/>
                  </a:lnTo>
                  <a:cubicBezTo>
                    <a:pt x="146320" y="41481"/>
                    <a:pt x="124960" y="46022"/>
                    <a:pt x="106180" y="55102"/>
                  </a:cubicBezTo>
                  <a:cubicBezTo>
                    <a:pt x="87400" y="64183"/>
                    <a:pt x="72747" y="76875"/>
                    <a:pt x="62222" y="93178"/>
                  </a:cubicBezTo>
                  <a:cubicBezTo>
                    <a:pt x="51697" y="109482"/>
                    <a:pt x="46434" y="127953"/>
                    <a:pt x="46434" y="148590"/>
                  </a:cubicBezTo>
                  <a:lnTo>
                    <a:pt x="46434" y="327517"/>
                  </a:lnTo>
                  <a:lnTo>
                    <a:pt x="0" y="327517"/>
                  </a:lnTo>
                  <a:lnTo>
                    <a:pt x="0" y="7430"/>
                  </a:lnTo>
                  <a:lnTo>
                    <a:pt x="46434" y="7430"/>
                  </a:lnTo>
                  <a:lnTo>
                    <a:pt x="46434" y="69961"/>
                  </a:lnTo>
                  <a:cubicBezTo>
                    <a:pt x="55927" y="48498"/>
                    <a:pt x="71612" y="31472"/>
                    <a:pt x="93488" y="18883"/>
                  </a:cubicBezTo>
                  <a:cubicBezTo>
                    <a:pt x="115364" y="6294"/>
                    <a:pt x="140954" y="0"/>
                    <a:pt x="17025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4900" dirty="0"/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B5491C69-6B3D-4C4E-A712-AAE6470473FA}"/>
                </a:ext>
              </a:extLst>
            </p:cNvPr>
            <p:cNvSpPr txBox="1">
              <a:spLocks/>
            </p:cNvSpPr>
            <p:nvPr/>
          </p:nvSpPr>
          <p:spPr>
            <a:xfrm>
              <a:off x="3976917" y="2275917"/>
              <a:ext cx="329994" cy="334947"/>
            </a:xfrm>
            <a:custGeom>
              <a:avLst/>
              <a:gdLst/>
              <a:ahLst/>
              <a:cxnLst/>
              <a:rect l="l" t="t" r="r" b="b"/>
              <a:pathLst>
                <a:path w="329994" h="334947">
                  <a:moveTo>
                    <a:pt x="165307" y="0"/>
                  </a:moveTo>
                  <a:cubicBezTo>
                    <a:pt x="195025" y="0"/>
                    <a:pt x="222473" y="7533"/>
                    <a:pt x="247650" y="22598"/>
                  </a:cubicBezTo>
                  <a:cubicBezTo>
                    <a:pt x="272828" y="37663"/>
                    <a:pt x="292847" y="57991"/>
                    <a:pt x="307706" y="83582"/>
                  </a:cubicBezTo>
                  <a:cubicBezTo>
                    <a:pt x="322565" y="109172"/>
                    <a:pt x="329994" y="137033"/>
                    <a:pt x="329994" y="167164"/>
                  </a:cubicBezTo>
                  <a:cubicBezTo>
                    <a:pt x="329994" y="197295"/>
                    <a:pt x="322565" y="225258"/>
                    <a:pt x="307706" y="251055"/>
                  </a:cubicBezTo>
                  <a:cubicBezTo>
                    <a:pt x="292847" y="276852"/>
                    <a:pt x="272828" y="297283"/>
                    <a:pt x="247650" y="312349"/>
                  </a:cubicBezTo>
                  <a:cubicBezTo>
                    <a:pt x="222473" y="327414"/>
                    <a:pt x="195025" y="334947"/>
                    <a:pt x="165307" y="334947"/>
                  </a:cubicBezTo>
                  <a:cubicBezTo>
                    <a:pt x="135589" y="334947"/>
                    <a:pt x="108038" y="327414"/>
                    <a:pt x="82654" y="312349"/>
                  </a:cubicBezTo>
                  <a:cubicBezTo>
                    <a:pt x="57270" y="297283"/>
                    <a:pt x="37148" y="276852"/>
                    <a:pt x="22289" y="251055"/>
                  </a:cubicBezTo>
                  <a:cubicBezTo>
                    <a:pt x="7430" y="225258"/>
                    <a:pt x="0" y="197295"/>
                    <a:pt x="0" y="167164"/>
                  </a:cubicBezTo>
                  <a:cubicBezTo>
                    <a:pt x="0" y="137033"/>
                    <a:pt x="7430" y="109172"/>
                    <a:pt x="22289" y="83582"/>
                  </a:cubicBezTo>
                  <a:cubicBezTo>
                    <a:pt x="37148" y="57991"/>
                    <a:pt x="57270" y="37663"/>
                    <a:pt x="82654" y="22598"/>
                  </a:cubicBezTo>
                  <a:cubicBezTo>
                    <a:pt x="108038" y="7533"/>
                    <a:pt x="135589" y="0"/>
                    <a:pt x="165307" y="0"/>
                  </a:cubicBezTo>
                  <a:close/>
                  <a:moveTo>
                    <a:pt x="165307" y="41481"/>
                  </a:moveTo>
                  <a:cubicBezTo>
                    <a:pt x="144257" y="41481"/>
                    <a:pt x="124754" y="47157"/>
                    <a:pt x="106799" y="58507"/>
                  </a:cubicBezTo>
                  <a:cubicBezTo>
                    <a:pt x="88845" y="69858"/>
                    <a:pt x="74605" y="85130"/>
                    <a:pt x="64080" y="104323"/>
                  </a:cubicBezTo>
                  <a:cubicBezTo>
                    <a:pt x="53555" y="123515"/>
                    <a:pt x="48292" y="144463"/>
                    <a:pt x="48292" y="167164"/>
                  </a:cubicBezTo>
                  <a:cubicBezTo>
                    <a:pt x="48292" y="189865"/>
                    <a:pt x="53555" y="210915"/>
                    <a:pt x="64080" y="230314"/>
                  </a:cubicBezTo>
                  <a:cubicBezTo>
                    <a:pt x="74605" y="249714"/>
                    <a:pt x="88845" y="265089"/>
                    <a:pt x="106799" y="276439"/>
                  </a:cubicBezTo>
                  <a:cubicBezTo>
                    <a:pt x="124754" y="287790"/>
                    <a:pt x="144257" y="293465"/>
                    <a:pt x="165307" y="293465"/>
                  </a:cubicBezTo>
                  <a:cubicBezTo>
                    <a:pt x="186357" y="293465"/>
                    <a:pt x="205756" y="287790"/>
                    <a:pt x="223505" y="276439"/>
                  </a:cubicBezTo>
                  <a:cubicBezTo>
                    <a:pt x="241253" y="265089"/>
                    <a:pt x="255390" y="249714"/>
                    <a:pt x="265915" y="230314"/>
                  </a:cubicBezTo>
                  <a:cubicBezTo>
                    <a:pt x="276440" y="210915"/>
                    <a:pt x="281702" y="189865"/>
                    <a:pt x="281702" y="167164"/>
                  </a:cubicBezTo>
                  <a:cubicBezTo>
                    <a:pt x="281702" y="144463"/>
                    <a:pt x="276440" y="123515"/>
                    <a:pt x="265915" y="104323"/>
                  </a:cubicBezTo>
                  <a:cubicBezTo>
                    <a:pt x="255390" y="85130"/>
                    <a:pt x="241253" y="69858"/>
                    <a:pt x="223505" y="58507"/>
                  </a:cubicBezTo>
                  <a:cubicBezTo>
                    <a:pt x="205756" y="47157"/>
                    <a:pt x="186357" y="41481"/>
                    <a:pt x="165307" y="4148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4900" dirty="0"/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ED07AB51-93C8-42B3-BDB7-A2C7B1E8F5E3}"/>
                </a:ext>
              </a:extLst>
            </p:cNvPr>
            <p:cNvSpPr txBox="1">
              <a:spLocks/>
            </p:cNvSpPr>
            <p:nvPr/>
          </p:nvSpPr>
          <p:spPr>
            <a:xfrm>
              <a:off x="4385778" y="2275917"/>
              <a:ext cx="310182" cy="434007"/>
            </a:xfrm>
            <a:custGeom>
              <a:avLst/>
              <a:gdLst/>
              <a:ahLst/>
              <a:cxnLst/>
              <a:rect l="l" t="t" r="r" b="b"/>
              <a:pathLst>
                <a:path w="310182" h="434007">
                  <a:moveTo>
                    <a:pt x="162830" y="0"/>
                  </a:moveTo>
                  <a:cubicBezTo>
                    <a:pt x="190484" y="0"/>
                    <a:pt x="215559" y="7120"/>
                    <a:pt x="238053" y="21360"/>
                  </a:cubicBezTo>
                  <a:cubicBezTo>
                    <a:pt x="260548" y="35600"/>
                    <a:pt x="278193" y="55412"/>
                    <a:pt x="290989" y="80796"/>
                  </a:cubicBezTo>
                  <a:cubicBezTo>
                    <a:pt x="303784" y="106180"/>
                    <a:pt x="310182" y="134969"/>
                    <a:pt x="310182" y="167164"/>
                  </a:cubicBezTo>
                  <a:cubicBezTo>
                    <a:pt x="310182" y="199358"/>
                    <a:pt x="303784" y="228251"/>
                    <a:pt x="290989" y="253841"/>
                  </a:cubicBezTo>
                  <a:cubicBezTo>
                    <a:pt x="278193" y="279432"/>
                    <a:pt x="260548" y="299347"/>
                    <a:pt x="238053" y="313587"/>
                  </a:cubicBezTo>
                  <a:cubicBezTo>
                    <a:pt x="215559" y="327827"/>
                    <a:pt x="190484" y="334947"/>
                    <a:pt x="162830" y="334947"/>
                  </a:cubicBezTo>
                  <a:cubicBezTo>
                    <a:pt x="137652" y="334947"/>
                    <a:pt x="115054" y="329065"/>
                    <a:pt x="95035" y="317302"/>
                  </a:cubicBezTo>
                  <a:cubicBezTo>
                    <a:pt x="75018" y="305538"/>
                    <a:pt x="58817" y="288925"/>
                    <a:pt x="46434" y="267462"/>
                  </a:cubicBezTo>
                  <a:lnTo>
                    <a:pt x="46434" y="434007"/>
                  </a:lnTo>
                  <a:lnTo>
                    <a:pt x="0" y="434007"/>
                  </a:lnTo>
                  <a:lnTo>
                    <a:pt x="0" y="7430"/>
                  </a:lnTo>
                  <a:lnTo>
                    <a:pt x="46434" y="7430"/>
                  </a:lnTo>
                  <a:lnTo>
                    <a:pt x="46434" y="67485"/>
                  </a:lnTo>
                  <a:cubicBezTo>
                    <a:pt x="58817" y="46022"/>
                    <a:pt x="75018" y="29408"/>
                    <a:pt x="95035" y="17645"/>
                  </a:cubicBezTo>
                  <a:cubicBezTo>
                    <a:pt x="115054" y="5882"/>
                    <a:pt x="137652" y="0"/>
                    <a:pt x="162830" y="0"/>
                  </a:cubicBezTo>
                  <a:close/>
                  <a:moveTo>
                    <a:pt x="154162" y="41481"/>
                  </a:moveTo>
                  <a:cubicBezTo>
                    <a:pt x="133525" y="41481"/>
                    <a:pt x="114951" y="46847"/>
                    <a:pt x="98441" y="57579"/>
                  </a:cubicBezTo>
                  <a:cubicBezTo>
                    <a:pt x="81931" y="68310"/>
                    <a:pt x="69136" y="83169"/>
                    <a:pt x="60055" y="102156"/>
                  </a:cubicBezTo>
                  <a:cubicBezTo>
                    <a:pt x="50974" y="121142"/>
                    <a:pt x="46434" y="142812"/>
                    <a:pt x="46434" y="167164"/>
                  </a:cubicBezTo>
                  <a:cubicBezTo>
                    <a:pt x="46434" y="191516"/>
                    <a:pt x="50974" y="213289"/>
                    <a:pt x="60055" y="232481"/>
                  </a:cubicBezTo>
                  <a:cubicBezTo>
                    <a:pt x="69136" y="251674"/>
                    <a:pt x="81931" y="266637"/>
                    <a:pt x="98441" y="277368"/>
                  </a:cubicBezTo>
                  <a:cubicBezTo>
                    <a:pt x="114951" y="288100"/>
                    <a:pt x="133525" y="293465"/>
                    <a:pt x="154162" y="293465"/>
                  </a:cubicBezTo>
                  <a:cubicBezTo>
                    <a:pt x="174799" y="293465"/>
                    <a:pt x="193270" y="288100"/>
                    <a:pt x="209574" y="277368"/>
                  </a:cubicBezTo>
                  <a:cubicBezTo>
                    <a:pt x="225877" y="266637"/>
                    <a:pt x="238569" y="251674"/>
                    <a:pt x="247650" y="232481"/>
                  </a:cubicBezTo>
                  <a:cubicBezTo>
                    <a:pt x="256731" y="213289"/>
                    <a:pt x="261271" y="191516"/>
                    <a:pt x="261271" y="167164"/>
                  </a:cubicBezTo>
                  <a:cubicBezTo>
                    <a:pt x="261271" y="142812"/>
                    <a:pt x="256731" y="121142"/>
                    <a:pt x="247650" y="102156"/>
                  </a:cubicBezTo>
                  <a:cubicBezTo>
                    <a:pt x="238569" y="83169"/>
                    <a:pt x="225877" y="68310"/>
                    <a:pt x="209574" y="57579"/>
                  </a:cubicBezTo>
                  <a:cubicBezTo>
                    <a:pt x="193270" y="46847"/>
                    <a:pt x="174799" y="41481"/>
                    <a:pt x="154162" y="4148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4900" dirty="0"/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047A2D20-1802-410D-9F0E-D83DA9A2E647}"/>
                </a:ext>
              </a:extLst>
            </p:cNvPr>
            <p:cNvSpPr txBox="1">
              <a:spLocks/>
            </p:cNvSpPr>
            <p:nvPr/>
          </p:nvSpPr>
          <p:spPr>
            <a:xfrm>
              <a:off x="4748442" y="2275917"/>
              <a:ext cx="329994" cy="334947"/>
            </a:xfrm>
            <a:custGeom>
              <a:avLst/>
              <a:gdLst/>
              <a:ahLst/>
              <a:cxnLst/>
              <a:rect l="l" t="t" r="r" b="b"/>
              <a:pathLst>
                <a:path w="329994" h="334947">
                  <a:moveTo>
                    <a:pt x="165307" y="0"/>
                  </a:moveTo>
                  <a:cubicBezTo>
                    <a:pt x="195025" y="0"/>
                    <a:pt x="222472" y="7533"/>
                    <a:pt x="247651" y="22598"/>
                  </a:cubicBezTo>
                  <a:cubicBezTo>
                    <a:pt x="272828" y="37663"/>
                    <a:pt x="292847" y="57991"/>
                    <a:pt x="307706" y="83582"/>
                  </a:cubicBezTo>
                  <a:cubicBezTo>
                    <a:pt x="322565" y="109172"/>
                    <a:pt x="329994" y="137033"/>
                    <a:pt x="329994" y="167164"/>
                  </a:cubicBezTo>
                  <a:cubicBezTo>
                    <a:pt x="329994" y="197295"/>
                    <a:pt x="322565" y="225258"/>
                    <a:pt x="307706" y="251055"/>
                  </a:cubicBezTo>
                  <a:cubicBezTo>
                    <a:pt x="292847" y="276852"/>
                    <a:pt x="272828" y="297283"/>
                    <a:pt x="247651" y="312349"/>
                  </a:cubicBezTo>
                  <a:cubicBezTo>
                    <a:pt x="222472" y="327414"/>
                    <a:pt x="195025" y="334947"/>
                    <a:pt x="165307" y="334947"/>
                  </a:cubicBezTo>
                  <a:cubicBezTo>
                    <a:pt x="135589" y="334947"/>
                    <a:pt x="108038" y="327414"/>
                    <a:pt x="82654" y="312349"/>
                  </a:cubicBezTo>
                  <a:cubicBezTo>
                    <a:pt x="57269" y="297283"/>
                    <a:pt x="37148" y="276852"/>
                    <a:pt x="22289" y="251055"/>
                  </a:cubicBezTo>
                  <a:cubicBezTo>
                    <a:pt x="7430" y="225258"/>
                    <a:pt x="0" y="197295"/>
                    <a:pt x="0" y="167164"/>
                  </a:cubicBezTo>
                  <a:cubicBezTo>
                    <a:pt x="0" y="137033"/>
                    <a:pt x="7430" y="109172"/>
                    <a:pt x="22289" y="83582"/>
                  </a:cubicBezTo>
                  <a:cubicBezTo>
                    <a:pt x="37148" y="57991"/>
                    <a:pt x="57269" y="37663"/>
                    <a:pt x="82654" y="22598"/>
                  </a:cubicBezTo>
                  <a:cubicBezTo>
                    <a:pt x="108038" y="7533"/>
                    <a:pt x="135589" y="0"/>
                    <a:pt x="165307" y="0"/>
                  </a:cubicBezTo>
                  <a:close/>
                  <a:moveTo>
                    <a:pt x="165307" y="41481"/>
                  </a:moveTo>
                  <a:cubicBezTo>
                    <a:pt x="144257" y="41481"/>
                    <a:pt x="124754" y="47157"/>
                    <a:pt x="106800" y="58507"/>
                  </a:cubicBezTo>
                  <a:cubicBezTo>
                    <a:pt x="88845" y="69858"/>
                    <a:pt x="74605" y="85130"/>
                    <a:pt x="64080" y="104323"/>
                  </a:cubicBezTo>
                  <a:cubicBezTo>
                    <a:pt x="53555" y="123515"/>
                    <a:pt x="48292" y="144463"/>
                    <a:pt x="48292" y="167164"/>
                  </a:cubicBezTo>
                  <a:cubicBezTo>
                    <a:pt x="48292" y="189865"/>
                    <a:pt x="53555" y="210915"/>
                    <a:pt x="64080" y="230314"/>
                  </a:cubicBezTo>
                  <a:cubicBezTo>
                    <a:pt x="74605" y="249714"/>
                    <a:pt x="88845" y="265089"/>
                    <a:pt x="106800" y="276439"/>
                  </a:cubicBezTo>
                  <a:cubicBezTo>
                    <a:pt x="124754" y="287790"/>
                    <a:pt x="144257" y="293465"/>
                    <a:pt x="165307" y="293465"/>
                  </a:cubicBezTo>
                  <a:cubicBezTo>
                    <a:pt x="186357" y="293465"/>
                    <a:pt x="205756" y="287790"/>
                    <a:pt x="223505" y="276439"/>
                  </a:cubicBezTo>
                  <a:cubicBezTo>
                    <a:pt x="241253" y="265089"/>
                    <a:pt x="255390" y="249714"/>
                    <a:pt x="265915" y="230314"/>
                  </a:cubicBezTo>
                  <a:cubicBezTo>
                    <a:pt x="276440" y="210915"/>
                    <a:pt x="281702" y="189865"/>
                    <a:pt x="281702" y="167164"/>
                  </a:cubicBezTo>
                  <a:cubicBezTo>
                    <a:pt x="281702" y="144463"/>
                    <a:pt x="276440" y="123515"/>
                    <a:pt x="265915" y="104323"/>
                  </a:cubicBezTo>
                  <a:cubicBezTo>
                    <a:pt x="255390" y="85130"/>
                    <a:pt x="241253" y="69858"/>
                    <a:pt x="223505" y="58507"/>
                  </a:cubicBezTo>
                  <a:cubicBezTo>
                    <a:pt x="205756" y="47157"/>
                    <a:pt x="186357" y="41481"/>
                    <a:pt x="165307" y="4148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4900" dirty="0"/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C0F960C2-D281-4BC9-BACA-B4004C0AB29F}"/>
                </a:ext>
              </a:extLst>
            </p:cNvPr>
            <p:cNvSpPr txBox="1">
              <a:spLocks/>
            </p:cNvSpPr>
            <p:nvPr/>
          </p:nvSpPr>
          <p:spPr>
            <a:xfrm>
              <a:off x="5428671" y="2275917"/>
              <a:ext cx="249506" cy="334947"/>
            </a:xfrm>
            <a:custGeom>
              <a:avLst/>
              <a:gdLst/>
              <a:ahLst/>
              <a:cxnLst/>
              <a:rect l="l" t="t" r="r" b="b"/>
              <a:pathLst>
                <a:path w="249506" h="334947">
                  <a:moveTo>
                    <a:pt x="127539" y="0"/>
                  </a:moveTo>
                  <a:cubicBezTo>
                    <a:pt x="146938" y="0"/>
                    <a:pt x="166544" y="3199"/>
                    <a:pt x="186356" y="9596"/>
                  </a:cubicBezTo>
                  <a:cubicBezTo>
                    <a:pt x="206168" y="15994"/>
                    <a:pt x="224742" y="24765"/>
                    <a:pt x="242077" y="35909"/>
                  </a:cubicBezTo>
                  <a:lnTo>
                    <a:pt x="219789" y="71819"/>
                  </a:lnTo>
                  <a:cubicBezTo>
                    <a:pt x="188007" y="51594"/>
                    <a:pt x="157257" y="41481"/>
                    <a:pt x="127539" y="41481"/>
                  </a:cubicBezTo>
                  <a:cubicBezTo>
                    <a:pt x="108553" y="41481"/>
                    <a:pt x="92868" y="45609"/>
                    <a:pt x="80486" y="53864"/>
                  </a:cubicBezTo>
                  <a:cubicBezTo>
                    <a:pt x="68103" y="62119"/>
                    <a:pt x="61912" y="73676"/>
                    <a:pt x="61912" y="88535"/>
                  </a:cubicBezTo>
                  <a:cubicBezTo>
                    <a:pt x="61912" y="97615"/>
                    <a:pt x="64594" y="105045"/>
                    <a:pt x="69960" y="110823"/>
                  </a:cubicBezTo>
                  <a:cubicBezTo>
                    <a:pt x="75326" y="116602"/>
                    <a:pt x="83375" y="121761"/>
                    <a:pt x="94107" y="126302"/>
                  </a:cubicBezTo>
                  <a:cubicBezTo>
                    <a:pt x="104838" y="130842"/>
                    <a:pt x="121761" y="136827"/>
                    <a:pt x="144875" y="144256"/>
                  </a:cubicBezTo>
                  <a:cubicBezTo>
                    <a:pt x="167576" y="151273"/>
                    <a:pt x="185943" y="158083"/>
                    <a:pt x="199977" y="164687"/>
                  </a:cubicBezTo>
                  <a:cubicBezTo>
                    <a:pt x="214010" y="171291"/>
                    <a:pt x="225774" y="180475"/>
                    <a:pt x="235267" y="192238"/>
                  </a:cubicBezTo>
                  <a:cubicBezTo>
                    <a:pt x="244760" y="204002"/>
                    <a:pt x="249506" y="219377"/>
                    <a:pt x="249506" y="238363"/>
                  </a:cubicBezTo>
                  <a:cubicBezTo>
                    <a:pt x="249506" y="267256"/>
                    <a:pt x="238466" y="290576"/>
                    <a:pt x="216383" y="308324"/>
                  </a:cubicBezTo>
                  <a:cubicBezTo>
                    <a:pt x="194301" y="326073"/>
                    <a:pt x="166338" y="334947"/>
                    <a:pt x="132492" y="334947"/>
                  </a:cubicBezTo>
                  <a:cubicBezTo>
                    <a:pt x="109791" y="334947"/>
                    <a:pt x="86780" y="330819"/>
                    <a:pt x="63460" y="322564"/>
                  </a:cubicBezTo>
                  <a:cubicBezTo>
                    <a:pt x="40139" y="314309"/>
                    <a:pt x="18986" y="302546"/>
                    <a:pt x="0" y="287274"/>
                  </a:cubicBezTo>
                  <a:lnTo>
                    <a:pt x="24145" y="253222"/>
                  </a:lnTo>
                  <a:cubicBezTo>
                    <a:pt x="60880" y="280051"/>
                    <a:pt x="96995" y="293465"/>
                    <a:pt x="132492" y="293465"/>
                  </a:cubicBezTo>
                  <a:cubicBezTo>
                    <a:pt x="153543" y="293465"/>
                    <a:pt x="170568" y="288925"/>
                    <a:pt x="183570" y="279845"/>
                  </a:cubicBezTo>
                  <a:cubicBezTo>
                    <a:pt x="196572" y="270764"/>
                    <a:pt x="203073" y="258588"/>
                    <a:pt x="203073" y="243316"/>
                  </a:cubicBezTo>
                  <a:cubicBezTo>
                    <a:pt x="203073" y="232585"/>
                    <a:pt x="199564" y="223607"/>
                    <a:pt x="192547" y="216384"/>
                  </a:cubicBezTo>
                  <a:cubicBezTo>
                    <a:pt x="185531" y="209161"/>
                    <a:pt x="176760" y="203486"/>
                    <a:pt x="166235" y="199358"/>
                  </a:cubicBezTo>
                  <a:cubicBezTo>
                    <a:pt x="155709" y="195231"/>
                    <a:pt x="141160" y="190484"/>
                    <a:pt x="122586" y="185118"/>
                  </a:cubicBezTo>
                  <a:cubicBezTo>
                    <a:pt x="83375" y="173974"/>
                    <a:pt x="55721" y="161695"/>
                    <a:pt x="39624" y="148280"/>
                  </a:cubicBezTo>
                  <a:cubicBezTo>
                    <a:pt x="23526" y="134866"/>
                    <a:pt x="15478" y="116808"/>
                    <a:pt x="15478" y="94107"/>
                  </a:cubicBezTo>
                  <a:cubicBezTo>
                    <a:pt x="15478" y="65627"/>
                    <a:pt x="26003" y="42823"/>
                    <a:pt x="47053" y="25694"/>
                  </a:cubicBezTo>
                  <a:cubicBezTo>
                    <a:pt x="68103" y="8565"/>
                    <a:pt x="94932" y="0"/>
                    <a:pt x="12753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4900" dirty="0"/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EAD02CAE-EA62-46F9-AF21-428066FCE7DE}"/>
                </a:ext>
              </a:extLst>
            </p:cNvPr>
            <p:cNvSpPr txBox="1">
              <a:spLocks/>
            </p:cNvSpPr>
            <p:nvPr/>
          </p:nvSpPr>
          <p:spPr>
            <a:xfrm>
              <a:off x="5309703" y="2283347"/>
              <a:ext cx="46435" cy="320087"/>
            </a:xfrm>
            <a:custGeom>
              <a:avLst/>
              <a:gdLst/>
              <a:ahLst/>
              <a:cxnLst/>
              <a:rect l="l" t="t" r="r" b="b"/>
              <a:pathLst>
                <a:path w="46435" h="320087">
                  <a:moveTo>
                    <a:pt x="0" y="0"/>
                  </a:moveTo>
                  <a:lnTo>
                    <a:pt x="46435" y="0"/>
                  </a:lnTo>
                  <a:lnTo>
                    <a:pt x="46435" y="320087"/>
                  </a:lnTo>
                  <a:lnTo>
                    <a:pt x="0" y="32008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4900" dirty="0"/>
            </a:p>
          </p:txBody>
        </p:sp>
      </p:grpSp>
    </p:spTree>
    <p:extLst>
      <p:ext uri="{BB962C8B-B14F-4D97-AF65-F5344CB8AC3E}">
        <p14:creationId xmlns:p14="http://schemas.microsoft.com/office/powerpoint/2010/main" val="3311123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" name="Group 59">
            <a:extLst>
              <a:ext uri="{FF2B5EF4-FFF2-40B4-BE49-F238E27FC236}">
                <a16:creationId xmlns:a16="http://schemas.microsoft.com/office/drawing/2014/main" id="{8442F8FF-5DB1-44B3-AF2C-1A531EA36FEA}"/>
              </a:ext>
            </a:extLst>
          </p:cNvPr>
          <p:cNvGrpSpPr/>
          <p:nvPr/>
        </p:nvGrpSpPr>
        <p:grpSpPr bwMode="gray">
          <a:xfrm>
            <a:off x="0" y="0"/>
            <a:ext cx="12192001" cy="6858004"/>
            <a:chOff x="0" y="-4"/>
            <a:chExt cx="12188826" cy="6858004"/>
          </a:xfrm>
        </p:grpSpPr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E2F285D2-B641-461F-87F0-20A9C65B2EF7}"/>
                </a:ext>
              </a:extLst>
            </p:cNvPr>
            <p:cNvGrpSpPr/>
            <p:nvPr/>
          </p:nvGrpSpPr>
          <p:grpSpPr bwMode="gray">
            <a:xfrm>
              <a:off x="609441" y="1600198"/>
              <a:ext cx="10055941" cy="4580469"/>
              <a:chOff x="609441" y="1600198"/>
              <a:chExt cx="10055941" cy="4580469"/>
            </a:xfrm>
          </p:grpSpPr>
          <p:sp>
            <p:nvSpPr>
              <p:cNvPr id="110" name="Rectangle 109">
                <a:extLst>
                  <a:ext uri="{FF2B5EF4-FFF2-40B4-BE49-F238E27FC236}">
                    <a16:creationId xmlns:a16="http://schemas.microsoft.com/office/drawing/2014/main" id="{115EE1AC-AAA1-4CAF-886B-474B1A0C95C4}"/>
                  </a:ext>
                </a:extLst>
              </p:cNvPr>
              <p:cNvSpPr/>
              <p:nvPr/>
            </p:nvSpPr>
            <p:spPr bwMode="gray">
              <a:xfrm>
                <a:off x="609441" y="1600199"/>
                <a:ext cx="914203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800" dirty="0"/>
              </a:p>
            </p:txBody>
          </p:sp>
          <p:sp>
            <p:nvSpPr>
              <p:cNvPr id="111" name="Rectangle 110">
                <a:extLst>
                  <a:ext uri="{FF2B5EF4-FFF2-40B4-BE49-F238E27FC236}">
                    <a16:creationId xmlns:a16="http://schemas.microsoft.com/office/drawing/2014/main" id="{7037B7F2-249C-4DB7-A4FF-AD7E08892A0F}"/>
                  </a:ext>
                </a:extLst>
              </p:cNvPr>
              <p:cNvSpPr/>
              <p:nvPr/>
            </p:nvSpPr>
            <p:spPr bwMode="gray">
              <a:xfrm>
                <a:off x="2436448" y="1600198"/>
                <a:ext cx="915282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800" dirty="0"/>
              </a:p>
            </p:txBody>
          </p:sp>
          <p:sp>
            <p:nvSpPr>
              <p:cNvPr id="112" name="Rectangle 111">
                <a:extLst>
                  <a:ext uri="{FF2B5EF4-FFF2-40B4-BE49-F238E27FC236}">
                    <a16:creationId xmlns:a16="http://schemas.microsoft.com/office/drawing/2014/main" id="{6B02FE08-2379-4E6C-AE27-D7D2ECAB18B8}"/>
                  </a:ext>
                </a:extLst>
              </p:cNvPr>
              <p:cNvSpPr/>
              <p:nvPr/>
            </p:nvSpPr>
            <p:spPr bwMode="gray">
              <a:xfrm>
                <a:off x="4263453" y="1600198"/>
                <a:ext cx="920909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800" dirty="0"/>
              </a:p>
            </p:txBody>
          </p:sp>
          <p:sp>
            <p:nvSpPr>
              <p:cNvPr id="113" name="Rectangle 112">
                <a:extLst>
                  <a:ext uri="{FF2B5EF4-FFF2-40B4-BE49-F238E27FC236}">
                    <a16:creationId xmlns:a16="http://schemas.microsoft.com/office/drawing/2014/main" id="{D7C17E9A-3B70-4668-8EAE-9C7D73BACCA1}"/>
                  </a:ext>
                </a:extLst>
              </p:cNvPr>
              <p:cNvSpPr/>
              <p:nvPr/>
            </p:nvSpPr>
            <p:spPr bwMode="gray">
              <a:xfrm>
                <a:off x="6090459" y="1600198"/>
                <a:ext cx="920909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800" dirty="0"/>
              </a:p>
            </p:txBody>
          </p:sp>
          <p:sp>
            <p:nvSpPr>
              <p:cNvPr id="114" name="Rectangle 113">
                <a:extLst>
                  <a:ext uri="{FF2B5EF4-FFF2-40B4-BE49-F238E27FC236}">
                    <a16:creationId xmlns:a16="http://schemas.microsoft.com/office/drawing/2014/main" id="{E02751E5-34AD-4357-BC67-2269F668FD57}"/>
                  </a:ext>
                </a:extLst>
              </p:cNvPr>
              <p:cNvSpPr/>
              <p:nvPr/>
            </p:nvSpPr>
            <p:spPr bwMode="gray">
              <a:xfrm>
                <a:off x="7921943" y="1600198"/>
                <a:ext cx="916431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800" dirty="0"/>
              </a:p>
            </p:txBody>
          </p:sp>
          <p:sp>
            <p:nvSpPr>
              <p:cNvPr id="115" name="Rectangle 114">
                <a:extLst>
                  <a:ext uri="{FF2B5EF4-FFF2-40B4-BE49-F238E27FC236}">
                    <a16:creationId xmlns:a16="http://schemas.microsoft.com/office/drawing/2014/main" id="{452A85DA-B39F-40AB-B423-9F7CCB3D0D63}"/>
                  </a:ext>
                </a:extLst>
              </p:cNvPr>
              <p:cNvSpPr/>
              <p:nvPr/>
            </p:nvSpPr>
            <p:spPr bwMode="gray">
              <a:xfrm>
                <a:off x="9750028" y="1600198"/>
                <a:ext cx="915354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800" dirty="0"/>
              </a:p>
            </p:txBody>
          </p: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C5C1459D-4F6E-4671-8566-3143311EA541}"/>
                </a:ext>
              </a:extLst>
            </p:cNvPr>
            <p:cNvGrpSpPr/>
            <p:nvPr userDrawn="1"/>
          </p:nvGrpSpPr>
          <p:grpSpPr bwMode="gray">
            <a:xfrm>
              <a:off x="0" y="-4"/>
              <a:ext cx="12188826" cy="6858004"/>
              <a:chOff x="0" y="-4"/>
              <a:chExt cx="12188826" cy="6858004"/>
            </a:xfrm>
          </p:grpSpPr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015AFD00-19E3-4F92-9570-1F3E8AEC3EC4}"/>
                  </a:ext>
                </a:extLst>
              </p:cNvPr>
              <p:cNvGrpSpPr/>
              <p:nvPr>
                <p:custDataLst>
                  <p:tags r:id="rId1"/>
                </p:custDataLst>
              </p:nvPr>
            </p:nvGrpSpPr>
            <p:grpSpPr bwMode="gray">
              <a:xfrm>
                <a:off x="0" y="-4"/>
                <a:ext cx="12188826" cy="6858004"/>
                <a:chOff x="0" y="1"/>
                <a:chExt cx="12188826" cy="6858004"/>
              </a:xfrm>
            </p:grpSpPr>
            <p:grpSp>
              <p:nvGrpSpPr>
                <p:cNvPr id="65" name="Group 64">
                  <a:extLst>
                    <a:ext uri="{FF2B5EF4-FFF2-40B4-BE49-F238E27FC236}">
                      <a16:creationId xmlns:a16="http://schemas.microsoft.com/office/drawing/2014/main" id="{56B51E9A-9BC0-4A23-95C7-9E14C94FDF8A}"/>
                    </a:ext>
                  </a:extLst>
                </p:cNvPr>
                <p:cNvGrpSpPr/>
                <p:nvPr/>
              </p:nvGrpSpPr>
              <p:grpSpPr bwMode="gray">
                <a:xfrm>
                  <a:off x="609601" y="2684"/>
                  <a:ext cx="10962504" cy="6855315"/>
                  <a:chOff x="0" y="0"/>
                  <a:chExt cx="10962504" cy="6858000"/>
                </a:xfrm>
              </p:grpSpPr>
              <p:cxnSp>
                <p:nvCxnSpPr>
                  <p:cNvPr id="85" name="Straight Connector 84">
                    <a:extLst>
                      <a:ext uri="{FF2B5EF4-FFF2-40B4-BE49-F238E27FC236}">
                        <a16:creationId xmlns:a16="http://schemas.microsoft.com/office/drawing/2014/main" id="{5B6B4CFD-041A-4081-89A4-C2B194E6465E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0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6" name="Straight Connector 85">
                    <a:extLst>
                      <a:ext uri="{FF2B5EF4-FFF2-40B4-BE49-F238E27FC236}">
                        <a16:creationId xmlns:a16="http://schemas.microsoft.com/office/drawing/2014/main" id="{C63B978F-4215-434A-A0BE-E77776CE37B1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914043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7" name="Straight Connector 86">
                    <a:extLst>
                      <a:ext uri="{FF2B5EF4-FFF2-40B4-BE49-F238E27FC236}">
                        <a16:creationId xmlns:a16="http://schemas.microsoft.com/office/drawing/2014/main" id="{09EEB78C-3DA9-4AD7-BFB1-207EDE403F9D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371064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8" name="Straight Connector 87">
                    <a:extLst>
                      <a:ext uri="{FF2B5EF4-FFF2-40B4-BE49-F238E27FC236}">
                        <a16:creationId xmlns:a16="http://schemas.microsoft.com/office/drawing/2014/main" id="{F062D7CE-4A4A-4C41-833F-B30B3E74AEAC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828085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9" name="Straight Connector 88">
                    <a:extLst>
                      <a:ext uri="{FF2B5EF4-FFF2-40B4-BE49-F238E27FC236}">
                        <a16:creationId xmlns:a16="http://schemas.microsoft.com/office/drawing/2014/main" id="{19C628EF-969E-4429-A992-9AD0AFECF81E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2285107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0" name="Straight Connector 89">
                    <a:extLst>
                      <a:ext uri="{FF2B5EF4-FFF2-40B4-BE49-F238E27FC236}">
                        <a16:creationId xmlns:a16="http://schemas.microsoft.com/office/drawing/2014/main" id="{8C7BD383-0D5C-4E3A-99F7-4DC5A51DF948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2742128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1" name="Straight Connector 90">
                    <a:extLst>
                      <a:ext uri="{FF2B5EF4-FFF2-40B4-BE49-F238E27FC236}">
                        <a16:creationId xmlns:a16="http://schemas.microsoft.com/office/drawing/2014/main" id="{FAA2EE63-4F24-4A26-9268-D15D92D5B068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3199149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2" name="Straight Connector 91">
                    <a:extLst>
                      <a:ext uri="{FF2B5EF4-FFF2-40B4-BE49-F238E27FC236}">
                        <a16:creationId xmlns:a16="http://schemas.microsoft.com/office/drawing/2014/main" id="{F64BB08D-864A-44D4-88F6-679DBAE518B7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3656171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3" name="Straight Connector 92">
                    <a:extLst>
                      <a:ext uri="{FF2B5EF4-FFF2-40B4-BE49-F238E27FC236}">
                        <a16:creationId xmlns:a16="http://schemas.microsoft.com/office/drawing/2014/main" id="{9FA3F8A1-60DA-47E1-92DD-967475B2DF58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4113192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4" name="Straight Connector 93">
                    <a:extLst>
                      <a:ext uri="{FF2B5EF4-FFF2-40B4-BE49-F238E27FC236}">
                        <a16:creationId xmlns:a16="http://schemas.microsoft.com/office/drawing/2014/main" id="{4DECF40D-CC60-45F8-B236-F9FAC1F3E8CF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4570213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5" name="Straight Connector 94">
                    <a:extLst>
                      <a:ext uri="{FF2B5EF4-FFF2-40B4-BE49-F238E27FC236}">
                        <a16:creationId xmlns:a16="http://schemas.microsoft.com/office/drawing/2014/main" id="{623BAEC6-A3C2-4892-9093-BD8EA8A7E0F6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5027235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6" name="Straight Connector 95">
                    <a:extLst>
                      <a:ext uri="{FF2B5EF4-FFF2-40B4-BE49-F238E27FC236}">
                        <a16:creationId xmlns:a16="http://schemas.microsoft.com/office/drawing/2014/main" id="{D4E16FB9-EDCA-4CA6-9212-0AEBFCE175D7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5484256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7" name="Straight Connector 96">
                    <a:extLst>
                      <a:ext uri="{FF2B5EF4-FFF2-40B4-BE49-F238E27FC236}">
                        <a16:creationId xmlns:a16="http://schemas.microsoft.com/office/drawing/2014/main" id="{F3AE637F-804F-4244-9AA9-FF4A629A143C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5941277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8" name="Straight Connector 97">
                    <a:extLst>
                      <a:ext uri="{FF2B5EF4-FFF2-40B4-BE49-F238E27FC236}">
                        <a16:creationId xmlns:a16="http://schemas.microsoft.com/office/drawing/2014/main" id="{5EFB8414-3949-428A-B700-7C38A44425B2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6398299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9" name="Straight Connector 98">
                    <a:extLst>
                      <a:ext uri="{FF2B5EF4-FFF2-40B4-BE49-F238E27FC236}">
                        <a16:creationId xmlns:a16="http://schemas.microsoft.com/office/drawing/2014/main" id="{BA61D1AB-B7D2-4169-B38F-56371D50E1DA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6855320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0" name="Straight Connector 99">
                    <a:extLst>
                      <a:ext uri="{FF2B5EF4-FFF2-40B4-BE49-F238E27FC236}">
                        <a16:creationId xmlns:a16="http://schemas.microsoft.com/office/drawing/2014/main" id="{D00C4593-A442-4B6C-8E9D-80BFEB1746D6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7312342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1" name="Straight Connector 100">
                    <a:extLst>
                      <a:ext uri="{FF2B5EF4-FFF2-40B4-BE49-F238E27FC236}">
                        <a16:creationId xmlns:a16="http://schemas.microsoft.com/office/drawing/2014/main" id="{95B5E413-FAFF-430F-B105-4D122D50AEE1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7769363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2" name="Straight Connector 101">
                    <a:extLst>
                      <a:ext uri="{FF2B5EF4-FFF2-40B4-BE49-F238E27FC236}">
                        <a16:creationId xmlns:a16="http://schemas.microsoft.com/office/drawing/2014/main" id="{2B845328-662D-4D12-A209-6A0B1E78DF14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8226384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3" name="Straight Connector 102">
                    <a:extLst>
                      <a:ext uri="{FF2B5EF4-FFF2-40B4-BE49-F238E27FC236}">
                        <a16:creationId xmlns:a16="http://schemas.microsoft.com/office/drawing/2014/main" id="{2AC19B5D-D919-4A48-953C-03994329E19B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9140427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4" name="Straight Connector 103">
                    <a:extLst>
                      <a:ext uri="{FF2B5EF4-FFF2-40B4-BE49-F238E27FC236}">
                        <a16:creationId xmlns:a16="http://schemas.microsoft.com/office/drawing/2014/main" id="{AC81C8DC-CB2F-445A-8F7B-5A864393B553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8683406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5" name="Straight Connector 104">
                    <a:extLst>
                      <a:ext uri="{FF2B5EF4-FFF2-40B4-BE49-F238E27FC236}">
                        <a16:creationId xmlns:a16="http://schemas.microsoft.com/office/drawing/2014/main" id="{F3CD9F68-6C35-4B43-B8E1-1ABF75D8D588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9597448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6" name="Straight Connector 105">
                    <a:extLst>
                      <a:ext uri="{FF2B5EF4-FFF2-40B4-BE49-F238E27FC236}">
                        <a16:creationId xmlns:a16="http://schemas.microsoft.com/office/drawing/2014/main" id="{BBBCE95B-721C-44A5-8B94-8F0E42FF53FE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0054470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7" name="Straight Connector 106">
                    <a:extLst>
                      <a:ext uri="{FF2B5EF4-FFF2-40B4-BE49-F238E27FC236}">
                        <a16:creationId xmlns:a16="http://schemas.microsoft.com/office/drawing/2014/main" id="{3B934F61-1ED7-4209-A1E3-04C68085B10E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0511491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8" name="Straight Connector 107">
                    <a:extLst>
                      <a:ext uri="{FF2B5EF4-FFF2-40B4-BE49-F238E27FC236}">
                        <a16:creationId xmlns:a16="http://schemas.microsoft.com/office/drawing/2014/main" id="{8F636E46-095E-439D-B78B-EBC72DB23290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457021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9" name="Straight Connector 108">
                    <a:extLst>
                      <a:ext uri="{FF2B5EF4-FFF2-40B4-BE49-F238E27FC236}">
                        <a16:creationId xmlns:a16="http://schemas.microsoft.com/office/drawing/2014/main" id="{61497272-E949-488B-B9F6-FD10BA6526BF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0962504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66" name="Group 65">
                  <a:extLst>
                    <a:ext uri="{FF2B5EF4-FFF2-40B4-BE49-F238E27FC236}">
                      <a16:creationId xmlns:a16="http://schemas.microsoft.com/office/drawing/2014/main" id="{B645DFBA-090A-4E89-BFE2-570C1D04D7A5}"/>
                    </a:ext>
                  </a:extLst>
                </p:cNvPr>
                <p:cNvGrpSpPr/>
                <p:nvPr/>
              </p:nvGrpSpPr>
              <p:grpSpPr bwMode="gray">
                <a:xfrm>
                  <a:off x="0" y="1"/>
                  <a:ext cx="12188826" cy="6858004"/>
                  <a:chOff x="0" y="1"/>
                  <a:chExt cx="12188826" cy="6858004"/>
                </a:xfrm>
              </p:grpSpPr>
              <p:cxnSp>
                <p:nvCxnSpPr>
                  <p:cNvPr id="67" name="Straight Connector 66">
                    <a:extLst>
                      <a:ext uri="{FF2B5EF4-FFF2-40B4-BE49-F238E27FC236}">
                        <a16:creationId xmlns:a16="http://schemas.microsoft.com/office/drawing/2014/main" id="{E34689D4-9BAE-40BF-B953-E1A0CA4F5C15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6094412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8" name="Straight Connector 67">
                    <a:extLst>
                      <a:ext uri="{FF2B5EF4-FFF2-40B4-BE49-F238E27FC236}">
                        <a16:creationId xmlns:a16="http://schemas.microsoft.com/office/drawing/2014/main" id="{674A3364-6F4C-4749-A110-B336801330E0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5637211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9" name="Straight Connector 68">
                    <a:extLst>
                      <a:ext uri="{FF2B5EF4-FFF2-40B4-BE49-F238E27FC236}">
                        <a16:creationId xmlns:a16="http://schemas.microsoft.com/office/drawing/2014/main" id="{690EC6B6-039D-4549-B1B1-8FF8A3FC2F66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5180011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0" name="Straight Connector 69">
                    <a:extLst>
                      <a:ext uri="{FF2B5EF4-FFF2-40B4-BE49-F238E27FC236}">
                        <a16:creationId xmlns:a16="http://schemas.microsoft.com/office/drawing/2014/main" id="{155F4FAC-9412-45E9-99EC-FDC351D60453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31202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1" name="Straight Connector 70">
                    <a:extLst>
                      <a:ext uri="{FF2B5EF4-FFF2-40B4-BE49-F238E27FC236}">
                        <a16:creationId xmlns:a16="http://schemas.microsoft.com/office/drawing/2014/main" id="{5A0C0A33-67B3-48C9-9B83-C39DFDEF5E0A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26630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2" name="Straight Connector 71">
                    <a:extLst>
                      <a:ext uri="{FF2B5EF4-FFF2-40B4-BE49-F238E27FC236}">
                        <a16:creationId xmlns:a16="http://schemas.microsoft.com/office/drawing/2014/main" id="{A87FF284-D960-4A05-8053-9886608C6599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22058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3" name="Straight Connector 72">
                    <a:extLst>
                      <a:ext uri="{FF2B5EF4-FFF2-40B4-BE49-F238E27FC236}">
                        <a16:creationId xmlns:a16="http://schemas.microsoft.com/office/drawing/2014/main" id="{6BA61019-342C-4EDD-97C6-EDA59774644E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17486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4" name="Straight Connector 73">
                    <a:extLst>
                      <a:ext uri="{FF2B5EF4-FFF2-40B4-BE49-F238E27FC236}">
                        <a16:creationId xmlns:a16="http://schemas.microsoft.com/office/drawing/2014/main" id="{234785CB-17D0-49DD-8DC9-3C93626DC776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1291437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5" name="Straight Connector 74">
                    <a:extLst>
                      <a:ext uri="{FF2B5EF4-FFF2-40B4-BE49-F238E27FC236}">
                        <a16:creationId xmlns:a16="http://schemas.microsoft.com/office/drawing/2014/main" id="{425DB222-E3A0-48A3-BBD5-FD2616577D2D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834237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6" name="Straight Connector 75">
                    <a:extLst>
                      <a:ext uri="{FF2B5EF4-FFF2-40B4-BE49-F238E27FC236}">
                        <a16:creationId xmlns:a16="http://schemas.microsoft.com/office/drawing/2014/main" id="{C433E4E5-A945-4652-B574-37C6580344B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gray">
                  <a:xfrm flipH="1">
                    <a:off x="1" y="5717376"/>
                    <a:ext cx="12188825" cy="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7" name="Straight Connector 76">
                    <a:extLst>
                      <a:ext uri="{FF2B5EF4-FFF2-40B4-BE49-F238E27FC236}">
                        <a16:creationId xmlns:a16="http://schemas.microsoft.com/office/drawing/2014/main" id="{352A597B-2B35-4BD4-B07E-D8CEF25A597D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763592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8" name="Straight Connector 77">
                    <a:extLst>
                      <a:ext uri="{FF2B5EF4-FFF2-40B4-BE49-F238E27FC236}">
                        <a16:creationId xmlns:a16="http://schemas.microsoft.com/office/drawing/2014/main" id="{9351C336-9D65-42C9-A33F-6971E6322E46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5637212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9" name="Straight Connector 78">
                    <a:extLst>
                      <a:ext uri="{FF2B5EF4-FFF2-40B4-BE49-F238E27FC236}">
                        <a16:creationId xmlns:a16="http://schemas.microsoft.com/office/drawing/2014/main" id="{FCAD9518-36D4-43F7-839D-D8FE389DF1F1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4951411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0" name="Straight Connector 79">
                    <a:extLst>
                      <a:ext uri="{FF2B5EF4-FFF2-40B4-BE49-F238E27FC236}">
                        <a16:creationId xmlns:a16="http://schemas.microsoft.com/office/drawing/2014/main" id="{55575B3F-2A8B-4175-B6A5-D60652B87ED0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86257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1" name="Straight Connector 80">
                    <a:extLst>
                      <a:ext uri="{FF2B5EF4-FFF2-40B4-BE49-F238E27FC236}">
                        <a16:creationId xmlns:a16="http://schemas.microsoft.com/office/drawing/2014/main" id="{1CCC90FC-8476-4A2A-8DF1-ECAB053A24FD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30638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2" name="Straight Connector 81">
                    <a:extLst>
                      <a:ext uri="{FF2B5EF4-FFF2-40B4-BE49-F238E27FC236}">
                        <a16:creationId xmlns:a16="http://schemas.microsoft.com/office/drawing/2014/main" id="{DFB03C8E-4661-465A-B25F-147D497525A0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40346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3" name="Straight Connector 82">
                    <a:extLst>
                      <a:ext uri="{FF2B5EF4-FFF2-40B4-BE49-F238E27FC236}">
                        <a16:creationId xmlns:a16="http://schemas.microsoft.com/office/drawing/2014/main" id="{88C8E030-5491-4C40-9E10-B197BD5CD587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35774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4" name="Straight Connector 83">
                    <a:extLst>
                      <a:ext uri="{FF2B5EF4-FFF2-40B4-BE49-F238E27FC236}">
                        <a16:creationId xmlns:a16="http://schemas.microsoft.com/office/drawing/2014/main" id="{E0EBA261-0409-41DC-98E2-4BF8173333E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gray">
                  <a:xfrm rot="5400000">
                    <a:off x="6094413" y="-4494211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B119DAC7-36FB-491E-A6EB-B78E57CAECBF}"/>
                  </a:ext>
                </a:extLst>
              </p:cNvPr>
              <p:cNvSpPr txBox="1"/>
              <p:nvPr userDrawn="1"/>
            </p:nvSpPr>
            <p:spPr bwMode="gray">
              <a:xfrm>
                <a:off x="592866" y="5723466"/>
                <a:ext cx="7329077" cy="47413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no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700" dirty="0"/>
                  <a:t>Footnote: Lorem ipsum dolor sit amet, consectetur adipiscing elit. Maecenas dui magna, sagittis at feugiat eget, viverra eu libero. Vestibulum a justo mi. Etiam blandit tempus odio. Fusce orci lectus, tincidunt eget hendrerit quis, blandit non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01167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B535B2D-9361-4E88-8BBD-C6E1EB066B37}"/>
              </a:ext>
            </a:extLst>
          </p:cNvPr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F8981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>
              <a:solidFill>
                <a:schemeClr val="accent2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5AED08D-D489-4C23-BFE9-9C4A6A94C4DA}"/>
              </a:ext>
            </a:extLst>
          </p:cNvPr>
          <p:cNvSpPr txBox="1"/>
          <p:nvPr/>
        </p:nvSpPr>
        <p:spPr>
          <a:xfrm>
            <a:off x="606551" y="721895"/>
            <a:ext cx="10879380" cy="48800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5400" spc="300" dirty="0">
                <a:solidFill>
                  <a:schemeClr val="bg1"/>
                </a:solidFill>
              </a:rPr>
              <a:t>DO NOT USE </a:t>
            </a:r>
          </a:p>
          <a:p>
            <a:pPr algn="ctr">
              <a:lnSpc>
                <a:spcPct val="90000"/>
              </a:lnSpc>
            </a:pPr>
            <a:endParaRPr lang="en-US" sz="5400" spc="300" dirty="0">
              <a:solidFill>
                <a:schemeClr val="bg1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en-US" sz="5400" spc="300" dirty="0">
                <a:solidFill>
                  <a:schemeClr val="bg1"/>
                </a:solidFill>
              </a:rPr>
              <a:t>ALL LAYOUTS PAST THIS ARE NOT PART OF THIS TEMPLATE</a:t>
            </a:r>
          </a:p>
        </p:txBody>
      </p:sp>
    </p:spTree>
    <p:extLst>
      <p:ext uri="{BB962C8B-B14F-4D97-AF65-F5344CB8AC3E}">
        <p14:creationId xmlns:p14="http://schemas.microsoft.com/office/powerpoint/2010/main" val="1486257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420283"/>
            <a:ext cx="5181600" cy="98001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2590800"/>
            <a:ext cx="4267200" cy="11684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048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096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14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192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24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28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337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385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4-Sep-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0186429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4-Sep-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7221832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542" y="2937934"/>
            <a:ext cx="5181600" cy="908050"/>
          </a:xfrm>
        </p:spPr>
        <p:txBody>
          <a:bodyPr anchor="t"/>
          <a:lstStyle>
            <a:lvl1pPr algn="l">
              <a:defRPr sz="2667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1542" y="1937809"/>
            <a:ext cx="5181600" cy="1000125"/>
          </a:xfrm>
        </p:spPr>
        <p:txBody>
          <a:bodyPr anchor="b"/>
          <a:lstStyle>
            <a:lvl1pPr marL="0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1pPr>
            <a:lvl2pPr marL="304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09630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3pPr>
            <a:lvl4pPr marL="91444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4pPr>
            <a:lvl5pPr marL="121926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5pPr>
            <a:lvl6pPr marL="152407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6pPr>
            <a:lvl7pPr marL="182889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7pPr>
            <a:lvl8pPr marL="2133707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8pPr>
            <a:lvl9pPr marL="2438522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4-Sep-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957326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Metric 1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6492466" y="0"/>
            <a:ext cx="5699547" cy="6858000"/>
          </a:xfrm>
          <a:prstGeom prst="rect">
            <a:avLst/>
          </a:prstGeom>
        </p:spPr>
      </p:pic>
      <p:grpSp>
        <p:nvGrpSpPr>
          <p:cNvPr id="25" name="Group 24"/>
          <p:cNvGrpSpPr/>
          <p:nvPr/>
        </p:nvGrpSpPr>
        <p:grpSpPr>
          <a:xfrm>
            <a:off x="618039" y="6446072"/>
            <a:ext cx="1100080" cy="173355"/>
            <a:chOff x="-84138" y="5622925"/>
            <a:chExt cx="4330701" cy="682626"/>
          </a:xfrm>
        </p:grpSpPr>
        <p:sp>
          <p:nvSpPr>
            <p:cNvPr id="2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9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30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31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32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</p:grp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322757" y="685800"/>
            <a:ext cx="4389120" cy="1676400"/>
          </a:xfrm>
        </p:spPr>
        <p:txBody>
          <a:bodyPr anchor="b"/>
          <a:lstStyle>
            <a:lvl1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1pPr>
            <a:lvl2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2pPr>
            <a:lvl3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3pPr>
            <a:lvl4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4pPr>
            <a:lvl5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5pPr>
            <a:lvl6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6pPr>
            <a:lvl7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7pPr>
            <a:lvl8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8pPr>
            <a:lvl9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322757" y="2362200"/>
            <a:ext cx="4389120" cy="1066800"/>
          </a:xfrm>
        </p:spPr>
        <p:txBody>
          <a:bodyPr/>
          <a:lstStyle>
            <a:lvl1pPr marL="3175" indent="0">
              <a:spcBef>
                <a:spcPts val="0"/>
              </a:spcBef>
              <a:buNone/>
              <a:defRPr sz="2400" cap="none" baseline="0">
                <a:solidFill>
                  <a:schemeClr val="accent3"/>
                </a:solidFill>
              </a:defRPr>
            </a:lvl1pPr>
            <a:lvl2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2pPr>
            <a:lvl3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3pPr>
            <a:lvl4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4pPr>
            <a:lvl5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5pPr>
            <a:lvl6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6pPr>
            <a:lvl7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7pPr>
            <a:lvl8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8pPr>
            <a:lvl9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wipe dir="r"/>
      </p:transition>
    </mc:Choice>
    <mc:Fallback xmlns="">
      <p:transition xmlns:p14="http://schemas.microsoft.com/office/powerpoint/2010/main" spd="slow">
        <p:wipe dir="r"/>
      </p:transition>
    </mc:Fallback>
  </mc:AlternateConten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98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4-Sep-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2042678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23409"/>
            <a:ext cx="2693459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4800" y="1449917"/>
            <a:ext cx="2693459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096684" y="1023409"/>
            <a:ext cx="2694517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096684" y="1449917"/>
            <a:ext cx="2694517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4-Sep-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4424613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4-Sep-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26185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4-Sep-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6194061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82033"/>
            <a:ext cx="2005542" cy="774700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83367" y="182034"/>
            <a:ext cx="3407833" cy="3902075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333"/>
            </a:lvl4pPr>
            <a:lvl5pPr>
              <a:defRPr sz="1333"/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800" y="956734"/>
            <a:ext cx="2005542" cy="31273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4-Sep-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9839033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4859" y="3200400"/>
            <a:ext cx="3657600" cy="377825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194859" y="408517"/>
            <a:ext cx="3657600" cy="2743200"/>
          </a:xfrm>
        </p:spPr>
        <p:txBody>
          <a:bodyPr/>
          <a:lstStyle>
            <a:lvl1pPr marL="0" indent="0">
              <a:buNone/>
              <a:defRPr sz="2133"/>
            </a:lvl1pPr>
            <a:lvl2pPr marL="304815" indent="0">
              <a:buNone/>
              <a:defRPr sz="1867"/>
            </a:lvl2pPr>
            <a:lvl3pPr marL="609630" indent="0">
              <a:buNone/>
              <a:defRPr sz="1600"/>
            </a:lvl3pPr>
            <a:lvl4pPr marL="914446" indent="0">
              <a:buNone/>
              <a:defRPr sz="1333"/>
            </a:lvl4pPr>
            <a:lvl5pPr marL="1219261" indent="0">
              <a:buNone/>
              <a:defRPr sz="1333"/>
            </a:lvl5pPr>
            <a:lvl6pPr marL="1524076" indent="0">
              <a:buNone/>
              <a:defRPr sz="1333"/>
            </a:lvl6pPr>
            <a:lvl7pPr marL="1828891" indent="0">
              <a:buNone/>
              <a:defRPr sz="1333"/>
            </a:lvl7pPr>
            <a:lvl8pPr marL="2133707" indent="0">
              <a:buNone/>
              <a:defRPr sz="1333"/>
            </a:lvl8pPr>
            <a:lvl9pPr marL="2438522" indent="0">
              <a:buNone/>
              <a:defRPr sz="1333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94859" y="3578225"/>
            <a:ext cx="3657600" cy="5365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4-Sep-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0649192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4-Sep-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0237517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419600" y="183092"/>
            <a:ext cx="1371600" cy="390101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83092"/>
            <a:ext cx="4013200" cy="390101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4-Sep-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625980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1" y="1420283"/>
            <a:ext cx="5181600" cy="98001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1" y="2590800"/>
            <a:ext cx="4267200" cy="11684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047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094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14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188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2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283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330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37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4-Sep-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7384064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4-Sep-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81052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Metric 2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92466" y="0"/>
            <a:ext cx="5699547" cy="6858000"/>
          </a:xfrm>
          <a:prstGeom prst="rect">
            <a:avLst/>
          </a:prstGeom>
        </p:spPr>
      </p:pic>
      <p:grpSp>
        <p:nvGrpSpPr>
          <p:cNvPr id="26" name="Group 25"/>
          <p:cNvGrpSpPr/>
          <p:nvPr/>
        </p:nvGrpSpPr>
        <p:grpSpPr>
          <a:xfrm>
            <a:off x="618039" y="6446072"/>
            <a:ext cx="1100080" cy="173355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27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8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9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30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31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32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33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</p:grp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05600" y="2209800"/>
            <a:ext cx="4389120" cy="1676400"/>
          </a:xfrm>
        </p:spPr>
        <p:txBody>
          <a:bodyPr anchor="b"/>
          <a:lstStyle>
            <a:lvl1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1pPr>
            <a:lvl2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2pPr>
            <a:lvl3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3pPr>
            <a:lvl4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4pPr>
            <a:lvl5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5pPr>
            <a:lvl6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6pPr>
            <a:lvl7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7pPr>
            <a:lvl8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8pPr>
            <a:lvl9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705600" y="3886200"/>
            <a:ext cx="4389120" cy="1066800"/>
          </a:xfrm>
        </p:spPr>
        <p:txBody>
          <a:bodyPr/>
          <a:lstStyle>
            <a:lvl1pPr marL="3175" indent="0">
              <a:spcBef>
                <a:spcPts val="0"/>
              </a:spcBef>
              <a:buNone/>
              <a:defRPr sz="2400" cap="none" baseline="0">
                <a:solidFill>
                  <a:schemeClr val="bg1"/>
                </a:solidFill>
              </a:defRPr>
            </a:lvl1pPr>
            <a:lvl2pPr marL="3175" indent="0">
              <a:spcBef>
                <a:spcPts val="0"/>
              </a:spcBef>
              <a:buNone/>
              <a:defRPr sz="2400" cap="none" baseline="0">
                <a:solidFill>
                  <a:schemeClr val="bg1"/>
                </a:solidFill>
              </a:defRPr>
            </a:lvl2pPr>
            <a:lvl3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3pPr>
            <a:lvl4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4pPr>
            <a:lvl5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5pPr>
            <a:lvl6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6pPr>
            <a:lvl7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7pPr>
            <a:lvl8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8pPr>
            <a:lvl9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wipe dir="r"/>
      </p:transition>
    </mc:Choice>
    <mc:Fallback xmlns="">
      <p:transition xmlns:p14="http://schemas.microsoft.com/office/powerpoint/2010/main" spd="slow">
        <p:wipe dir="r"/>
      </p:transition>
    </mc:Fallback>
  </mc:AlternateConten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542" y="2937934"/>
            <a:ext cx="5181600" cy="908050"/>
          </a:xfrm>
        </p:spPr>
        <p:txBody>
          <a:bodyPr anchor="t"/>
          <a:lstStyle>
            <a:lvl1pPr algn="l">
              <a:defRPr sz="2666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1542" y="1937810"/>
            <a:ext cx="5181600" cy="1000125"/>
          </a:xfrm>
        </p:spPr>
        <p:txBody>
          <a:bodyPr anchor="b"/>
          <a:lstStyle>
            <a:lvl1pPr marL="0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1pPr>
            <a:lvl2pPr marL="30472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09448" indent="0">
              <a:buNone/>
              <a:defRPr sz="1066">
                <a:solidFill>
                  <a:schemeClr val="tx1">
                    <a:tint val="75000"/>
                  </a:schemeClr>
                </a:solidFill>
              </a:defRPr>
            </a:lvl3pPr>
            <a:lvl4pPr marL="91417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4pPr>
            <a:lvl5pPr marL="1218895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5pPr>
            <a:lvl6pPr marL="1523619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6pPr>
            <a:lvl7pPr marL="1828343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7pPr>
            <a:lvl8pPr marL="2133067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8pPr>
            <a:lvl9pPr marL="2437790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4-Sep-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726810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1" y="1066801"/>
            <a:ext cx="2692400" cy="3017309"/>
          </a:xfrm>
        </p:spPr>
        <p:txBody>
          <a:bodyPr/>
          <a:lstStyle>
            <a:lvl1pPr>
              <a:defRPr sz="1866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98801" y="1066801"/>
            <a:ext cx="2692400" cy="3017309"/>
          </a:xfrm>
        </p:spPr>
        <p:txBody>
          <a:bodyPr/>
          <a:lstStyle>
            <a:lvl1pPr>
              <a:defRPr sz="1866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4-Sep-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0045701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1" y="1023409"/>
            <a:ext cx="2693458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724" indent="0">
              <a:buNone/>
              <a:defRPr sz="1333" b="1"/>
            </a:lvl2pPr>
            <a:lvl3pPr marL="609448" indent="0">
              <a:buNone/>
              <a:defRPr sz="1200" b="1"/>
            </a:lvl3pPr>
            <a:lvl4pPr marL="914171" indent="0">
              <a:buNone/>
              <a:defRPr sz="1066" b="1"/>
            </a:lvl4pPr>
            <a:lvl5pPr marL="1218895" indent="0">
              <a:buNone/>
              <a:defRPr sz="1066" b="1"/>
            </a:lvl5pPr>
            <a:lvl6pPr marL="1523619" indent="0">
              <a:buNone/>
              <a:defRPr sz="1066" b="1"/>
            </a:lvl6pPr>
            <a:lvl7pPr marL="1828343" indent="0">
              <a:buNone/>
              <a:defRPr sz="1066" b="1"/>
            </a:lvl7pPr>
            <a:lvl8pPr marL="2133067" indent="0">
              <a:buNone/>
              <a:defRPr sz="1066" b="1"/>
            </a:lvl8pPr>
            <a:lvl9pPr marL="2437790" indent="0">
              <a:buNone/>
              <a:defRPr sz="1066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4801" y="1449917"/>
            <a:ext cx="2693458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6"/>
            </a:lvl4pPr>
            <a:lvl5pPr>
              <a:defRPr sz="1066"/>
            </a:lvl5pPr>
            <a:lvl6pPr>
              <a:defRPr sz="1066"/>
            </a:lvl6pPr>
            <a:lvl7pPr>
              <a:defRPr sz="1066"/>
            </a:lvl7pPr>
            <a:lvl8pPr>
              <a:defRPr sz="1066"/>
            </a:lvl8pPr>
            <a:lvl9pPr>
              <a:defRPr sz="106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096684" y="1023409"/>
            <a:ext cx="2694517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724" indent="0">
              <a:buNone/>
              <a:defRPr sz="1333" b="1"/>
            </a:lvl2pPr>
            <a:lvl3pPr marL="609448" indent="0">
              <a:buNone/>
              <a:defRPr sz="1200" b="1"/>
            </a:lvl3pPr>
            <a:lvl4pPr marL="914171" indent="0">
              <a:buNone/>
              <a:defRPr sz="1066" b="1"/>
            </a:lvl4pPr>
            <a:lvl5pPr marL="1218895" indent="0">
              <a:buNone/>
              <a:defRPr sz="1066" b="1"/>
            </a:lvl5pPr>
            <a:lvl6pPr marL="1523619" indent="0">
              <a:buNone/>
              <a:defRPr sz="1066" b="1"/>
            </a:lvl6pPr>
            <a:lvl7pPr marL="1828343" indent="0">
              <a:buNone/>
              <a:defRPr sz="1066" b="1"/>
            </a:lvl7pPr>
            <a:lvl8pPr marL="2133067" indent="0">
              <a:buNone/>
              <a:defRPr sz="1066" b="1"/>
            </a:lvl8pPr>
            <a:lvl9pPr marL="2437790" indent="0">
              <a:buNone/>
              <a:defRPr sz="1066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096684" y="1449917"/>
            <a:ext cx="2694517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6"/>
            </a:lvl4pPr>
            <a:lvl5pPr>
              <a:defRPr sz="1066"/>
            </a:lvl5pPr>
            <a:lvl6pPr>
              <a:defRPr sz="1066"/>
            </a:lvl6pPr>
            <a:lvl7pPr>
              <a:defRPr sz="1066"/>
            </a:lvl7pPr>
            <a:lvl8pPr>
              <a:defRPr sz="1066"/>
            </a:lvl8pPr>
            <a:lvl9pPr>
              <a:defRPr sz="106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4-Sep-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4696969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4-Sep-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4603974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4-Sep-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4419996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1" y="182033"/>
            <a:ext cx="2005542" cy="774700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83367" y="182035"/>
            <a:ext cx="3407833" cy="3902075"/>
          </a:xfrm>
        </p:spPr>
        <p:txBody>
          <a:bodyPr/>
          <a:lstStyle>
            <a:lvl1pPr>
              <a:defRPr sz="2133"/>
            </a:lvl1pPr>
            <a:lvl2pPr>
              <a:defRPr sz="1866"/>
            </a:lvl2pPr>
            <a:lvl3pPr>
              <a:defRPr sz="1600"/>
            </a:lvl3pPr>
            <a:lvl4pPr>
              <a:defRPr sz="1333"/>
            </a:lvl4pPr>
            <a:lvl5pPr>
              <a:defRPr sz="1333"/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801" y="956735"/>
            <a:ext cx="2005542" cy="3127375"/>
          </a:xfrm>
        </p:spPr>
        <p:txBody>
          <a:bodyPr/>
          <a:lstStyle>
            <a:lvl1pPr marL="0" indent="0">
              <a:buNone/>
              <a:defRPr sz="933"/>
            </a:lvl1pPr>
            <a:lvl2pPr marL="304724" indent="0">
              <a:buNone/>
              <a:defRPr sz="800"/>
            </a:lvl2pPr>
            <a:lvl3pPr marL="609448" indent="0">
              <a:buNone/>
              <a:defRPr sz="667"/>
            </a:lvl3pPr>
            <a:lvl4pPr marL="914171" indent="0">
              <a:buNone/>
              <a:defRPr sz="600"/>
            </a:lvl4pPr>
            <a:lvl5pPr marL="1218895" indent="0">
              <a:buNone/>
              <a:defRPr sz="600"/>
            </a:lvl5pPr>
            <a:lvl6pPr marL="1523619" indent="0">
              <a:buNone/>
              <a:defRPr sz="600"/>
            </a:lvl6pPr>
            <a:lvl7pPr marL="1828343" indent="0">
              <a:buNone/>
              <a:defRPr sz="600"/>
            </a:lvl7pPr>
            <a:lvl8pPr marL="2133067" indent="0">
              <a:buNone/>
              <a:defRPr sz="600"/>
            </a:lvl8pPr>
            <a:lvl9pPr marL="2437790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4-Sep-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8081376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4858" y="3200401"/>
            <a:ext cx="3657601" cy="377825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194858" y="408517"/>
            <a:ext cx="3657601" cy="2743200"/>
          </a:xfrm>
        </p:spPr>
        <p:txBody>
          <a:bodyPr/>
          <a:lstStyle>
            <a:lvl1pPr marL="0" indent="0">
              <a:buNone/>
              <a:defRPr sz="2133"/>
            </a:lvl1pPr>
            <a:lvl2pPr marL="304724" indent="0">
              <a:buNone/>
              <a:defRPr sz="1866"/>
            </a:lvl2pPr>
            <a:lvl3pPr marL="609448" indent="0">
              <a:buNone/>
              <a:defRPr sz="1600"/>
            </a:lvl3pPr>
            <a:lvl4pPr marL="914171" indent="0">
              <a:buNone/>
              <a:defRPr sz="1333"/>
            </a:lvl4pPr>
            <a:lvl5pPr marL="1218895" indent="0">
              <a:buNone/>
              <a:defRPr sz="1333"/>
            </a:lvl5pPr>
            <a:lvl6pPr marL="1523619" indent="0">
              <a:buNone/>
              <a:defRPr sz="1333"/>
            </a:lvl6pPr>
            <a:lvl7pPr marL="1828343" indent="0">
              <a:buNone/>
              <a:defRPr sz="1333"/>
            </a:lvl7pPr>
            <a:lvl8pPr marL="2133067" indent="0">
              <a:buNone/>
              <a:defRPr sz="1333"/>
            </a:lvl8pPr>
            <a:lvl9pPr marL="2437790" indent="0">
              <a:buNone/>
              <a:defRPr sz="1333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94858" y="3578226"/>
            <a:ext cx="3657601" cy="536575"/>
          </a:xfrm>
        </p:spPr>
        <p:txBody>
          <a:bodyPr/>
          <a:lstStyle>
            <a:lvl1pPr marL="0" indent="0">
              <a:buNone/>
              <a:defRPr sz="933"/>
            </a:lvl1pPr>
            <a:lvl2pPr marL="304724" indent="0">
              <a:buNone/>
              <a:defRPr sz="800"/>
            </a:lvl2pPr>
            <a:lvl3pPr marL="609448" indent="0">
              <a:buNone/>
              <a:defRPr sz="667"/>
            </a:lvl3pPr>
            <a:lvl4pPr marL="914171" indent="0">
              <a:buNone/>
              <a:defRPr sz="600"/>
            </a:lvl4pPr>
            <a:lvl5pPr marL="1218895" indent="0">
              <a:buNone/>
              <a:defRPr sz="600"/>
            </a:lvl5pPr>
            <a:lvl6pPr marL="1523619" indent="0">
              <a:buNone/>
              <a:defRPr sz="600"/>
            </a:lvl6pPr>
            <a:lvl7pPr marL="1828343" indent="0">
              <a:buNone/>
              <a:defRPr sz="600"/>
            </a:lvl7pPr>
            <a:lvl8pPr marL="2133067" indent="0">
              <a:buNone/>
              <a:defRPr sz="600"/>
            </a:lvl8pPr>
            <a:lvl9pPr marL="2437790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4-Sep-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8122254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4-Sep-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0585179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419601" y="183093"/>
            <a:ext cx="1371600" cy="390101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1" y="183093"/>
            <a:ext cx="4013200" cy="390101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4-Sep-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5386275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MWorld 2019 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CCB80977-0BD2-7341-9AFB-3EACC4265B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3896" y="1592898"/>
            <a:ext cx="2743915" cy="356616"/>
          </a:xfrm>
        </p:spPr>
        <p:txBody>
          <a:bodyPr lIns="91440" tIns="45720" rIns="91440" bIns="45720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ESSION I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2262" y="2018806"/>
            <a:ext cx="6064557" cy="2316593"/>
          </a:xfrm>
        </p:spPr>
        <p:txBody>
          <a:bodyPr wrap="square" anchor="ctr"/>
          <a:lstStyle>
            <a:lvl1pPr algn="l">
              <a:defRPr sz="3200" b="0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EA43E1E-B208-4DC4-9D6A-01669D00DA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7343" y="4399439"/>
            <a:ext cx="6365526" cy="693588"/>
          </a:xfrm>
        </p:spPr>
        <p:txBody>
          <a:bodyPr anchor="b"/>
          <a:lstStyle>
            <a:lvl1pPr algn="l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uthor Name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3" name="Ink 2">
                <a:extLst>
                  <a:ext uri="{FF2B5EF4-FFF2-40B4-BE49-F238E27FC236}">
                    <a16:creationId xmlns:a16="http://schemas.microsoft.com/office/drawing/2014/main" id="{229416F8-1B20-4892-97FA-108F191A5885}"/>
                  </a:ext>
                </a:extLst>
              </p14:cNvPr>
              <p14:cNvContentPartPr/>
              <p14:nvPr userDrawn="1"/>
            </p14:nvContentPartPr>
            <p14:xfrm>
              <a:off x="9862161" y="4881179"/>
              <a:ext cx="240" cy="240"/>
            </p14:xfrm>
          </p:contentPart>
        </mc:Choice>
        <mc:Fallback xmlns="">
          <p:pic>
            <p:nvPicPr>
              <p:cNvPr id="3" name="Ink 2">
                <a:extLst>
                  <a:ext uri="{FF2B5EF4-FFF2-40B4-BE49-F238E27FC236}">
                    <a16:creationId xmlns:a16="http://schemas.microsoft.com/office/drawing/2014/main" id="{229416F8-1B20-4892-97FA-108F191A5885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9858081" y="4877099"/>
                <a:ext cx="7920" cy="7920"/>
              </a:xfrm>
              <a:prstGeom prst="rect">
                <a:avLst/>
              </a:prstGeom>
            </p:spPr>
          </p:pic>
        </mc:Fallback>
      </mc:AlternateContent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D60E303A-ABCF-DC49-A2F6-B695B992CF16}"/>
              </a:ext>
            </a:extLst>
          </p:cNvPr>
          <p:cNvSpPr txBox="1">
            <a:spLocks/>
          </p:cNvSpPr>
          <p:nvPr userDrawn="1"/>
        </p:nvSpPr>
        <p:spPr>
          <a:xfrm>
            <a:off x="520411" y="5494345"/>
            <a:ext cx="868242" cy="26517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-18415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44538" indent="-169863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Camphor Std" panose="020B0504030404020204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69963" indent="-166688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43000" indent="-138113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SzPct val="90000"/>
              <a:buFont typeface="Camphor Std" panose="020B0504030404020204" pitchFamily="34" charset="0"/>
              <a:buChar char="–"/>
              <a:tabLst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28600" indent="-2286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2"/>
              </a:buClr>
              <a:buSzPct val="90000"/>
              <a:buFont typeface="+mj-lt"/>
              <a:buAutoNum type="arabicPeriod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512763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SzPct val="90000"/>
              <a:buFont typeface="+mj-lt"/>
              <a:buAutoNum type="alphaLcPeriod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741363" indent="-1666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90000"/>
              <a:buFont typeface="+mj-lt"/>
              <a:buAutoNum type="romanLcPeriod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4163" indent="-284163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2"/>
              </a:buClr>
              <a:buSzPct val="90000"/>
              <a:buFont typeface="+mj-lt"/>
              <a:buAutoNum type="alphaUcPeriod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#</a:t>
            </a:r>
            <a:r>
              <a:rPr lang="en-US" sz="1100" dirty="0" err="1"/>
              <a:t>vmworld</a:t>
            </a:r>
            <a:endParaRPr lang="en-US" sz="11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457031D-4C2A-AB4B-BB71-98CDCF3B5B4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30402" y="5494345"/>
            <a:ext cx="2743915" cy="265176"/>
          </a:xfrm>
        </p:spPr>
        <p:txBody>
          <a:bodyPr lIns="91440" tIns="45720" rIns="91440" bIns="45720"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#Session ID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FCFE09E-4BAB-410D-8839-7F55AE6C5F73}"/>
              </a:ext>
            </a:extLst>
          </p:cNvPr>
          <p:cNvGrpSpPr/>
          <p:nvPr userDrawn="1"/>
        </p:nvGrpSpPr>
        <p:grpSpPr>
          <a:xfrm>
            <a:off x="608171" y="6445106"/>
            <a:ext cx="1184706" cy="186690"/>
            <a:chOff x="863272" y="6563918"/>
            <a:chExt cx="861082" cy="135727"/>
          </a:xfrm>
          <a:solidFill>
            <a:srgbClr val="000000"/>
          </a:solidFill>
        </p:grpSpPr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25DEEA5A-3FD1-4B13-B0F8-6C265D9DC8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F5656BF0-23A2-4D02-B6D0-CBE386A1E4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4D82AE93-B9CC-418E-8DA9-1DF1155691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7F282F98-6A70-42EB-8ACF-064939FCE3F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5F0C44B4-2D48-4CB5-B49F-D20B0D1D9E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4D0E98FA-CD6E-4A26-B96B-01235504CFF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18" name="Freeform 12">
              <a:extLst>
                <a:ext uri="{FF2B5EF4-FFF2-40B4-BE49-F238E27FC236}">
                  <a16:creationId xmlns:a16="http://schemas.microsoft.com/office/drawing/2014/main" id="{92331649-57B7-4CBF-8F81-657DF6830A6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</p:grpSp>
    </p:spTree>
    <p:extLst>
      <p:ext uri="{BB962C8B-B14F-4D97-AF65-F5344CB8AC3E}">
        <p14:creationId xmlns:p14="http://schemas.microsoft.com/office/powerpoint/2010/main" val="1913304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Metric 3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" y="568505"/>
            <a:ext cx="12192127" cy="6289499"/>
          </a:xfrm>
          <a:prstGeom prst="rect">
            <a:avLst/>
          </a:prstGeom>
        </p:spPr>
      </p:pic>
      <p:grpSp>
        <p:nvGrpSpPr>
          <p:cNvPr id="24" name="Group 23"/>
          <p:cNvGrpSpPr/>
          <p:nvPr/>
        </p:nvGrpSpPr>
        <p:grpSpPr>
          <a:xfrm>
            <a:off x="618039" y="6446072"/>
            <a:ext cx="1100080" cy="173355"/>
            <a:chOff x="-84138" y="5622925"/>
            <a:chExt cx="4330701" cy="682626"/>
          </a:xfrm>
        </p:grpSpPr>
        <p:sp>
          <p:nvSpPr>
            <p:cNvPr id="25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6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7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8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9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30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31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27201" y="4740499"/>
            <a:ext cx="4064000" cy="1415602"/>
          </a:xfrm>
        </p:spPr>
        <p:txBody>
          <a:bodyPr anchor="ctr"/>
          <a:lstStyle>
            <a:lvl1pPr marL="3175" indent="0" algn="r">
              <a:spcBef>
                <a:spcPts val="0"/>
              </a:spcBef>
              <a:buNone/>
              <a:defRPr sz="88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6096014" y="4740499"/>
            <a:ext cx="4511040" cy="1415602"/>
          </a:xfrm>
        </p:spPr>
        <p:txBody>
          <a:bodyPr anchor="ctr"/>
          <a:lstStyle>
            <a:lvl1pPr marL="3175" indent="0">
              <a:spcBef>
                <a:spcPts val="0"/>
              </a:spcBef>
              <a:buNone/>
              <a:defRPr sz="24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wipe dir="r"/>
      </p:transition>
    </mc:Choice>
    <mc:Fallback xmlns="">
      <p:transition xmlns:p14="http://schemas.microsoft.com/office/powerpoint/2010/main" spd="slow">
        <p:wipe dir="r"/>
      </p:transition>
    </mc:Fallback>
  </mc:AlternateConten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VMWorld 2019 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CCB80977-0BD2-7341-9AFB-3EACC4265B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3733" y="1592898"/>
            <a:ext cx="2743915" cy="356616"/>
          </a:xfrm>
        </p:spPr>
        <p:txBody>
          <a:bodyPr lIns="91440" tIns="45720" rIns="91440" bIns="45720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ESSION I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1612" y="2018806"/>
            <a:ext cx="6064557" cy="2316593"/>
          </a:xfrm>
        </p:spPr>
        <p:txBody>
          <a:bodyPr wrap="square" anchor="ctr"/>
          <a:lstStyle>
            <a:lvl1pPr algn="l">
              <a:defRPr sz="3200" b="0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EA43E1E-B208-4DC4-9D6A-01669D00DA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1611" y="4399439"/>
            <a:ext cx="6365526" cy="693588"/>
          </a:xfrm>
        </p:spPr>
        <p:txBody>
          <a:bodyPr anchor="b"/>
          <a:lstStyle>
            <a:lvl1pPr algn="l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uthor Name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3" name="Ink 2">
                <a:extLst>
                  <a:ext uri="{FF2B5EF4-FFF2-40B4-BE49-F238E27FC236}">
                    <a16:creationId xmlns:a16="http://schemas.microsoft.com/office/drawing/2014/main" id="{229416F8-1B20-4892-97FA-108F191A5885}"/>
                  </a:ext>
                </a:extLst>
              </p14:cNvPr>
              <p14:cNvContentPartPr/>
              <p14:nvPr userDrawn="1"/>
            </p14:nvContentPartPr>
            <p14:xfrm>
              <a:off x="9862161" y="4881179"/>
              <a:ext cx="240" cy="240"/>
            </p14:xfrm>
          </p:contentPart>
        </mc:Choice>
        <mc:Fallback xmlns="">
          <p:pic>
            <p:nvPicPr>
              <p:cNvPr id="3" name="Ink 2">
                <a:extLst>
                  <a:ext uri="{FF2B5EF4-FFF2-40B4-BE49-F238E27FC236}">
                    <a16:creationId xmlns:a16="http://schemas.microsoft.com/office/drawing/2014/main" id="{229416F8-1B20-4892-97FA-108F191A5885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9858081" y="4877099"/>
                <a:ext cx="7920" cy="7920"/>
              </a:xfrm>
              <a:prstGeom prst="rect">
                <a:avLst/>
              </a:prstGeom>
            </p:spPr>
          </p:pic>
        </mc:Fallback>
      </mc:AlternateContent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D60E303A-ABCF-DC49-A2F6-B695B992CF16}"/>
              </a:ext>
            </a:extLst>
          </p:cNvPr>
          <p:cNvSpPr txBox="1">
            <a:spLocks/>
          </p:cNvSpPr>
          <p:nvPr userDrawn="1"/>
        </p:nvSpPr>
        <p:spPr>
          <a:xfrm>
            <a:off x="474679" y="5494345"/>
            <a:ext cx="868242" cy="26517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-18415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44538" indent="-169863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Camphor Std" panose="020B0504030404020204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69963" indent="-166688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43000" indent="-138113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SzPct val="90000"/>
              <a:buFont typeface="Camphor Std" panose="020B0504030404020204" pitchFamily="34" charset="0"/>
              <a:buChar char="–"/>
              <a:tabLst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28600" indent="-2286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2"/>
              </a:buClr>
              <a:buSzPct val="90000"/>
              <a:buFont typeface="+mj-lt"/>
              <a:buAutoNum type="arabicPeriod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512763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SzPct val="90000"/>
              <a:buFont typeface="+mj-lt"/>
              <a:buAutoNum type="alphaLcPeriod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741363" indent="-1666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90000"/>
              <a:buFont typeface="+mj-lt"/>
              <a:buAutoNum type="romanLcPeriod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4163" indent="-284163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2"/>
              </a:buClr>
              <a:buSzPct val="90000"/>
              <a:buFont typeface="+mj-lt"/>
              <a:buAutoNum type="alphaUcPeriod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#</a:t>
            </a:r>
            <a:r>
              <a:rPr lang="en-US" sz="1100" dirty="0" err="1"/>
              <a:t>vmworld</a:t>
            </a:r>
            <a:endParaRPr lang="en-US" sz="11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457031D-4C2A-AB4B-BB71-98CDCF3B5B4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84670" y="5494345"/>
            <a:ext cx="2743915" cy="265176"/>
          </a:xfrm>
        </p:spPr>
        <p:txBody>
          <a:bodyPr lIns="91440" tIns="45720" rIns="91440" bIns="45720"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#Session ID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6C1755B-D10B-4DE9-8F73-291FDE1C9EF7}"/>
              </a:ext>
            </a:extLst>
          </p:cNvPr>
          <p:cNvGrpSpPr/>
          <p:nvPr userDrawn="1"/>
        </p:nvGrpSpPr>
        <p:grpSpPr>
          <a:xfrm>
            <a:off x="608171" y="6445106"/>
            <a:ext cx="1184706" cy="186690"/>
            <a:chOff x="863272" y="6563918"/>
            <a:chExt cx="861082" cy="135727"/>
          </a:xfrm>
          <a:solidFill>
            <a:srgbClr val="000000"/>
          </a:solidFill>
        </p:grpSpPr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2CB72D9A-EA84-49DA-A1E1-84EB861822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BA317D96-7C93-4060-9FAD-6FC121493A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50F6B74A-97D0-4596-9ECB-FBAD15F831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0B5EB084-CE3E-40BD-B3F4-CE1D64901A3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775D2D8B-EE11-4E5B-9249-0EAD1B5A8B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2DE19D4A-CAB4-44E1-92FD-C62AC267CC7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18" name="Freeform 12">
              <a:extLst>
                <a:ext uri="{FF2B5EF4-FFF2-40B4-BE49-F238E27FC236}">
                  <a16:creationId xmlns:a16="http://schemas.microsoft.com/office/drawing/2014/main" id="{8E676C2C-4534-456F-A675-951F71BB715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</p:grpSp>
    </p:spTree>
    <p:extLst>
      <p:ext uri="{BB962C8B-B14F-4D97-AF65-F5344CB8AC3E}">
        <p14:creationId xmlns:p14="http://schemas.microsoft.com/office/powerpoint/2010/main" val="2328565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7B8237B5-7ACD-405C-AA82-7A389CAE13C0}"/>
              </a:ext>
            </a:extLst>
          </p:cNvPr>
          <p:cNvSpPr txBox="1"/>
          <p:nvPr userDrawn="1"/>
        </p:nvSpPr>
        <p:spPr>
          <a:xfrm>
            <a:off x="579961" y="412751"/>
            <a:ext cx="11032080" cy="387798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800" b="1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z="2800" b="0" dirty="0"/>
              <a:t>Disclaimer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AE3A976-8DBE-4104-ACC9-FB5F1D2BA488}"/>
              </a:ext>
            </a:extLst>
          </p:cNvPr>
          <p:cNvSpPr txBox="1"/>
          <p:nvPr userDrawn="1"/>
        </p:nvSpPr>
        <p:spPr>
          <a:xfrm>
            <a:off x="616111" y="1179514"/>
            <a:ext cx="11004241" cy="49926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1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2000">
                <a:solidFill>
                  <a:schemeClr val="tx2"/>
                </a:solidFill>
              </a:defRPr>
            </a:lvl1pPr>
            <a:lvl2pPr indent="-184150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</a:defRPr>
            </a:lvl2pPr>
            <a:lvl3pPr marL="744538" indent="-169863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Camphor Std" panose="020B0504030404020204" pitchFamily="34" charset="0"/>
              <a:buChar char="–"/>
              <a:defRPr sz="1600">
                <a:solidFill>
                  <a:schemeClr val="tx2"/>
                </a:solidFill>
              </a:defRPr>
            </a:lvl3pPr>
            <a:lvl4pPr marL="969963" indent="-166688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4pPr>
            <a:lvl5pPr marL="1143000" indent="-138113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SzPct val="90000"/>
              <a:buFont typeface="Camphor Std" panose="020B0504030404020204" pitchFamily="34" charset="0"/>
              <a:buChar char="–"/>
              <a:tabLst/>
              <a:defRPr sz="1400">
                <a:solidFill>
                  <a:schemeClr val="tx2"/>
                </a:solidFill>
              </a:defRPr>
            </a:lvl5pPr>
            <a:lvl6pPr marL="228600" indent="-228600">
              <a:lnSpc>
                <a:spcPct val="100000"/>
              </a:lnSpc>
              <a:spcBef>
                <a:spcPts val="1800"/>
              </a:spcBef>
              <a:buClr>
                <a:schemeClr val="tx2"/>
              </a:buClr>
              <a:buSzPct val="90000"/>
              <a:buFont typeface="+mj-lt"/>
              <a:buAutoNum type="arabicPeriod"/>
              <a:defRPr sz="2000">
                <a:solidFill>
                  <a:schemeClr val="tx2"/>
                </a:solidFill>
              </a:defRPr>
            </a:lvl6pPr>
            <a:lvl7pPr marL="512763" indent="-228600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SzPct val="90000"/>
              <a:buFont typeface="+mj-lt"/>
              <a:buAutoNum type="alphaLcPeriod"/>
              <a:defRPr sz="1600">
                <a:solidFill>
                  <a:schemeClr val="tx2"/>
                </a:solidFill>
              </a:defRPr>
            </a:lvl7pPr>
            <a:lvl8pPr marL="741363" indent="-166688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90000"/>
              <a:buFont typeface="+mj-lt"/>
              <a:buAutoNum type="romanLcPeriod"/>
              <a:defRPr sz="1400">
                <a:solidFill>
                  <a:schemeClr val="tx2"/>
                </a:solidFill>
              </a:defRPr>
            </a:lvl8pPr>
            <a:lvl9pPr marL="284163" indent="-284163">
              <a:lnSpc>
                <a:spcPct val="100000"/>
              </a:lnSpc>
              <a:spcBef>
                <a:spcPts val="1800"/>
              </a:spcBef>
              <a:buClr>
                <a:schemeClr val="tx2"/>
              </a:buClr>
              <a:buSzPct val="90000"/>
              <a:buFont typeface="+mj-lt"/>
              <a:buAutoNum type="alphaUcPeriod"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2000" dirty="0"/>
              <a:t>This presentation may contain product features or functionality that are currently </a:t>
            </a:r>
            <a:br>
              <a:rPr lang="en-US" sz="2000" dirty="0"/>
            </a:br>
            <a:r>
              <a:rPr lang="en-US" sz="2000" dirty="0"/>
              <a:t>under development.</a:t>
            </a:r>
          </a:p>
          <a:p>
            <a:pPr lvl="0"/>
            <a:r>
              <a:rPr lang="en-US" sz="2000" dirty="0"/>
              <a:t>This overview of new technology represents no commitment from VMware to deliver </a:t>
            </a:r>
            <a:br>
              <a:rPr lang="en-US" sz="2000" dirty="0"/>
            </a:br>
            <a:r>
              <a:rPr lang="en-US" sz="2000" dirty="0"/>
              <a:t>these features in any generally available product.</a:t>
            </a:r>
          </a:p>
          <a:p>
            <a:pPr lvl="0"/>
            <a:r>
              <a:rPr lang="en-US" sz="2000" dirty="0"/>
              <a:t>Features are subject to change, and must not be included in contracts, purchase orders, </a:t>
            </a:r>
            <a:br>
              <a:rPr lang="en-US" sz="2000" dirty="0"/>
            </a:br>
            <a:r>
              <a:rPr lang="en-US" sz="2000" dirty="0"/>
              <a:t>or sales agreements of any kind.</a:t>
            </a:r>
          </a:p>
          <a:p>
            <a:pPr lvl="0"/>
            <a:r>
              <a:rPr lang="en-US" sz="2000" dirty="0"/>
              <a:t>Technical feasibility and market demand will affect final delivery.</a:t>
            </a:r>
          </a:p>
          <a:p>
            <a:pPr lvl="0"/>
            <a:r>
              <a:rPr lang="en-US" sz="2000" dirty="0"/>
              <a:t>Pricing and packaging for any new features/functionality/technology discussed </a:t>
            </a:r>
            <a:br>
              <a:rPr lang="en-US" sz="2000" dirty="0"/>
            </a:br>
            <a:r>
              <a:rPr lang="en-US" sz="2000" dirty="0"/>
              <a:t>or presented, have not been determined.</a:t>
            </a:r>
          </a:p>
          <a:p>
            <a:pPr lvl="0"/>
            <a:r>
              <a:rPr lang="en-US" sz="2000" dirty="0"/>
              <a:t>This information is confidential.</a:t>
            </a:r>
          </a:p>
          <a:p>
            <a:pPr lvl="0"/>
            <a:endParaRPr lang="en-US" sz="20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27E3E8B-0F66-4996-9785-6E9531D89A5A}"/>
              </a:ext>
            </a:extLst>
          </p:cNvPr>
          <p:cNvSpPr txBox="1"/>
          <p:nvPr userDrawn="1"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389AEDD5-7C64-4152-A027-B7502460419A}"/>
              </a:ext>
            </a:extLst>
          </p:cNvPr>
          <p:cNvSpPr txBox="1">
            <a:spLocks/>
          </p:cNvSpPr>
          <p:nvPr userDrawn="1"/>
        </p:nvSpPr>
        <p:spPr>
          <a:xfrm>
            <a:off x="580111" y="5779900"/>
            <a:ext cx="10620051" cy="92354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rgbClr val="717074"/>
                </a:solidFill>
                <a:latin typeface="Metropolis"/>
              </a:rPr>
              <a:t>The information in this presentation is for informational purposes only and may not be incorporated into any contract. There is no commitment or obligation to deliver any items presented herein. </a:t>
            </a:r>
          </a:p>
        </p:txBody>
      </p:sp>
    </p:spTree>
    <p:extLst>
      <p:ext uri="{BB962C8B-B14F-4D97-AF65-F5344CB8AC3E}">
        <p14:creationId xmlns:p14="http://schemas.microsoft.com/office/powerpoint/2010/main" val="3086185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MWorld 2019 Surve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A2EE614E-B8DF-49FF-A29A-CF938E5298B5}"/>
              </a:ext>
            </a:extLst>
          </p:cNvPr>
          <p:cNvGrpSpPr/>
          <p:nvPr userDrawn="1"/>
        </p:nvGrpSpPr>
        <p:grpSpPr>
          <a:xfrm>
            <a:off x="608171" y="6445106"/>
            <a:ext cx="1184706" cy="186690"/>
            <a:chOff x="863272" y="6563918"/>
            <a:chExt cx="861082" cy="135727"/>
          </a:xfrm>
          <a:solidFill>
            <a:srgbClr val="000000"/>
          </a:solidFill>
        </p:grpSpPr>
        <p:sp>
          <p:nvSpPr>
            <p:cNvPr id="4" name="Freeform 6">
              <a:extLst>
                <a:ext uri="{FF2B5EF4-FFF2-40B4-BE49-F238E27FC236}">
                  <a16:creationId xmlns:a16="http://schemas.microsoft.com/office/drawing/2014/main" id="{A2BF92AD-77E8-407F-A1CA-FCD5D3C9F9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5" name="Freeform 7">
              <a:extLst>
                <a:ext uri="{FF2B5EF4-FFF2-40B4-BE49-F238E27FC236}">
                  <a16:creationId xmlns:a16="http://schemas.microsoft.com/office/drawing/2014/main" id="{AF7712D8-1921-4DEA-9DB9-2BF2C4170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6" name="Freeform 8">
              <a:extLst>
                <a:ext uri="{FF2B5EF4-FFF2-40B4-BE49-F238E27FC236}">
                  <a16:creationId xmlns:a16="http://schemas.microsoft.com/office/drawing/2014/main" id="{7F6CA8C3-E7CA-49C9-AC01-9508DAE9F8A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7" name="Freeform 9">
              <a:extLst>
                <a:ext uri="{FF2B5EF4-FFF2-40B4-BE49-F238E27FC236}">
                  <a16:creationId xmlns:a16="http://schemas.microsoft.com/office/drawing/2014/main" id="{4B0E5B65-AB16-47EB-A410-C584C9A1AB4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64266D19-9715-4A95-B7B4-E5A066D2A2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9" name="Freeform 11">
              <a:extLst>
                <a:ext uri="{FF2B5EF4-FFF2-40B4-BE49-F238E27FC236}">
                  <a16:creationId xmlns:a16="http://schemas.microsoft.com/office/drawing/2014/main" id="{D63829FD-0D3D-4B09-8D7D-C69659F8599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10" name="Freeform 12">
              <a:extLst>
                <a:ext uri="{FF2B5EF4-FFF2-40B4-BE49-F238E27FC236}">
                  <a16:creationId xmlns:a16="http://schemas.microsoft.com/office/drawing/2014/main" id="{D34320CE-0BE2-4F60-9A16-F0D824F7208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</p:grpSp>
    </p:spTree>
    <p:extLst>
      <p:ext uri="{BB962C8B-B14F-4D97-AF65-F5344CB8AC3E}">
        <p14:creationId xmlns:p14="http://schemas.microsoft.com/office/powerpoint/2010/main" val="3704767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MWorld 2019 Thank yo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3736A0BB-180F-4EDF-BD8E-B10AAD948BC1}"/>
              </a:ext>
            </a:extLst>
          </p:cNvPr>
          <p:cNvGrpSpPr/>
          <p:nvPr userDrawn="1"/>
        </p:nvGrpSpPr>
        <p:grpSpPr>
          <a:xfrm>
            <a:off x="608171" y="6445106"/>
            <a:ext cx="1184706" cy="186690"/>
            <a:chOff x="863272" y="6563918"/>
            <a:chExt cx="861082" cy="135727"/>
          </a:xfrm>
          <a:solidFill>
            <a:srgbClr val="000000"/>
          </a:solidFill>
        </p:grpSpPr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A0D8B517-037E-439E-B2ED-2B6DDC676D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C0A948D3-1D9C-4F68-82DC-C0699DDB36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037EFDE3-E294-4AA8-B8AC-22154B23EB1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F0FEC8EE-8173-4F0A-A578-1B5522510AB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FBA6F221-7747-48BF-A386-FF6E6EE837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10" name="Freeform 11">
              <a:extLst>
                <a:ext uri="{FF2B5EF4-FFF2-40B4-BE49-F238E27FC236}">
                  <a16:creationId xmlns:a16="http://schemas.microsoft.com/office/drawing/2014/main" id="{1FC5AC0A-0058-4BC1-93B3-31A99741672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19B03FE5-8B71-40A0-8050-CD6007A14E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</p:grpSp>
    </p:spTree>
    <p:extLst>
      <p:ext uri="{BB962C8B-B14F-4D97-AF65-F5344CB8AC3E}">
        <p14:creationId xmlns:p14="http://schemas.microsoft.com/office/powerpoint/2010/main" val="2308747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6782F443-93A0-4919-89E7-37E501919603}"/>
              </a:ext>
            </a:extLst>
          </p:cNvPr>
          <p:cNvSpPr/>
          <p:nvPr userDrawn="1"/>
        </p:nvSpPr>
        <p:spPr>
          <a:xfrm rot="2700000">
            <a:off x="1531792" y="-2581332"/>
            <a:ext cx="3206987" cy="9626036"/>
          </a:xfrm>
          <a:custGeom>
            <a:avLst/>
            <a:gdLst>
              <a:gd name="connsiteX0" fmla="*/ 3621 w 3204432"/>
              <a:gd name="connsiteY0" fmla="*/ 3200811 h 9623529"/>
              <a:gd name="connsiteX1" fmla="*/ 3204432 w 3204432"/>
              <a:gd name="connsiteY1" fmla="*/ 0 h 9623529"/>
              <a:gd name="connsiteX2" fmla="*/ 3204432 w 3204432"/>
              <a:gd name="connsiteY2" fmla="*/ 8389488 h 9623529"/>
              <a:gd name="connsiteX3" fmla="*/ 3197162 w 3204432"/>
              <a:gd name="connsiteY3" fmla="*/ 8389488 h 9623529"/>
              <a:gd name="connsiteX4" fmla="*/ 3201565 w 3204432"/>
              <a:gd name="connsiteY4" fmla="*/ 8393890 h 9623529"/>
              <a:gd name="connsiteX5" fmla="*/ 1971926 w 3204432"/>
              <a:gd name="connsiteY5" fmla="*/ 9623529 h 9623529"/>
              <a:gd name="connsiteX6" fmla="*/ 0 w 3204432"/>
              <a:gd name="connsiteY6" fmla="*/ 7651603 h 9623529"/>
              <a:gd name="connsiteX7" fmla="*/ 3621 w 3204432"/>
              <a:gd name="connsiteY7" fmla="*/ 7647982 h 9623529"/>
              <a:gd name="connsiteX8" fmla="*/ 3621 w 3204432"/>
              <a:gd name="connsiteY8" fmla="*/ 3200811 h 9623529"/>
              <a:gd name="connsiteX0" fmla="*/ 3621 w 3206055"/>
              <a:gd name="connsiteY0" fmla="*/ 3200811 h 9623529"/>
              <a:gd name="connsiteX1" fmla="*/ 3204432 w 3206055"/>
              <a:gd name="connsiteY1" fmla="*/ 0 h 9623529"/>
              <a:gd name="connsiteX2" fmla="*/ 3204432 w 3206055"/>
              <a:gd name="connsiteY2" fmla="*/ 8389488 h 9623529"/>
              <a:gd name="connsiteX3" fmla="*/ 3197162 w 3206055"/>
              <a:gd name="connsiteY3" fmla="*/ 8389488 h 9623529"/>
              <a:gd name="connsiteX4" fmla="*/ 3206055 w 3206055"/>
              <a:gd name="connsiteY4" fmla="*/ 9386208 h 9623529"/>
              <a:gd name="connsiteX5" fmla="*/ 1971926 w 3206055"/>
              <a:gd name="connsiteY5" fmla="*/ 9623529 h 9623529"/>
              <a:gd name="connsiteX6" fmla="*/ 0 w 3206055"/>
              <a:gd name="connsiteY6" fmla="*/ 7651603 h 9623529"/>
              <a:gd name="connsiteX7" fmla="*/ 3621 w 3206055"/>
              <a:gd name="connsiteY7" fmla="*/ 7647982 h 9623529"/>
              <a:gd name="connsiteX8" fmla="*/ 3621 w 3206055"/>
              <a:gd name="connsiteY8" fmla="*/ 3200811 h 9623529"/>
              <a:gd name="connsiteX0" fmla="*/ 3621 w 3206987"/>
              <a:gd name="connsiteY0" fmla="*/ 3200811 h 9623529"/>
              <a:gd name="connsiteX1" fmla="*/ 3204432 w 3206987"/>
              <a:gd name="connsiteY1" fmla="*/ 0 h 9623529"/>
              <a:gd name="connsiteX2" fmla="*/ 3204432 w 3206987"/>
              <a:gd name="connsiteY2" fmla="*/ 8389488 h 9623529"/>
              <a:gd name="connsiteX3" fmla="*/ 3206142 w 3206987"/>
              <a:gd name="connsiteY3" fmla="*/ 8407448 h 9623529"/>
              <a:gd name="connsiteX4" fmla="*/ 3206055 w 3206987"/>
              <a:gd name="connsiteY4" fmla="*/ 9386208 h 9623529"/>
              <a:gd name="connsiteX5" fmla="*/ 1971926 w 3206987"/>
              <a:gd name="connsiteY5" fmla="*/ 9623529 h 9623529"/>
              <a:gd name="connsiteX6" fmla="*/ 0 w 3206987"/>
              <a:gd name="connsiteY6" fmla="*/ 7651603 h 9623529"/>
              <a:gd name="connsiteX7" fmla="*/ 3621 w 3206987"/>
              <a:gd name="connsiteY7" fmla="*/ 7647982 h 9623529"/>
              <a:gd name="connsiteX8" fmla="*/ 3621 w 3206987"/>
              <a:gd name="connsiteY8" fmla="*/ 3200811 h 9623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206987" h="9623529">
                <a:moveTo>
                  <a:pt x="3621" y="3200811"/>
                </a:moveTo>
                <a:lnTo>
                  <a:pt x="3204432" y="0"/>
                </a:lnTo>
                <a:lnTo>
                  <a:pt x="3204432" y="8389488"/>
                </a:lnTo>
                <a:lnTo>
                  <a:pt x="3206142" y="8407448"/>
                </a:lnTo>
                <a:cubicBezTo>
                  <a:pt x="3209106" y="8739688"/>
                  <a:pt x="3203091" y="9053968"/>
                  <a:pt x="3206055" y="9386208"/>
                </a:cubicBezTo>
                <a:lnTo>
                  <a:pt x="1971926" y="9623529"/>
                </a:lnTo>
                <a:lnTo>
                  <a:pt x="0" y="7651603"/>
                </a:lnTo>
                <a:lnTo>
                  <a:pt x="3621" y="7647982"/>
                </a:lnTo>
                <a:lnTo>
                  <a:pt x="3621" y="3200811"/>
                </a:lnTo>
                <a:close/>
              </a:path>
            </a:pathLst>
          </a:custGeom>
          <a:gradFill>
            <a:gsLst>
              <a:gs pos="24000">
                <a:schemeClr val="accent4"/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72DCDC53-603A-40A5-A8CC-0073D40D11EF}"/>
              </a:ext>
            </a:extLst>
          </p:cNvPr>
          <p:cNvSpPr/>
          <p:nvPr userDrawn="1"/>
        </p:nvSpPr>
        <p:spPr>
          <a:xfrm rot="2700000">
            <a:off x="1633012" y="1229961"/>
            <a:ext cx="3535790" cy="7516105"/>
          </a:xfrm>
          <a:custGeom>
            <a:avLst/>
            <a:gdLst>
              <a:gd name="connsiteX0" fmla="*/ 0 w 3535790"/>
              <a:gd name="connsiteY0" fmla="*/ 0 h 7514148"/>
              <a:gd name="connsiteX1" fmla="*/ 3535790 w 3535790"/>
              <a:gd name="connsiteY1" fmla="*/ 0 h 7514148"/>
              <a:gd name="connsiteX2" fmla="*/ 3535790 w 3535790"/>
              <a:gd name="connsiteY2" fmla="*/ 4642648 h 7514148"/>
              <a:gd name="connsiteX3" fmla="*/ 706090 w 3535790"/>
              <a:gd name="connsiteY3" fmla="*/ 7514148 h 7514148"/>
              <a:gd name="connsiteX4" fmla="*/ 0 w 3535790"/>
              <a:gd name="connsiteY4" fmla="*/ 6808058 h 7514148"/>
              <a:gd name="connsiteX5" fmla="*/ 0 w 3535790"/>
              <a:gd name="connsiteY5" fmla="*/ 0 h 7514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35790" h="7514148">
                <a:moveTo>
                  <a:pt x="0" y="0"/>
                </a:moveTo>
                <a:lnTo>
                  <a:pt x="3535790" y="0"/>
                </a:lnTo>
                <a:lnTo>
                  <a:pt x="3535790" y="4642648"/>
                </a:lnTo>
                <a:lnTo>
                  <a:pt x="706090" y="7514148"/>
                </a:lnTo>
                <a:lnTo>
                  <a:pt x="0" y="680805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143">
                <a:schemeClr val="bg1">
                  <a:alpha val="0"/>
                </a:schemeClr>
              </a:gs>
              <a:gs pos="14000">
                <a:schemeClr val="bg1">
                  <a:alpha val="0"/>
                </a:schemeClr>
              </a:gs>
              <a:gs pos="72000">
                <a:schemeClr val="accent1"/>
              </a:gs>
            </a:gsLst>
            <a:lin ang="4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94666" y="1582578"/>
            <a:ext cx="4997704" cy="1234440"/>
          </a:xfrm>
        </p:spPr>
        <p:txBody>
          <a:bodyPr wrap="square" anchor="b"/>
          <a:lstStyle>
            <a:lvl1pPr algn="l">
              <a:defRPr sz="4000" b="0"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8" name="Subtitle 2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594665" y="2867280"/>
            <a:ext cx="5117785" cy="4164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accent4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EA43E1E-B208-4DC4-9D6A-01669D00DA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94665" y="4737426"/>
            <a:ext cx="3658553" cy="355601"/>
          </a:xfrm>
        </p:spPr>
        <p:txBody>
          <a:bodyPr anchor="b"/>
          <a:lstStyle>
            <a:lvl1pPr algn="l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29" name="Text Placeholder 6">
            <a:extLst>
              <a:ext uri="{FF2B5EF4-FFF2-40B4-BE49-F238E27FC236}">
                <a16:creationId xmlns:a16="http://schemas.microsoft.com/office/drawing/2014/main" id="{2111BB8B-7B37-4FB4-B2CD-984FE1C6C5E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94665" y="5138746"/>
            <a:ext cx="3658553" cy="355601"/>
          </a:xfrm>
        </p:spPr>
        <p:txBody>
          <a:bodyPr/>
          <a:lstStyle>
            <a:lvl1pPr algn="l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Role / Division at VMwa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8E7D54E-C753-48F7-AB43-C7A586277F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94665" y="5494347"/>
            <a:ext cx="3658553" cy="267221"/>
          </a:xfrm>
        </p:spPr>
        <p:txBody>
          <a:bodyPr/>
          <a:lstStyle>
            <a:lvl1pPr algn="l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71B1726-E7C5-4C32-A22F-BB8C0CA833E9}"/>
              </a:ext>
            </a:extLst>
          </p:cNvPr>
          <p:cNvGrpSpPr/>
          <p:nvPr userDrawn="1"/>
        </p:nvGrpSpPr>
        <p:grpSpPr>
          <a:xfrm>
            <a:off x="608171" y="6445106"/>
            <a:ext cx="1184706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0AEE4566-BDD0-43EB-8593-753B4AFC53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CDDDBBBD-2B47-4F32-9507-B47217AD31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9A63A2EB-B414-427C-8975-27B69B276D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4AFD0B14-399F-447F-BBDD-FF049C867FA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0778A2AC-9D1D-4FDB-973A-47DEA98860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52873CFF-17A0-467C-B061-5E3FD5E92C7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C351EEF9-CE8C-4948-8867-FDC697419B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576FCBCF-AFA0-4D2E-AF64-919BFE9B44B8}"/>
              </a:ext>
            </a:extLst>
          </p:cNvPr>
          <p:cNvSpPr txBox="1"/>
          <p:nvPr userDrawn="1"/>
        </p:nvSpPr>
        <p:spPr bwMode="white">
          <a:xfrm flipH="1">
            <a:off x="2074133" y="6506318"/>
            <a:ext cx="172933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©2019 VMware, Inc.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3" name="Ink 2">
                <a:extLst>
                  <a:ext uri="{FF2B5EF4-FFF2-40B4-BE49-F238E27FC236}">
                    <a16:creationId xmlns:a16="http://schemas.microsoft.com/office/drawing/2014/main" id="{229416F8-1B20-4892-97FA-108F191A5885}"/>
                  </a:ext>
                </a:extLst>
              </p14:cNvPr>
              <p14:cNvContentPartPr/>
              <p14:nvPr userDrawn="1"/>
            </p14:nvContentPartPr>
            <p14:xfrm>
              <a:off x="9862161" y="4881179"/>
              <a:ext cx="240" cy="240"/>
            </p14:xfrm>
          </p:contentPart>
        </mc:Choice>
        <mc:Fallback xmlns="">
          <p:pic>
            <p:nvPicPr>
              <p:cNvPr id="3" name="Ink 2">
                <a:extLst>
                  <a:ext uri="{FF2B5EF4-FFF2-40B4-BE49-F238E27FC236}">
                    <a16:creationId xmlns:a16="http://schemas.microsoft.com/office/drawing/2014/main" id="{229416F8-1B20-4892-97FA-108F191A5885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9858081" y="4877099"/>
                <a:ext cx="7920" cy="79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4221359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– Plu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3" name="Ink 2">
                <a:extLst>
                  <a:ext uri="{FF2B5EF4-FFF2-40B4-BE49-F238E27FC236}">
                    <a16:creationId xmlns:a16="http://schemas.microsoft.com/office/drawing/2014/main" id="{229416F8-1B20-4892-97FA-108F191A5885}"/>
                  </a:ext>
                </a:extLst>
              </p14:cNvPr>
              <p14:cNvContentPartPr/>
              <p14:nvPr userDrawn="1"/>
            </p14:nvContentPartPr>
            <p14:xfrm>
              <a:off x="9862161" y="4881179"/>
              <a:ext cx="240" cy="240"/>
            </p14:xfrm>
          </p:contentPart>
        </mc:Choice>
        <mc:Fallback xmlns="">
          <p:pic>
            <p:nvPicPr>
              <p:cNvPr id="3" name="Ink 2">
                <a:extLst>
                  <a:ext uri="{FF2B5EF4-FFF2-40B4-BE49-F238E27FC236}">
                    <a16:creationId xmlns:a16="http://schemas.microsoft.com/office/drawing/2014/main" id="{229416F8-1B20-4892-97FA-108F191A5885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9858081" y="4877099"/>
                <a:ext cx="7920" cy="7920"/>
              </a:xfrm>
              <a:prstGeom prst="rect">
                <a:avLst/>
              </a:prstGeom>
            </p:spPr>
          </p:pic>
        </mc:Fallback>
      </mc:AlternateContent>
      <p:sp>
        <p:nvSpPr>
          <p:cNvPr id="31" name="Title 1">
            <a:extLst>
              <a:ext uri="{FF2B5EF4-FFF2-40B4-BE49-F238E27FC236}">
                <a16:creationId xmlns:a16="http://schemas.microsoft.com/office/drawing/2014/main" id="{3D92AECC-67F4-FA43-9A06-C4F4208FB7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94666" y="1582578"/>
            <a:ext cx="4997704" cy="1234440"/>
          </a:xfrm>
        </p:spPr>
        <p:txBody>
          <a:bodyPr wrap="square" anchor="b"/>
          <a:lstStyle>
            <a:lvl1pPr algn="l">
              <a:defRPr sz="4000" b="0"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0170EA3A-75C4-B643-BFC4-A8E0C9064762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594665" y="2871217"/>
            <a:ext cx="5117785" cy="4164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7E2FA50A-23FB-5740-A8CC-6F09423DB9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94665" y="4737426"/>
            <a:ext cx="3658553" cy="355601"/>
          </a:xfrm>
        </p:spPr>
        <p:txBody>
          <a:bodyPr anchor="b"/>
          <a:lstStyle>
            <a:lvl1pPr algn="l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1CF7D4E3-153C-C54E-B2B2-88F2FA1039D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94665" y="5138746"/>
            <a:ext cx="3658553" cy="355601"/>
          </a:xfrm>
        </p:spPr>
        <p:txBody>
          <a:bodyPr/>
          <a:lstStyle>
            <a:lvl1pPr algn="l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Role / Division at VMwa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72980BD0-E72E-C24D-B372-61DD67D1DC5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94665" y="5494345"/>
            <a:ext cx="3658553" cy="265176"/>
          </a:xfrm>
        </p:spPr>
        <p:txBody>
          <a:bodyPr/>
          <a:lstStyle>
            <a:lvl1pPr algn="l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6" name="Freeform: Shape 24">
            <a:extLst>
              <a:ext uri="{FF2B5EF4-FFF2-40B4-BE49-F238E27FC236}">
                <a16:creationId xmlns:a16="http://schemas.microsoft.com/office/drawing/2014/main" id="{9174621C-BE34-4244-A9B2-068656B503CB}"/>
              </a:ext>
            </a:extLst>
          </p:cNvPr>
          <p:cNvSpPr/>
          <p:nvPr userDrawn="1"/>
        </p:nvSpPr>
        <p:spPr>
          <a:xfrm rot="2700000">
            <a:off x="1531792" y="-2581332"/>
            <a:ext cx="3206987" cy="9626036"/>
          </a:xfrm>
          <a:custGeom>
            <a:avLst/>
            <a:gdLst>
              <a:gd name="connsiteX0" fmla="*/ 3621 w 3204432"/>
              <a:gd name="connsiteY0" fmla="*/ 3200811 h 9623529"/>
              <a:gd name="connsiteX1" fmla="*/ 3204432 w 3204432"/>
              <a:gd name="connsiteY1" fmla="*/ 0 h 9623529"/>
              <a:gd name="connsiteX2" fmla="*/ 3204432 w 3204432"/>
              <a:gd name="connsiteY2" fmla="*/ 8389488 h 9623529"/>
              <a:gd name="connsiteX3" fmla="*/ 3197162 w 3204432"/>
              <a:gd name="connsiteY3" fmla="*/ 8389488 h 9623529"/>
              <a:gd name="connsiteX4" fmla="*/ 3201565 w 3204432"/>
              <a:gd name="connsiteY4" fmla="*/ 8393890 h 9623529"/>
              <a:gd name="connsiteX5" fmla="*/ 1971926 w 3204432"/>
              <a:gd name="connsiteY5" fmla="*/ 9623529 h 9623529"/>
              <a:gd name="connsiteX6" fmla="*/ 0 w 3204432"/>
              <a:gd name="connsiteY6" fmla="*/ 7651603 h 9623529"/>
              <a:gd name="connsiteX7" fmla="*/ 3621 w 3204432"/>
              <a:gd name="connsiteY7" fmla="*/ 7647982 h 9623529"/>
              <a:gd name="connsiteX8" fmla="*/ 3621 w 3204432"/>
              <a:gd name="connsiteY8" fmla="*/ 3200811 h 9623529"/>
              <a:gd name="connsiteX0" fmla="*/ 3621 w 3206055"/>
              <a:gd name="connsiteY0" fmla="*/ 3200811 h 9623529"/>
              <a:gd name="connsiteX1" fmla="*/ 3204432 w 3206055"/>
              <a:gd name="connsiteY1" fmla="*/ 0 h 9623529"/>
              <a:gd name="connsiteX2" fmla="*/ 3204432 w 3206055"/>
              <a:gd name="connsiteY2" fmla="*/ 8389488 h 9623529"/>
              <a:gd name="connsiteX3" fmla="*/ 3197162 w 3206055"/>
              <a:gd name="connsiteY3" fmla="*/ 8389488 h 9623529"/>
              <a:gd name="connsiteX4" fmla="*/ 3206055 w 3206055"/>
              <a:gd name="connsiteY4" fmla="*/ 9386208 h 9623529"/>
              <a:gd name="connsiteX5" fmla="*/ 1971926 w 3206055"/>
              <a:gd name="connsiteY5" fmla="*/ 9623529 h 9623529"/>
              <a:gd name="connsiteX6" fmla="*/ 0 w 3206055"/>
              <a:gd name="connsiteY6" fmla="*/ 7651603 h 9623529"/>
              <a:gd name="connsiteX7" fmla="*/ 3621 w 3206055"/>
              <a:gd name="connsiteY7" fmla="*/ 7647982 h 9623529"/>
              <a:gd name="connsiteX8" fmla="*/ 3621 w 3206055"/>
              <a:gd name="connsiteY8" fmla="*/ 3200811 h 9623529"/>
              <a:gd name="connsiteX0" fmla="*/ 3621 w 3206987"/>
              <a:gd name="connsiteY0" fmla="*/ 3200811 h 9623529"/>
              <a:gd name="connsiteX1" fmla="*/ 3204432 w 3206987"/>
              <a:gd name="connsiteY1" fmla="*/ 0 h 9623529"/>
              <a:gd name="connsiteX2" fmla="*/ 3204432 w 3206987"/>
              <a:gd name="connsiteY2" fmla="*/ 8389488 h 9623529"/>
              <a:gd name="connsiteX3" fmla="*/ 3206142 w 3206987"/>
              <a:gd name="connsiteY3" fmla="*/ 8407448 h 9623529"/>
              <a:gd name="connsiteX4" fmla="*/ 3206055 w 3206987"/>
              <a:gd name="connsiteY4" fmla="*/ 9386208 h 9623529"/>
              <a:gd name="connsiteX5" fmla="*/ 1971926 w 3206987"/>
              <a:gd name="connsiteY5" fmla="*/ 9623529 h 9623529"/>
              <a:gd name="connsiteX6" fmla="*/ 0 w 3206987"/>
              <a:gd name="connsiteY6" fmla="*/ 7651603 h 9623529"/>
              <a:gd name="connsiteX7" fmla="*/ 3621 w 3206987"/>
              <a:gd name="connsiteY7" fmla="*/ 7647982 h 9623529"/>
              <a:gd name="connsiteX8" fmla="*/ 3621 w 3206987"/>
              <a:gd name="connsiteY8" fmla="*/ 3200811 h 9623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206987" h="9623529">
                <a:moveTo>
                  <a:pt x="3621" y="3200811"/>
                </a:moveTo>
                <a:lnTo>
                  <a:pt x="3204432" y="0"/>
                </a:lnTo>
                <a:lnTo>
                  <a:pt x="3204432" y="8389488"/>
                </a:lnTo>
                <a:lnTo>
                  <a:pt x="3206142" y="8407448"/>
                </a:lnTo>
                <a:cubicBezTo>
                  <a:pt x="3209106" y="8739688"/>
                  <a:pt x="3203091" y="9053968"/>
                  <a:pt x="3206055" y="9386208"/>
                </a:cubicBezTo>
                <a:lnTo>
                  <a:pt x="1971926" y="9623529"/>
                </a:lnTo>
                <a:lnTo>
                  <a:pt x="0" y="7651603"/>
                </a:lnTo>
                <a:lnTo>
                  <a:pt x="3621" y="7647982"/>
                </a:lnTo>
                <a:lnTo>
                  <a:pt x="3621" y="3200811"/>
                </a:lnTo>
                <a:close/>
              </a:path>
            </a:pathLst>
          </a:custGeom>
          <a:gradFill>
            <a:gsLst>
              <a:gs pos="24000">
                <a:srgbClr val="7F35AB"/>
              </a:gs>
              <a:gs pos="87000">
                <a:srgbClr val="264088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37" name="Freeform: Shape 25">
            <a:extLst>
              <a:ext uri="{FF2B5EF4-FFF2-40B4-BE49-F238E27FC236}">
                <a16:creationId xmlns:a16="http://schemas.microsoft.com/office/drawing/2014/main" id="{F111DA81-32A1-E642-9F12-C8CAA7953E45}"/>
              </a:ext>
            </a:extLst>
          </p:cNvPr>
          <p:cNvSpPr/>
          <p:nvPr userDrawn="1"/>
        </p:nvSpPr>
        <p:spPr>
          <a:xfrm rot="2700000">
            <a:off x="1633012" y="1229961"/>
            <a:ext cx="3535790" cy="7516105"/>
          </a:xfrm>
          <a:custGeom>
            <a:avLst/>
            <a:gdLst>
              <a:gd name="connsiteX0" fmla="*/ 0 w 3535790"/>
              <a:gd name="connsiteY0" fmla="*/ 0 h 7514148"/>
              <a:gd name="connsiteX1" fmla="*/ 3535790 w 3535790"/>
              <a:gd name="connsiteY1" fmla="*/ 0 h 7514148"/>
              <a:gd name="connsiteX2" fmla="*/ 3535790 w 3535790"/>
              <a:gd name="connsiteY2" fmla="*/ 4642648 h 7514148"/>
              <a:gd name="connsiteX3" fmla="*/ 706090 w 3535790"/>
              <a:gd name="connsiteY3" fmla="*/ 7514148 h 7514148"/>
              <a:gd name="connsiteX4" fmla="*/ 0 w 3535790"/>
              <a:gd name="connsiteY4" fmla="*/ 6808058 h 7514148"/>
              <a:gd name="connsiteX5" fmla="*/ 0 w 3535790"/>
              <a:gd name="connsiteY5" fmla="*/ 0 h 7514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35790" h="7514148">
                <a:moveTo>
                  <a:pt x="0" y="0"/>
                </a:moveTo>
                <a:lnTo>
                  <a:pt x="3535790" y="0"/>
                </a:lnTo>
                <a:lnTo>
                  <a:pt x="3535790" y="4642648"/>
                </a:lnTo>
                <a:lnTo>
                  <a:pt x="706090" y="7514148"/>
                </a:lnTo>
                <a:lnTo>
                  <a:pt x="0" y="680805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143">
                <a:schemeClr val="bg1">
                  <a:alpha val="0"/>
                </a:schemeClr>
              </a:gs>
              <a:gs pos="14000">
                <a:schemeClr val="bg1">
                  <a:alpha val="0"/>
                </a:schemeClr>
              </a:gs>
              <a:gs pos="72000">
                <a:schemeClr val="accent5"/>
              </a:gs>
            </a:gsLst>
            <a:lin ang="4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3827F595-C4C3-D54F-8237-041441748195}"/>
              </a:ext>
            </a:extLst>
          </p:cNvPr>
          <p:cNvGrpSpPr/>
          <p:nvPr userDrawn="1"/>
        </p:nvGrpSpPr>
        <p:grpSpPr>
          <a:xfrm>
            <a:off x="608171" y="6445106"/>
            <a:ext cx="1184706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39" name="Freeform 6">
              <a:extLst>
                <a:ext uri="{FF2B5EF4-FFF2-40B4-BE49-F238E27FC236}">
                  <a16:creationId xmlns:a16="http://schemas.microsoft.com/office/drawing/2014/main" id="{CEF78DE5-DF64-D544-8367-D25F3C456C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40" name="Freeform 7">
              <a:extLst>
                <a:ext uri="{FF2B5EF4-FFF2-40B4-BE49-F238E27FC236}">
                  <a16:creationId xmlns:a16="http://schemas.microsoft.com/office/drawing/2014/main" id="{80AB022A-9BAE-A449-B02F-B380AF69BD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41" name="Freeform 8">
              <a:extLst>
                <a:ext uri="{FF2B5EF4-FFF2-40B4-BE49-F238E27FC236}">
                  <a16:creationId xmlns:a16="http://schemas.microsoft.com/office/drawing/2014/main" id="{B94507C4-03A1-F943-A631-CEB9957BD91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42" name="Freeform 9">
              <a:extLst>
                <a:ext uri="{FF2B5EF4-FFF2-40B4-BE49-F238E27FC236}">
                  <a16:creationId xmlns:a16="http://schemas.microsoft.com/office/drawing/2014/main" id="{AA517E4A-818E-884D-96A3-CE43D289EDF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43" name="Freeform 10">
              <a:extLst>
                <a:ext uri="{FF2B5EF4-FFF2-40B4-BE49-F238E27FC236}">
                  <a16:creationId xmlns:a16="http://schemas.microsoft.com/office/drawing/2014/main" id="{2AD3A134-2F1B-0C42-8413-C015454E85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44" name="Freeform 11">
              <a:extLst>
                <a:ext uri="{FF2B5EF4-FFF2-40B4-BE49-F238E27FC236}">
                  <a16:creationId xmlns:a16="http://schemas.microsoft.com/office/drawing/2014/main" id="{2E1172B8-14D7-0F43-8CBD-AE90280556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45" name="Freeform 12">
              <a:extLst>
                <a:ext uri="{FF2B5EF4-FFF2-40B4-BE49-F238E27FC236}">
                  <a16:creationId xmlns:a16="http://schemas.microsoft.com/office/drawing/2014/main" id="{24A59273-87B6-E848-891A-A5C930F6EF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</p:grpSp>
      <p:sp>
        <p:nvSpPr>
          <p:cNvPr id="46" name="TextBox 45">
            <a:extLst>
              <a:ext uri="{FF2B5EF4-FFF2-40B4-BE49-F238E27FC236}">
                <a16:creationId xmlns:a16="http://schemas.microsoft.com/office/drawing/2014/main" id="{AD90D462-145A-1241-94FA-B98AEC59E3D1}"/>
              </a:ext>
            </a:extLst>
          </p:cNvPr>
          <p:cNvSpPr txBox="1"/>
          <p:nvPr userDrawn="1"/>
        </p:nvSpPr>
        <p:spPr bwMode="white">
          <a:xfrm flipH="1">
            <a:off x="2074133" y="6506318"/>
            <a:ext cx="172933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©2019 VMware, Inc.</a:t>
            </a:r>
          </a:p>
        </p:txBody>
      </p:sp>
    </p:spTree>
    <p:extLst>
      <p:ext uri="{BB962C8B-B14F-4D97-AF65-F5344CB8AC3E}">
        <p14:creationId xmlns:p14="http://schemas.microsoft.com/office/powerpoint/2010/main" val="1120887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–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BCB68143-A247-4F5B-9173-3D82D6706BFE}"/>
              </a:ext>
            </a:extLst>
          </p:cNvPr>
          <p:cNvSpPr/>
          <p:nvPr userDrawn="1"/>
        </p:nvSpPr>
        <p:spPr>
          <a:xfrm rot="2700000">
            <a:off x="1531792" y="-2581332"/>
            <a:ext cx="3206987" cy="9626036"/>
          </a:xfrm>
          <a:custGeom>
            <a:avLst/>
            <a:gdLst>
              <a:gd name="connsiteX0" fmla="*/ 3621 w 3204432"/>
              <a:gd name="connsiteY0" fmla="*/ 3200811 h 9623529"/>
              <a:gd name="connsiteX1" fmla="*/ 3204432 w 3204432"/>
              <a:gd name="connsiteY1" fmla="*/ 0 h 9623529"/>
              <a:gd name="connsiteX2" fmla="*/ 3204432 w 3204432"/>
              <a:gd name="connsiteY2" fmla="*/ 8389488 h 9623529"/>
              <a:gd name="connsiteX3" fmla="*/ 3197162 w 3204432"/>
              <a:gd name="connsiteY3" fmla="*/ 8389488 h 9623529"/>
              <a:gd name="connsiteX4" fmla="*/ 3201565 w 3204432"/>
              <a:gd name="connsiteY4" fmla="*/ 8393890 h 9623529"/>
              <a:gd name="connsiteX5" fmla="*/ 1971926 w 3204432"/>
              <a:gd name="connsiteY5" fmla="*/ 9623529 h 9623529"/>
              <a:gd name="connsiteX6" fmla="*/ 0 w 3204432"/>
              <a:gd name="connsiteY6" fmla="*/ 7651603 h 9623529"/>
              <a:gd name="connsiteX7" fmla="*/ 3621 w 3204432"/>
              <a:gd name="connsiteY7" fmla="*/ 7647982 h 9623529"/>
              <a:gd name="connsiteX8" fmla="*/ 3621 w 3204432"/>
              <a:gd name="connsiteY8" fmla="*/ 3200811 h 9623529"/>
              <a:gd name="connsiteX0" fmla="*/ 3621 w 3206055"/>
              <a:gd name="connsiteY0" fmla="*/ 3200811 h 9623529"/>
              <a:gd name="connsiteX1" fmla="*/ 3204432 w 3206055"/>
              <a:gd name="connsiteY1" fmla="*/ 0 h 9623529"/>
              <a:gd name="connsiteX2" fmla="*/ 3204432 w 3206055"/>
              <a:gd name="connsiteY2" fmla="*/ 8389488 h 9623529"/>
              <a:gd name="connsiteX3" fmla="*/ 3197162 w 3206055"/>
              <a:gd name="connsiteY3" fmla="*/ 8389488 h 9623529"/>
              <a:gd name="connsiteX4" fmla="*/ 3206055 w 3206055"/>
              <a:gd name="connsiteY4" fmla="*/ 9386208 h 9623529"/>
              <a:gd name="connsiteX5" fmla="*/ 1971926 w 3206055"/>
              <a:gd name="connsiteY5" fmla="*/ 9623529 h 9623529"/>
              <a:gd name="connsiteX6" fmla="*/ 0 w 3206055"/>
              <a:gd name="connsiteY6" fmla="*/ 7651603 h 9623529"/>
              <a:gd name="connsiteX7" fmla="*/ 3621 w 3206055"/>
              <a:gd name="connsiteY7" fmla="*/ 7647982 h 9623529"/>
              <a:gd name="connsiteX8" fmla="*/ 3621 w 3206055"/>
              <a:gd name="connsiteY8" fmla="*/ 3200811 h 9623529"/>
              <a:gd name="connsiteX0" fmla="*/ 3621 w 3206987"/>
              <a:gd name="connsiteY0" fmla="*/ 3200811 h 9623529"/>
              <a:gd name="connsiteX1" fmla="*/ 3204432 w 3206987"/>
              <a:gd name="connsiteY1" fmla="*/ 0 h 9623529"/>
              <a:gd name="connsiteX2" fmla="*/ 3204432 w 3206987"/>
              <a:gd name="connsiteY2" fmla="*/ 8389488 h 9623529"/>
              <a:gd name="connsiteX3" fmla="*/ 3206142 w 3206987"/>
              <a:gd name="connsiteY3" fmla="*/ 8407448 h 9623529"/>
              <a:gd name="connsiteX4" fmla="*/ 3206055 w 3206987"/>
              <a:gd name="connsiteY4" fmla="*/ 9386208 h 9623529"/>
              <a:gd name="connsiteX5" fmla="*/ 1971926 w 3206987"/>
              <a:gd name="connsiteY5" fmla="*/ 9623529 h 9623529"/>
              <a:gd name="connsiteX6" fmla="*/ 0 w 3206987"/>
              <a:gd name="connsiteY6" fmla="*/ 7651603 h 9623529"/>
              <a:gd name="connsiteX7" fmla="*/ 3621 w 3206987"/>
              <a:gd name="connsiteY7" fmla="*/ 7647982 h 9623529"/>
              <a:gd name="connsiteX8" fmla="*/ 3621 w 3206987"/>
              <a:gd name="connsiteY8" fmla="*/ 3200811 h 9623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206987" h="9623529">
                <a:moveTo>
                  <a:pt x="3621" y="3200811"/>
                </a:moveTo>
                <a:lnTo>
                  <a:pt x="3204432" y="0"/>
                </a:lnTo>
                <a:lnTo>
                  <a:pt x="3204432" y="8389488"/>
                </a:lnTo>
                <a:lnTo>
                  <a:pt x="3206142" y="8407448"/>
                </a:lnTo>
                <a:cubicBezTo>
                  <a:pt x="3209106" y="8739688"/>
                  <a:pt x="3203091" y="9053968"/>
                  <a:pt x="3206055" y="9386208"/>
                </a:cubicBezTo>
                <a:lnTo>
                  <a:pt x="1971926" y="9623529"/>
                </a:lnTo>
                <a:lnTo>
                  <a:pt x="0" y="7651603"/>
                </a:lnTo>
                <a:lnTo>
                  <a:pt x="3621" y="7647982"/>
                </a:lnTo>
                <a:lnTo>
                  <a:pt x="3621" y="3200811"/>
                </a:lnTo>
                <a:close/>
              </a:path>
            </a:pathLst>
          </a:custGeom>
          <a:gradFill>
            <a:gsLst>
              <a:gs pos="24000">
                <a:schemeClr val="accent3"/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865D9BB8-44B7-4046-A859-7B01AD84E349}"/>
              </a:ext>
            </a:extLst>
          </p:cNvPr>
          <p:cNvSpPr/>
          <p:nvPr userDrawn="1"/>
        </p:nvSpPr>
        <p:spPr>
          <a:xfrm rot="2700000">
            <a:off x="1633012" y="1229961"/>
            <a:ext cx="3535790" cy="7516105"/>
          </a:xfrm>
          <a:custGeom>
            <a:avLst/>
            <a:gdLst>
              <a:gd name="connsiteX0" fmla="*/ 0 w 3535790"/>
              <a:gd name="connsiteY0" fmla="*/ 0 h 7514148"/>
              <a:gd name="connsiteX1" fmla="*/ 3535790 w 3535790"/>
              <a:gd name="connsiteY1" fmla="*/ 0 h 7514148"/>
              <a:gd name="connsiteX2" fmla="*/ 3535790 w 3535790"/>
              <a:gd name="connsiteY2" fmla="*/ 4642648 h 7514148"/>
              <a:gd name="connsiteX3" fmla="*/ 706090 w 3535790"/>
              <a:gd name="connsiteY3" fmla="*/ 7514148 h 7514148"/>
              <a:gd name="connsiteX4" fmla="*/ 0 w 3535790"/>
              <a:gd name="connsiteY4" fmla="*/ 6808058 h 7514148"/>
              <a:gd name="connsiteX5" fmla="*/ 0 w 3535790"/>
              <a:gd name="connsiteY5" fmla="*/ 0 h 7514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35790" h="7514148">
                <a:moveTo>
                  <a:pt x="0" y="0"/>
                </a:moveTo>
                <a:lnTo>
                  <a:pt x="3535790" y="0"/>
                </a:lnTo>
                <a:lnTo>
                  <a:pt x="3535790" y="4642648"/>
                </a:lnTo>
                <a:lnTo>
                  <a:pt x="706090" y="7514148"/>
                </a:lnTo>
                <a:lnTo>
                  <a:pt x="0" y="680805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143">
                <a:schemeClr val="bg1">
                  <a:alpha val="0"/>
                </a:schemeClr>
              </a:gs>
              <a:gs pos="14000">
                <a:schemeClr val="bg1">
                  <a:alpha val="0"/>
                </a:schemeClr>
              </a:gs>
              <a:gs pos="72000">
                <a:schemeClr val="accent1"/>
              </a:gs>
            </a:gsLst>
            <a:lin ang="4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94666" y="1582578"/>
            <a:ext cx="4997704" cy="1234440"/>
          </a:xfrm>
        </p:spPr>
        <p:txBody>
          <a:bodyPr wrap="square" anchor="b"/>
          <a:lstStyle>
            <a:lvl1pPr algn="l">
              <a:defRPr sz="4000" b="0"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8" name="Subtitle 2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594665" y="2871217"/>
            <a:ext cx="5117785" cy="4164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EA43E1E-B208-4DC4-9D6A-01669D00DA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94665" y="4737426"/>
            <a:ext cx="3658553" cy="355601"/>
          </a:xfrm>
        </p:spPr>
        <p:txBody>
          <a:bodyPr anchor="b"/>
          <a:lstStyle>
            <a:lvl1pPr algn="l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29" name="Text Placeholder 6">
            <a:extLst>
              <a:ext uri="{FF2B5EF4-FFF2-40B4-BE49-F238E27FC236}">
                <a16:creationId xmlns:a16="http://schemas.microsoft.com/office/drawing/2014/main" id="{2111BB8B-7B37-4FB4-B2CD-984FE1C6C5E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94665" y="5138746"/>
            <a:ext cx="3658553" cy="355601"/>
          </a:xfrm>
        </p:spPr>
        <p:txBody>
          <a:bodyPr/>
          <a:lstStyle>
            <a:lvl1pPr algn="l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Role / Division at VMwa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8E7D54E-C753-48F7-AB43-C7A586277F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94665" y="5494345"/>
            <a:ext cx="3658553" cy="265176"/>
          </a:xfrm>
        </p:spPr>
        <p:txBody>
          <a:bodyPr/>
          <a:lstStyle>
            <a:lvl1pPr algn="l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71B1726-E7C5-4C32-A22F-BB8C0CA833E9}"/>
              </a:ext>
            </a:extLst>
          </p:cNvPr>
          <p:cNvGrpSpPr/>
          <p:nvPr userDrawn="1"/>
        </p:nvGrpSpPr>
        <p:grpSpPr>
          <a:xfrm>
            <a:off x="608171" y="6445106"/>
            <a:ext cx="1184706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0AEE4566-BDD0-43EB-8593-753B4AFC53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CDDDBBBD-2B47-4F32-9507-B47217AD31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9A63A2EB-B414-427C-8975-27B69B276D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4AFD0B14-399F-447F-BBDD-FF049C867FA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0778A2AC-9D1D-4FDB-973A-47DEA98860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52873CFF-17A0-467C-B061-5E3FD5E92C7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C351EEF9-CE8C-4948-8867-FDC697419B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576FCBCF-AFA0-4D2E-AF64-919BFE9B44B8}"/>
              </a:ext>
            </a:extLst>
          </p:cNvPr>
          <p:cNvSpPr txBox="1"/>
          <p:nvPr userDrawn="1"/>
        </p:nvSpPr>
        <p:spPr bwMode="white">
          <a:xfrm flipH="1">
            <a:off x="2074133" y="6506318"/>
            <a:ext cx="172933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©2019 VMware, Inc.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3" name="Ink 2">
                <a:extLst>
                  <a:ext uri="{FF2B5EF4-FFF2-40B4-BE49-F238E27FC236}">
                    <a16:creationId xmlns:a16="http://schemas.microsoft.com/office/drawing/2014/main" id="{229416F8-1B20-4892-97FA-108F191A5885}"/>
                  </a:ext>
                </a:extLst>
              </p14:cNvPr>
              <p14:cNvContentPartPr/>
              <p14:nvPr userDrawn="1"/>
            </p14:nvContentPartPr>
            <p14:xfrm>
              <a:off x="9862161" y="4881179"/>
              <a:ext cx="240" cy="240"/>
            </p14:xfrm>
          </p:contentPart>
        </mc:Choice>
        <mc:Fallback xmlns="">
          <p:pic>
            <p:nvPicPr>
              <p:cNvPr id="3" name="Ink 2">
                <a:extLst>
                  <a:ext uri="{FF2B5EF4-FFF2-40B4-BE49-F238E27FC236}">
                    <a16:creationId xmlns:a16="http://schemas.microsoft.com/office/drawing/2014/main" id="{229416F8-1B20-4892-97FA-108F191A5885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9858081" y="4877099"/>
                <a:ext cx="7920" cy="79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484800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6" name="TextBox 755">
            <a:extLst>
              <a:ext uri="{FF2B5EF4-FFF2-40B4-BE49-F238E27FC236}">
                <a16:creationId xmlns:a16="http://schemas.microsoft.com/office/drawing/2014/main" id="{2387BAEF-04D4-4DE9-B7A0-5B5AD8C8A831}"/>
              </a:ext>
            </a:extLst>
          </p:cNvPr>
          <p:cNvSpPr txBox="1"/>
          <p:nvPr userDrawn="1"/>
        </p:nvSpPr>
        <p:spPr>
          <a:xfrm>
            <a:off x="608171" y="1261595"/>
            <a:ext cx="1934368" cy="53489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3200" dirty="0">
                <a:solidFill>
                  <a:schemeClr val="accent2"/>
                </a:solidFill>
                <a:latin typeface="+mj-lt"/>
              </a:rPr>
              <a:t>Agenda</a:t>
            </a:r>
          </a:p>
        </p:txBody>
      </p:sp>
      <p:sp>
        <p:nvSpPr>
          <p:cNvPr id="730" name="TextBox 729">
            <a:extLst>
              <a:ext uri="{FF2B5EF4-FFF2-40B4-BE49-F238E27FC236}">
                <a16:creationId xmlns:a16="http://schemas.microsoft.com/office/drawing/2014/main" id="{AB8D1A6B-3CE6-468D-804E-6300F8B6DC81}"/>
              </a:ext>
            </a:extLst>
          </p:cNvPr>
          <p:cNvSpPr txBox="1"/>
          <p:nvPr userDrawn="1"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6" name="Text Placeholder 757">
            <a:extLst>
              <a:ext uri="{FF2B5EF4-FFF2-40B4-BE49-F238E27FC236}">
                <a16:creationId xmlns:a16="http://schemas.microsoft.com/office/drawing/2014/main" id="{B29EB907-51A5-4D60-B03A-85DECB7627F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94767" y="1359908"/>
            <a:ext cx="7317105" cy="4322783"/>
          </a:xfrm>
        </p:spPr>
        <p:txBody>
          <a:bodyPr anchor="t"/>
          <a:lstStyle>
            <a:lvl1pPr marL="0" indent="0">
              <a:spcBef>
                <a:spcPts val="1800"/>
              </a:spcBef>
              <a:buClr>
                <a:schemeClr val="accent2"/>
              </a:buClr>
              <a:buFont typeface="Open Sans" panose="020B0606030504020204" pitchFamily="34" charset="0"/>
              <a:buChar char="​"/>
              <a:defRPr>
                <a:solidFill>
                  <a:schemeClr val="accent4"/>
                </a:solidFill>
              </a:defRPr>
            </a:lvl1pPr>
            <a:lvl2pPr marL="0" indent="0"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  <a:lvl3pPr marL="342900" indent="0">
              <a:buFont typeface="Open Sans" panose="020B0606030504020204" pitchFamily="34" charset="0"/>
              <a:buNone/>
              <a:defRPr sz="1800"/>
            </a:lvl3pPr>
            <a:lvl4pPr marL="342900" indent="0">
              <a:buFont typeface="Open Sans" panose="020B0606030504020204" pitchFamily="34" charset="0"/>
              <a:buChar char="​"/>
              <a:tabLst/>
              <a:defRPr sz="1800">
                <a:solidFill>
                  <a:schemeClr val="tx2"/>
                </a:solidFill>
              </a:defRPr>
            </a:lvl4pPr>
            <a:lvl5pPr marL="342900" indent="0">
              <a:buFont typeface="Open Sans" panose="020B0606030504020204" pitchFamily="34" charset="0"/>
              <a:buChar char="​"/>
              <a:tabLst/>
              <a:defRPr sz="1800">
                <a:solidFill>
                  <a:schemeClr val="tx2"/>
                </a:solidFill>
              </a:defRPr>
            </a:lvl5pPr>
            <a:lvl6pPr marL="342900" indent="0">
              <a:buFont typeface="Open Sans" panose="020B0606030504020204" pitchFamily="34" charset="0"/>
              <a:buChar char="​"/>
              <a:defRPr sz="1800">
                <a:solidFill>
                  <a:schemeClr val="tx2"/>
                </a:solidFill>
              </a:defRPr>
            </a:lvl6pPr>
            <a:lvl7pPr marL="342900" indent="0">
              <a:buFont typeface="Open Sans" panose="020B0606030504020204" pitchFamily="34" charset="0"/>
              <a:buChar char="​"/>
              <a:defRPr sz="1800">
                <a:solidFill>
                  <a:schemeClr val="tx2"/>
                </a:solidFill>
              </a:defRPr>
            </a:lvl7pPr>
            <a:lvl8pPr marL="342900" indent="0">
              <a:buFont typeface="Open Sans" panose="020B0606030504020204" pitchFamily="34" charset="0"/>
              <a:buChar char="​"/>
              <a:defRPr sz="1800">
                <a:solidFill>
                  <a:schemeClr val="tx2"/>
                </a:solidFill>
              </a:defRPr>
            </a:lvl8pPr>
            <a:lvl9pPr marL="342900" indent="0">
              <a:buFont typeface="Open Sans" panose="020B0606030504020204" pitchFamily="34" charset="0"/>
              <a:buChar char="​"/>
              <a:defRPr sz="18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73845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9262" y="938794"/>
            <a:ext cx="6429300" cy="1229360"/>
          </a:xfrm>
        </p:spPr>
        <p:txBody>
          <a:bodyPr wrap="square" anchor="b"/>
          <a:lstStyle>
            <a:lvl1pPr algn="l">
              <a:defRPr sz="36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28" name="Subtitle 2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03123" y="2270788"/>
            <a:ext cx="6410071" cy="70088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accent4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tex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E46B5F2-170B-43F3-865D-92F5CD3F3546}"/>
              </a:ext>
            </a:extLst>
          </p:cNvPr>
          <p:cNvSpPr txBox="1"/>
          <p:nvPr userDrawn="1"/>
        </p:nvSpPr>
        <p:spPr bwMode="white"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062DFBC-6461-46E5-9A65-C2BA6B55FAA7}"/>
              </a:ext>
            </a:extLst>
          </p:cNvPr>
          <p:cNvGrpSpPr/>
          <p:nvPr userDrawn="1"/>
        </p:nvGrpSpPr>
        <p:grpSpPr>
          <a:xfrm>
            <a:off x="608171" y="6445106"/>
            <a:ext cx="1184706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067657A-03A1-4F4F-AD0D-A5B15521E8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03F0FBFF-D44D-482A-B547-D551EA5D3C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9A9535C7-EA42-4FC0-BF2F-9F86B58ECC7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E775250D-8931-4334-BAE4-BDDB0695417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46FFD602-6135-4BEE-BB2A-C867FBE1FF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14A9D646-E9F0-4A52-BD9E-F04121BF45F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A919FBF8-B563-4387-B270-79EB182CF7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5B407C40-A805-4838-8B00-1B2AAC94FDCD}"/>
              </a:ext>
            </a:extLst>
          </p:cNvPr>
          <p:cNvSpPr txBox="1"/>
          <p:nvPr userDrawn="1"/>
        </p:nvSpPr>
        <p:spPr bwMode="white">
          <a:xfrm flipH="1">
            <a:off x="2074133" y="6506318"/>
            <a:ext cx="172933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9428A741-FAD5-4234-862D-6AB7431CF1B6}"/>
              </a:ext>
            </a:extLst>
          </p:cNvPr>
          <p:cNvSpPr/>
          <p:nvPr userDrawn="1"/>
        </p:nvSpPr>
        <p:spPr>
          <a:xfrm rot="2700000">
            <a:off x="7249835" y="-1004992"/>
            <a:ext cx="3505682" cy="10675926"/>
          </a:xfrm>
          <a:custGeom>
            <a:avLst/>
            <a:gdLst>
              <a:gd name="connsiteX0" fmla="*/ 0 w 3505682"/>
              <a:gd name="connsiteY0" fmla="*/ 925479 h 10673146"/>
              <a:gd name="connsiteX1" fmla="*/ 925478 w 3505682"/>
              <a:gd name="connsiteY1" fmla="*/ 0 h 10673146"/>
              <a:gd name="connsiteX2" fmla="*/ 3505682 w 3505682"/>
              <a:gd name="connsiteY2" fmla="*/ 2580205 h 10673146"/>
              <a:gd name="connsiteX3" fmla="*/ 3505682 w 3505682"/>
              <a:gd name="connsiteY3" fmla="*/ 7167464 h 10673146"/>
              <a:gd name="connsiteX4" fmla="*/ 0 w 3505682"/>
              <a:gd name="connsiteY4" fmla="*/ 10673146 h 10673146"/>
              <a:gd name="connsiteX5" fmla="*/ 0 w 3505682"/>
              <a:gd name="connsiteY5" fmla="*/ 925479 h 10673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05682" h="10673146">
                <a:moveTo>
                  <a:pt x="0" y="925479"/>
                </a:moveTo>
                <a:lnTo>
                  <a:pt x="925478" y="0"/>
                </a:lnTo>
                <a:lnTo>
                  <a:pt x="3505682" y="2580205"/>
                </a:lnTo>
                <a:lnTo>
                  <a:pt x="3505682" y="7167464"/>
                </a:lnTo>
                <a:lnTo>
                  <a:pt x="0" y="10673146"/>
                </a:lnTo>
                <a:lnTo>
                  <a:pt x="0" y="925479"/>
                </a:lnTo>
                <a:close/>
              </a:path>
            </a:pathLst>
          </a:custGeom>
          <a:gradFill>
            <a:gsLst>
              <a:gs pos="24000">
                <a:schemeClr val="accent4"/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8D3A6683-B1EA-4507-96A9-030793602B44}"/>
              </a:ext>
            </a:extLst>
          </p:cNvPr>
          <p:cNvSpPr/>
          <p:nvPr userDrawn="1"/>
        </p:nvSpPr>
        <p:spPr>
          <a:xfrm rot="2700000">
            <a:off x="9756497" y="1673893"/>
            <a:ext cx="970552" cy="6486879"/>
          </a:xfrm>
          <a:custGeom>
            <a:avLst/>
            <a:gdLst>
              <a:gd name="connsiteX0" fmla="*/ 1 w 970552"/>
              <a:gd name="connsiteY0" fmla="*/ 0 h 6485190"/>
              <a:gd name="connsiteX1" fmla="*/ 970552 w 970552"/>
              <a:gd name="connsiteY1" fmla="*/ 970551 h 6485190"/>
              <a:gd name="connsiteX2" fmla="*/ 970552 w 970552"/>
              <a:gd name="connsiteY2" fmla="*/ 5514638 h 6485190"/>
              <a:gd name="connsiteX3" fmla="*/ 0 w 970552"/>
              <a:gd name="connsiteY3" fmla="*/ 6485190 h 64851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0552" h="6485190">
                <a:moveTo>
                  <a:pt x="1" y="0"/>
                </a:moveTo>
                <a:lnTo>
                  <a:pt x="970552" y="970551"/>
                </a:lnTo>
                <a:lnTo>
                  <a:pt x="970552" y="5514638"/>
                </a:lnTo>
                <a:lnTo>
                  <a:pt x="0" y="6485190"/>
                </a:lnTo>
                <a:close/>
              </a:path>
            </a:pathLst>
          </a:custGeom>
          <a:gradFill>
            <a:gsLst>
              <a:gs pos="94000">
                <a:schemeClr val="bg1"/>
              </a:gs>
              <a:gs pos="16000">
                <a:schemeClr val="accent4"/>
              </a:gs>
              <a:gs pos="76000">
                <a:schemeClr val="bg1">
                  <a:alpha val="91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3416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– Plu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9262" y="938794"/>
            <a:ext cx="6429300" cy="1229360"/>
          </a:xfrm>
        </p:spPr>
        <p:txBody>
          <a:bodyPr wrap="square" anchor="b"/>
          <a:lstStyle>
            <a:lvl1pPr algn="l">
              <a:defRPr sz="36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28" name="Subtitle 2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03123" y="2267712"/>
            <a:ext cx="6410071" cy="70088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tex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E46B5F2-170B-43F3-865D-92F5CD3F3546}"/>
              </a:ext>
            </a:extLst>
          </p:cNvPr>
          <p:cNvSpPr txBox="1"/>
          <p:nvPr userDrawn="1"/>
        </p:nvSpPr>
        <p:spPr bwMode="white"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062DFBC-6461-46E5-9A65-C2BA6B55FAA7}"/>
              </a:ext>
            </a:extLst>
          </p:cNvPr>
          <p:cNvGrpSpPr/>
          <p:nvPr userDrawn="1"/>
        </p:nvGrpSpPr>
        <p:grpSpPr>
          <a:xfrm>
            <a:off x="608171" y="6445106"/>
            <a:ext cx="1184706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067657A-03A1-4F4F-AD0D-A5B15521E8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03F0FBFF-D44D-482A-B547-D551EA5D3C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9A9535C7-EA42-4FC0-BF2F-9F86B58ECC7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E775250D-8931-4334-BAE4-BDDB0695417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46FFD602-6135-4BEE-BB2A-C867FBE1FF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14A9D646-E9F0-4A52-BD9E-F04121BF45F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A919FBF8-B563-4387-B270-79EB182CF7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5B407C40-A805-4838-8B00-1B2AAC94FDCD}"/>
              </a:ext>
            </a:extLst>
          </p:cNvPr>
          <p:cNvSpPr txBox="1"/>
          <p:nvPr userDrawn="1"/>
        </p:nvSpPr>
        <p:spPr bwMode="white">
          <a:xfrm flipH="1">
            <a:off x="2074133" y="6506318"/>
            <a:ext cx="172933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9428A741-FAD5-4234-862D-6AB7431CF1B6}"/>
              </a:ext>
            </a:extLst>
          </p:cNvPr>
          <p:cNvSpPr/>
          <p:nvPr userDrawn="1"/>
        </p:nvSpPr>
        <p:spPr>
          <a:xfrm rot="2700000">
            <a:off x="7249835" y="-1004992"/>
            <a:ext cx="3505682" cy="10675926"/>
          </a:xfrm>
          <a:custGeom>
            <a:avLst/>
            <a:gdLst>
              <a:gd name="connsiteX0" fmla="*/ 0 w 3505682"/>
              <a:gd name="connsiteY0" fmla="*/ 925479 h 10673146"/>
              <a:gd name="connsiteX1" fmla="*/ 925478 w 3505682"/>
              <a:gd name="connsiteY1" fmla="*/ 0 h 10673146"/>
              <a:gd name="connsiteX2" fmla="*/ 3505682 w 3505682"/>
              <a:gd name="connsiteY2" fmla="*/ 2580205 h 10673146"/>
              <a:gd name="connsiteX3" fmla="*/ 3505682 w 3505682"/>
              <a:gd name="connsiteY3" fmla="*/ 7167464 h 10673146"/>
              <a:gd name="connsiteX4" fmla="*/ 0 w 3505682"/>
              <a:gd name="connsiteY4" fmla="*/ 10673146 h 10673146"/>
              <a:gd name="connsiteX5" fmla="*/ 0 w 3505682"/>
              <a:gd name="connsiteY5" fmla="*/ 925479 h 10673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05682" h="10673146">
                <a:moveTo>
                  <a:pt x="0" y="925479"/>
                </a:moveTo>
                <a:lnTo>
                  <a:pt x="925478" y="0"/>
                </a:lnTo>
                <a:lnTo>
                  <a:pt x="3505682" y="2580205"/>
                </a:lnTo>
                <a:lnTo>
                  <a:pt x="3505682" y="7167464"/>
                </a:lnTo>
                <a:lnTo>
                  <a:pt x="0" y="10673146"/>
                </a:lnTo>
                <a:lnTo>
                  <a:pt x="0" y="925479"/>
                </a:lnTo>
                <a:close/>
              </a:path>
            </a:pathLst>
          </a:custGeom>
          <a:gradFill>
            <a:gsLst>
              <a:gs pos="24000">
                <a:srgbClr val="7F35AB"/>
              </a:gs>
              <a:gs pos="87000">
                <a:srgbClr val="264088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8D3A6683-B1EA-4507-96A9-030793602B44}"/>
              </a:ext>
            </a:extLst>
          </p:cNvPr>
          <p:cNvSpPr/>
          <p:nvPr userDrawn="1"/>
        </p:nvSpPr>
        <p:spPr>
          <a:xfrm rot="2700000">
            <a:off x="9756497" y="1673893"/>
            <a:ext cx="970552" cy="6486879"/>
          </a:xfrm>
          <a:custGeom>
            <a:avLst/>
            <a:gdLst>
              <a:gd name="connsiteX0" fmla="*/ 1 w 970552"/>
              <a:gd name="connsiteY0" fmla="*/ 0 h 6485190"/>
              <a:gd name="connsiteX1" fmla="*/ 970552 w 970552"/>
              <a:gd name="connsiteY1" fmla="*/ 970551 h 6485190"/>
              <a:gd name="connsiteX2" fmla="*/ 970552 w 970552"/>
              <a:gd name="connsiteY2" fmla="*/ 5514638 h 6485190"/>
              <a:gd name="connsiteX3" fmla="*/ 0 w 970552"/>
              <a:gd name="connsiteY3" fmla="*/ 6485190 h 64851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0552" h="6485190">
                <a:moveTo>
                  <a:pt x="1" y="0"/>
                </a:moveTo>
                <a:lnTo>
                  <a:pt x="970552" y="970551"/>
                </a:lnTo>
                <a:lnTo>
                  <a:pt x="970552" y="5514638"/>
                </a:lnTo>
                <a:lnTo>
                  <a:pt x="0" y="6485190"/>
                </a:lnTo>
                <a:close/>
              </a:path>
            </a:pathLst>
          </a:custGeom>
          <a:gradFill>
            <a:gsLst>
              <a:gs pos="20000">
                <a:srgbClr val="7F35AB"/>
              </a:gs>
              <a:gs pos="95000">
                <a:schemeClr val="bg1"/>
              </a:gs>
              <a:gs pos="74000">
                <a:schemeClr val="bg1">
                  <a:alpha val="79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9908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111049-A980-9A4B-BDCF-935BD3D35A43}" type="datetimeFigureOut">
              <a:rPr lang="en-US" smtClean="0"/>
              <a:t>24-Sep-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9C9BFC-FCFF-7247-B387-15C2934714B0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wipe dir="r"/>
      </p:transition>
    </mc:Choice>
    <mc:Fallback xmlns="">
      <p:transition xmlns:p14="http://schemas.microsoft.com/office/powerpoint/2010/main" spd="slow">
        <p:wipe dir="r"/>
      </p:transition>
    </mc:Fallback>
  </mc:AlternateConten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–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9262" y="938794"/>
            <a:ext cx="6429300" cy="1229360"/>
          </a:xfrm>
        </p:spPr>
        <p:txBody>
          <a:bodyPr wrap="square" anchor="b"/>
          <a:lstStyle>
            <a:lvl1pPr algn="l">
              <a:defRPr sz="36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28" name="Subtitle 2">
            <a:extLst>
              <a:ext uri="{FF2B5EF4-FFF2-40B4-BE49-F238E27FC236}">
                <a16:creationId xmlns:a16="http://schemas.microsoft.com/office/drawing/2014/main" id="{6EBAFA4D-7B92-4E38-8320-94F3BCA2E41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03123" y="2267712"/>
            <a:ext cx="6410071" cy="70088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tex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E46B5F2-170B-43F3-865D-92F5CD3F3546}"/>
              </a:ext>
            </a:extLst>
          </p:cNvPr>
          <p:cNvSpPr txBox="1"/>
          <p:nvPr userDrawn="1"/>
        </p:nvSpPr>
        <p:spPr bwMode="white"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062DFBC-6461-46E5-9A65-C2BA6B55FAA7}"/>
              </a:ext>
            </a:extLst>
          </p:cNvPr>
          <p:cNvGrpSpPr/>
          <p:nvPr userDrawn="1"/>
        </p:nvGrpSpPr>
        <p:grpSpPr>
          <a:xfrm>
            <a:off x="608171" y="6445106"/>
            <a:ext cx="1184706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067657A-03A1-4F4F-AD0D-A5B15521E8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03F0FBFF-D44D-482A-B547-D551EA5D3C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9A9535C7-EA42-4FC0-BF2F-9F86B58ECC7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E775250D-8931-4334-BAE4-BDDB0695417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46FFD602-6135-4BEE-BB2A-C867FBE1FF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14A9D646-E9F0-4A52-BD9E-F04121BF45F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A919FBF8-B563-4387-B270-79EB182CF7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5B407C40-A805-4838-8B00-1B2AAC94FDCD}"/>
              </a:ext>
            </a:extLst>
          </p:cNvPr>
          <p:cNvSpPr txBox="1"/>
          <p:nvPr userDrawn="1"/>
        </p:nvSpPr>
        <p:spPr bwMode="white">
          <a:xfrm flipH="1">
            <a:off x="2074133" y="6506318"/>
            <a:ext cx="172933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9428A741-FAD5-4234-862D-6AB7431CF1B6}"/>
              </a:ext>
            </a:extLst>
          </p:cNvPr>
          <p:cNvSpPr/>
          <p:nvPr userDrawn="1"/>
        </p:nvSpPr>
        <p:spPr>
          <a:xfrm rot="2700000">
            <a:off x="7249835" y="-1004992"/>
            <a:ext cx="3505682" cy="10675926"/>
          </a:xfrm>
          <a:custGeom>
            <a:avLst/>
            <a:gdLst>
              <a:gd name="connsiteX0" fmla="*/ 0 w 3505682"/>
              <a:gd name="connsiteY0" fmla="*/ 925479 h 10673146"/>
              <a:gd name="connsiteX1" fmla="*/ 925478 w 3505682"/>
              <a:gd name="connsiteY1" fmla="*/ 0 h 10673146"/>
              <a:gd name="connsiteX2" fmla="*/ 3505682 w 3505682"/>
              <a:gd name="connsiteY2" fmla="*/ 2580205 h 10673146"/>
              <a:gd name="connsiteX3" fmla="*/ 3505682 w 3505682"/>
              <a:gd name="connsiteY3" fmla="*/ 7167464 h 10673146"/>
              <a:gd name="connsiteX4" fmla="*/ 0 w 3505682"/>
              <a:gd name="connsiteY4" fmla="*/ 10673146 h 10673146"/>
              <a:gd name="connsiteX5" fmla="*/ 0 w 3505682"/>
              <a:gd name="connsiteY5" fmla="*/ 925479 h 10673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05682" h="10673146">
                <a:moveTo>
                  <a:pt x="0" y="925479"/>
                </a:moveTo>
                <a:lnTo>
                  <a:pt x="925478" y="0"/>
                </a:lnTo>
                <a:lnTo>
                  <a:pt x="3505682" y="2580205"/>
                </a:lnTo>
                <a:lnTo>
                  <a:pt x="3505682" y="7167464"/>
                </a:lnTo>
                <a:lnTo>
                  <a:pt x="0" y="10673146"/>
                </a:lnTo>
                <a:lnTo>
                  <a:pt x="0" y="925479"/>
                </a:lnTo>
                <a:close/>
              </a:path>
            </a:pathLst>
          </a:custGeom>
          <a:gradFill>
            <a:gsLst>
              <a:gs pos="24000">
                <a:schemeClr val="accent3"/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8D3A6683-B1EA-4507-96A9-030793602B44}"/>
              </a:ext>
            </a:extLst>
          </p:cNvPr>
          <p:cNvSpPr/>
          <p:nvPr userDrawn="1"/>
        </p:nvSpPr>
        <p:spPr>
          <a:xfrm rot="2700000">
            <a:off x="9756497" y="1673893"/>
            <a:ext cx="970552" cy="6486879"/>
          </a:xfrm>
          <a:custGeom>
            <a:avLst/>
            <a:gdLst>
              <a:gd name="connsiteX0" fmla="*/ 1 w 970552"/>
              <a:gd name="connsiteY0" fmla="*/ 0 h 6485190"/>
              <a:gd name="connsiteX1" fmla="*/ 970552 w 970552"/>
              <a:gd name="connsiteY1" fmla="*/ 970551 h 6485190"/>
              <a:gd name="connsiteX2" fmla="*/ 970552 w 970552"/>
              <a:gd name="connsiteY2" fmla="*/ 5514638 h 6485190"/>
              <a:gd name="connsiteX3" fmla="*/ 0 w 970552"/>
              <a:gd name="connsiteY3" fmla="*/ 6485190 h 64851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0552" h="6485190">
                <a:moveTo>
                  <a:pt x="1" y="0"/>
                </a:moveTo>
                <a:lnTo>
                  <a:pt x="970552" y="970551"/>
                </a:lnTo>
                <a:lnTo>
                  <a:pt x="970552" y="5514638"/>
                </a:lnTo>
                <a:lnTo>
                  <a:pt x="0" y="6485190"/>
                </a:lnTo>
                <a:close/>
              </a:path>
            </a:pathLst>
          </a:custGeom>
          <a:gradFill>
            <a:gsLst>
              <a:gs pos="24000">
                <a:schemeClr val="accent3"/>
              </a:gs>
              <a:gs pos="80511">
                <a:schemeClr val="bg1">
                  <a:alpha val="76000"/>
                </a:schemeClr>
              </a:gs>
              <a:gs pos="100000">
                <a:schemeClr val="bg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9998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Pho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sosceles Triangle 1">
            <a:extLst>
              <a:ext uri="{FF2B5EF4-FFF2-40B4-BE49-F238E27FC236}">
                <a16:creationId xmlns:a16="http://schemas.microsoft.com/office/drawing/2014/main" id="{B4BC3A27-8DAD-4476-9725-CF11880123D8}"/>
              </a:ext>
            </a:extLst>
          </p:cNvPr>
          <p:cNvSpPr/>
          <p:nvPr userDrawn="1"/>
        </p:nvSpPr>
        <p:spPr>
          <a:xfrm>
            <a:off x="8945606" y="3622877"/>
            <a:ext cx="3252110" cy="3253579"/>
          </a:xfrm>
          <a:prstGeom prst="triangle">
            <a:avLst>
              <a:gd name="adj" fmla="val 10000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046FCD12-70AD-43E4-97A5-E350476D993C}"/>
              </a:ext>
            </a:extLst>
          </p:cNvPr>
          <p:cNvSpPr/>
          <p:nvPr userDrawn="1"/>
        </p:nvSpPr>
        <p:spPr>
          <a:xfrm rot="10800000">
            <a:off x="0" y="-1"/>
            <a:ext cx="10875959" cy="6868836"/>
          </a:xfrm>
          <a:custGeom>
            <a:avLst/>
            <a:gdLst>
              <a:gd name="connsiteX0" fmla="*/ 10873127 w 10873127"/>
              <a:gd name="connsiteY0" fmla="*/ 6868836 h 6868836"/>
              <a:gd name="connsiteX1" fmla="*/ 0 w 10873127"/>
              <a:gd name="connsiteY1" fmla="*/ 6868836 h 6868836"/>
              <a:gd name="connsiteX2" fmla="*/ 6863947 w 10873127"/>
              <a:gd name="connsiteY2" fmla="*/ 0 h 6868836"/>
              <a:gd name="connsiteX3" fmla="*/ 10873127 w 10873127"/>
              <a:gd name="connsiteY3" fmla="*/ 0 h 686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873127" h="6868836">
                <a:moveTo>
                  <a:pt x="10873127" y="6868836"/>
                </a:moveTo>
                <a:lnTo>
                  <a:pt x="0" y="6868836"/>
                </a:lnTo>
                <a:lnTo>
                  <a:pt x="6863947" y="0"/>
                </a:lnTo>
                <a:lnTo>
                  <a:pt x="10873127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EAC21F4-620C-4207-A01D-C082619C707B}"/>
              </a:ext>
            </a:extLst>
          </p:cNvPr>
          <p:cNvSpPr txBox="1"/>
          <p:nvPr userDrawn="1"/>
        </p:nvSpPr>
        <p:spPr bwMode="white"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AC6091C-E947-4C0C-85B0-C87C084ACB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9262" y="938794"/>
            <a:ext cx="6429300" cy="1229360"/>
          </a:xfrm>
        </p:spPr>
        <p:txBody>
          <a:bodyPr wrap="square" anchor="b"/>
          <a:lstStyle>
            <a:lvl1pPr algn="l">
              <a:defRPr sz="36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A2044BBD-0109-43FF-A52D-8FA2841A4DF6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03123" y="2267712"/>
            <a:ext cx="6410071" cy="70088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accent4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text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D0EECB4-F8FF-42F6-B913-97C4F2956537}"/>
              </a:ext>
            </a:extLst>
          </p:cNvPr>
          <p:cNvGrpSpPr/>
          <p:nvPr userDrawn="1"/>
        </p:nvGrpSpPr>
        <p:grpSpPr>
          <a:xfrm>
            <a:off x="608171" y="6445106"/>
            <a:ext cx="1184706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A2743E06-9EDE-42AB-954B-24AD2E0EDE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F727B63B-9DDF-4464-B305-91E2F1F53A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BE99358C-EF1D-4887-8E23-C6B6EFECC05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AB115210-A643-4048-8CE2-AE858AA6D28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DADAB024-3024-4445-96A4-008D5EBBB3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8C49FA45-007B-4A99-BFB8-737C3A292BE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6AD6968C-6030-4061-9BA9-3E345BE073B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9267F80E-E3AF-43A3-AA96-C701371ACCD5}"/>
              </a:ext>
            </a:extLst>
          </p:cNvPr>
          <p:cNvSpPr txBox="1"/>
          <p:nvPr userDrawn="1"/>
        </p:nvSpPr>
        <p:spPr bwMode="white">
          <a:xfrm flipH="1">
            <a:off x="2074133" y="6506318"/>
            <a:ext cx="172933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C7F4685D-9D09-447C-9352-68EBB79D3FB6}"/>
              </a:ext>
            </a:extLst>
          </p:cNvPr>
          <p:cNvSpPr/>
          <p:nvPr userDrawn="1"/>
        </p:nvSpPr>
        <p:spPr>
          <a:xfrm rot="2700000">
            <a:off x="9039732" y="3334353"/>
            <a:ext cx="970552" cy="4541320"/>
          </a:xfrm>
          <a:custGeom>
            <a:avLst/>
            <a:gdLst>
              <a:gd name="connsiteX0" fmla="*/ 1 w 970552"/>
              <a:gd name="connsiteY0" fmla="*/ 970551 h 4540137"/>
              <a:gd name="connsiteX1" fmla="*/ 970552 w 970552"/>
              <a:gd name="connsiteY1" fmla="*/ 0 h 4540137"/>
              <a:gd name="connsiteX2" fmla="*/ 970552 w 970552"/>
              <a:gd name="connsiteY2" fmla="*/ 3569585 h 4540137"/>
              <a:gd name="connsiteX3" fmla="*/ 0 w 970552"/>
              <a:gd name="connsiteY3" fmla="*/ 4540137 h 4540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0552" h="4540137">
                <a:moveTo>
                  <a:pt x="1" y="970551"/>
                </a:moveTo>
                <a:lnTo>
                  <a:pt x="970552" y="0"/>
                </a:lnTo>
                <a:lnTo>
                  <a:pt x="970552" y="3569585"/>
                </a:lnTo>
                <a:lnTo>
                  <a:pt x="0" y="4540137"/>
                </a:lnTo>
                <a:close/>
              </a:path>
            </a:pathLst>
          </a:custGeom>
          <a:gradFill>
            <a:gsLst>
              <a:gs pos="0">
                <a:schemeClr val="accent4">
                  <a:alpha val="64000"/>
                </a:schemeClr>
              </a:gs>
              <a:gs pos="83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8502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Photo – Plum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046FCD12-70AD-43E4-97A5-E350476D993C}"/>
              </a:ext>
            </a:extLst>
          </p:cNvPr>
          <p:cNvSpPr/>
          <p:nvPr userDrawn="1"/>
        </p:nvSpPr>
        <p:spPr>
          <a:xfrm rot="10800000">
            <a:off x="0" y="-1"/>
            <a:ext cx="10875959" cy="6868836"/>
          </a:xfrm>
          <a:custGeom>
            <a:avLst/>
            <a:gdLst>
              <a:gd name="connsiteX0" fmla="*/ 10873127 w 10873127"/>
              <a:gd name="connsiteY0" fmla="*/ 6868836 h 6868836"/>
              <a:gd name="connsiteX1" fmla="*/ 0 w 10873127"/>
              <a:gd name="connsiteY1" fmla="*/ 6868836 h 6868836"/>
              <a:gd name="connsiteX2" fmla="*/ 6863947 w 10873127"/>
              <a:gd name="connsiteY2" fmla="*/ 0 h 6868836"/>
              <a:gd name="connsiteX3" fmla="*/ 10873127 w 10873127"/>
              <a:gd name="connsiteY3" fmla="*/ 0 h 686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873127" h="6868836">
                <a:moveTo>
                  <a:pt x="10873127" y="6868836"/>
                </a:moveTo>
                <a:lnTo>
                  <a:pt x="0" y="6868836"/>
                </a:lnTo>
                <a:lnTo>
                  <a:pt x="6863947" y="0"/>
                </a:lnTo>
                <a:lnTo>
                  <a:pt x="10873127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AC6091C-E947-4C0C-85B0-C87C084ACB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9262" y="938794"/>
            <a:ext cx="6429300" cy="1229360"/>
          </a:xfrm>
        </p:spPr>
        <p:txBody>
          <a:bodyPr wrap="square" anchor="b"/>
          <a:lstStyle>
            <a:lvl1pPr algn="l">
              <a:defRPr sz="36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A2044BBD-0109-43FF-A52D-8FA2841A4DF6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03123" y="2267712"/>
            <a:ext cx="6410071" cy="70088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text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D0EECB4-F8FF-42F6-B913-97C4F2956537}"/>
              </a:ext>
            </a:extLst>
          </p:cNvPr>
          <p:cNvGrpSpPr/>
          <p:nvPr userDrawn="1"/>
        </p:nvGrpSpPr>
        <p:grpSpPr>
          <a:xfrm>
            <a:off x="608171" y="6445106"/>
            <a:ext cx="1184706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A2743E06-9EDE-42AB-954B-24AD2E0EDE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F727B63B-9DDF-4464-B305-91E2F1F53A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BE99358C-EF1D-4887-8E23-C6B6EFECC05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AB115210-A643-4048-8CE2-AE858AA6D28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DADAB024-3024-4445-96A4-008D5EBBB3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8C49FA45-007B-4A99-BFB8-737C3A292BE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6AD6968C-6030-4061-9BA9-3E345BE073B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9267F80E-E3AF-43A3-AA96-C701371ACCD5}"/>
              </a:ext>
            </a:extLst>
          </p:cNvPr>
          <p:cNvSpPr txBox="1"/>
          <p:nvPr userDrawn="1"/>
        </p:nvSpPr>
        <p:spPr bwMode="white">
          <a:xfrm flipH="1">
            <a:off x="2074133" y="6506318"/>
            <a:ext cx="172933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1B9CF672-C886-4A4A-B8C7-6054BDA7C6F8}"/>
              </a:ext>
            </a:extLst>
          </p:cNvPr>
          <p:cNvSpPr/>
          <p:nvPr userDrawn="1"/>
        </p:nvSpPr>
        <p:spPr>
          <a:xfrm>
            <a:off x="8945606" y="3622877"/>
            <a:ext cx="3252110" cy="3253579"/>
          </a:xfrm>
          <a:prstGeom prst="triangle">
            <a:avLst>
              <a:gd name="adj" fmla="val 10000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279CBF5F-64CA-43B4-BB06-18EC3F20B58A}"/>
              </a:ext>
            </a:extLst>
          </p:cNvPr>
          <p:cNvSpPr/>
          <p:nvPr userDrawn="1"/>
        </p:nvSpPr>
        <p:spPr>
          <a:xfrm rot="2700000">
            <a:off x="9039732" y="3334353"/>
            <a:ext cx="970552" cy="4541320"/>
          </a:xfrm>
          <a:custGeom>
            <a:avLst/>
            <a:gdLst>
              <a:gd name="connsiteX0" fmla="*/ 1 w 970552"/>
              <a:gd name="connsiteY0" fmla="*/ 970551 h 4540137"/>
              <a:gd name="connsiteX1" fmla="*/ 970552 w 970552"/>
              <a:gd name="connsiteY1" fmla="*/ 0 h 4540137"/>
              <a:gd name="connsiteX2" fmla="*/ 970552 w 970552"/>
              <a:gd name="connsiteY2" fmla="*/ 3569585 h 4540137"/>
              <a:gd name="connsiteX3" fmla="*/ 0 w 970552"/>
              <a:gd name="connsiteY3" fmla="*/ 4540137 h 4540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0552" h="4540137">
                <a:moveTo>
                  <a:pt x="1" y="970551"/>
                </a:moveTo>
                <a:lnTo>
                  <a:pt x="970552" y="0"/>
                </a:lnTo>
                <a:lnTo>
                  <a:pt x="970552" y="3569585"/>
                </a:lnTo>
                <a:lnTo>
                  <a:pt x="0" y="4540137"/>
                </a:lnTo>
                <a:close/>
              </a:path>
            </a:pathLst>
          </a:custGeom>
          <a:gradFill>
            <a:gsLst>
              <a:gs pos="24000">
                <a:srgbClr val="7F35AB">
                  <a:alpha val="57000"/>
                </a:srgbClr>
              </a:gs>
              <a:gs pos="87000">
                <a:srgbClr val="264088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EAC21F4-620C-4207-A01D-C082619C707B}"/>
              </a:ext>
            </a:extLst>
          </p:cNvPr>
          <p:cNvSpPr txBox="1"/>
          <p:nvPr userDrawn="1"/>
        </p:nvSpPr>
        <p:spPr bwMode="white"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243471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Photo – Aqu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3782B963-3DE7-4086-92ED-CD92BCC38428}"/>
              </a:ext>
            </a:extLst>
          </p:cNvPr>
          <p:cNvSpPr/>
          <p:nvPr userDrawn="1"/>
        </p:nvSpPr>
        <p:spPr>
          <a:xfrm>
            <a:off x="8945606" y="3622877"/>
            <a:ext cx="3252110" cy="3253579"/>
          </a:xfrm>
          <a:prstGeom prst="triangle">
            <a:avLst>
              <a:gd name="adj" fmla="val 10000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B634BC28-ECEA-4006-A436-B22F54417FE9}"/>
              </a:ext>
            </a:extLst>
          </p:cNvPr>
          <p:cNvSpPr/>
          <p:nvPr userDrawn="1"/>
        </p:nvSpPr>
        <p:spPr>
          <a:xfrm rot="2700000">
            <a:off x="9039732" y="3334353"/>
            <a:ext cx="970552" cy="4541320"/>
          </a:xfrm>
          <a:custGeom>
            <a:avLst/>
            <a:gdLst>
              <a:gd name="connsiteX0" fmla="*/ 1 w 970552"/>
              <a:gd name="connsiteY0" fmla="*/ 970551 h 4540137"/>
              <a:gd name="connsiteX1" fmla="*/ 970552 w 970552"/>
              <a:gd name="connsiteY1" fmla="*/ 0 h 4540137"/>
              <a:gd name="connsiteX2" fmla="*/ 970552 w 970552"/>
              <a:gd name="connsiteY2" fmla="*/ 3569585 h 4540137"/>
              <a:gd name="connsiteX3" fmla="*/ 0 w 970552"/>
              <a:gd name="connsiteY3" fmla="*/ 4540137 h 4540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0552" h="4540137">
                <a:moveTo>
                  <a:pt x="1" y="970551"/>
                </a:moveTo>
                <a:lnTo>
                  <a:pt x="970552" y="0"/>
                </a:lnTo>
                <a:lnTo>
                  <a:pt x="970552" y="3569585"/>
                </a:lnTo>
                <a:lnTo>
                  <a:pt x="0" y="4540137"/>
                </a:lnTo>
                <a:close/>
              </a:path>
            </a:pathLst>
          </a:custGeom>
          <a:gradFill>
            <a:gsLst>
              <a:gs pos="24000">
                <a:schemeClr val="accent3">
                  <a:alpha val="40000"/>
                </a:schemeClr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046FCD12-70AD-43E4-97A5-E350476D993C}"/>
              </a:ext>
            </a:extLst>
          </p:cNvPr>
          <p:cNvSpPr/>
          <p:nvPr userDrawn="1"/>
        </p:nvSpPr>
        <p:spPr>
          <a:xfrm rot="10800000">
            <a:off x="0" y="-1"/>
            <a:ext cx="10875959" cy="6868836"/>
          </a:xfrm>
          <a:custGeom>
            <a:avLst/>
            <a:gdLst>
              <a:gd name="connsiteX0" fmla="*/ 10873127 w 10873127"/>
              <a:gd name="connsiteY0" fmla="*/ 6868836 h 6868836"/>
              <a:gd name="connsiteX1" fmla="*/ 0 w 10873127"/>
              <a:gd name="connsiteY1" fmla="*/ 6868836 h 6868836"/>
              <a:gd name="connsiteX2" fmla="*/ 6863947 w 10873127"/>
              <a:gd name="connsiteY2" fmla="*/ 0 h 6868836"/>
              <a:gd name="connsiteX3" fmla="*/ 10873127 w 10873127"/>
              <a:gd name="connsiteY3" fmla="*/ 0 h 686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873127" h="6868836">
                <a:moveTo>
                  <a:pt x="10873127" y="6868836"/>
                </a:moveTo>
                <a:lnTo>
                  <a:pt x="0" y="6868836"/>
                </a:lnTo>
                <a:lnTo>
                  <a:pt x="6863947" y="0"/>
                </a:lnTo>
                <a:lnTo>
                  <a:pt x="10873127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EAC21F4-620C-4207-A01D-C082619C707B}"/>
              </a:ext>
            </a:extLst>
          </p:cNvPr>
          <p:cNvSpPr txBox="1"/>
          <p:nvPr userDrawn="1"/>
        </p:nvSpPr>
        <p:spPr bwMode="white"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AC6091C-E947-4C0C-85B0-C87C084ACB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9262" y="938794"/>
            <a:ext cx="6429300" cy="1229360"/>
          </a:xfrm>
        </p:spPr>
        <p:txBody>
          <a:bodyPr wrap="square" anchor="b"/>
          <a:lstStyle>
            <a:lvl1pPr algn="l">
              <a:defRPr sz="36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A2044BBD-0109-43FF-A52D-8FA2841A4DF6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03123" y="2267712"/>
            <a:ext cx="6410071" cy="70088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text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D0EECB4-F8FF-42F6-B913-97C4F2956537}"/>
              </a:ext>
            </a:extLst>
          </p:cNvPr>
          <p:cNvGrpSpPr/>
          <p:nvPr userDrawn="1"/>
        </p:nvGrpSpPr>
        <p:grpSpPr>
          <a:xfrm>
            <a:off x="608171" y="6445106"/>
            <a:ext cx="1184706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A2743E06-9EDE-42AB-954B-24AD2E0EDE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F727B63B-9DDF-4464-B305-91E2F1F53A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BE99358C-EF1D-4887-8E23-C6B6EFECC05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AB115210-A643-4048-8CE2-AE858AA6D28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DADAB024-3024-4445-96A4-008D5EBBB3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8C49FA45-007B-4A99-BFB8-737C3A292BE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6AD6968C-6030-4061-9BA9-3E345BE073B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9267F80E-E3AF-43A3-AA96-C701371ACCD5}"/>
              </a:ext>
            </a:extLst>
          </p:cNvPr>
          <p:cNvSpPr txBox="1"/>
          <p:nvPr userDrawn="1"/>
        </p:nvSpPr>
        <p:spPr bwMode="white">
          <a:xfrm flipH="1">
            <a:off x="2074133" y="6506318"/>
            <a:ext cx="172933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</p:spTree>
    <p:extLst>
      <p:ext uri="{BB962C8B-B14F-4D97-AF65-F5344CB8AC3E}">
        <p14:creationId xmlns:p14="http://schemas.microsoft.com/office/powerpoint/2010/main" val="2905065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Photo – Whi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77AF2AD3-F838-49C6-9DFB-93814BFCCBA6}"/>
              </a:ext>
            </a:extLst>
          </p:cNvPr>
          <p:cNvSpPr/>
          <p:nvPr userDrawn="1"/>
        </p:nvSpPr>
        <p:spPr>
          <a:xfrm>
            <a:off x="8945606" y="3622877"/>
            <a:ext cx="3252110" cy="3253579"/>
          </a:xfrm>
          <a:prstGeom prst="triangle">
            <a:avLst>
              <a:gd name="adj" fmla="val 10000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E385DDA8-6A1A-4BC0-A877-A6124E4A0330}"/>
              </a:ext>
            </a:extLst>
          </p:cNvPr>
          <p:cNvSpPr/>
          <p:nvPr userDrawn="1"/>
        </p:nvSpPr>
        <p:spPr>
          <a:xfrm rot="2700000">
            <a:off x="9039732" y="3334353"/>
            <a:ext cx="970552" cy="4541320"/>
          </a:xfrm>
          <a:custGeom>
            <a:avLst/>
            <a:gdLst>
              <a:gd name="connsiteX0" fmla="*/ 1 w 970552"/>
              <a:gd name="connsiteY0" fmla="*/ 970551 h 4540137"/>
              <a:gd name="connsiteX1" fmla="*/ 970552 w 970552"/>
              <a:gd name="connsiteY1" fmla="*/ 0 h 4540137"/>
              <a:gd name="connsiteX2" fmla="*/ 970552 w 970552"/>
              <a:gd name="connsiteY2" fmla="*/ 3569585 h 4540137"/>
              <a:gd name="connsiteX3" fmla="*/ 0 w 970552"/>
              <a:gd name="connsiteY3" fmla="*/ 4540137 h 4540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0552" h="4540137">
                <a:moveTo>
                  <a:pt x="1" y="970551"/>
                </a:moveTo>
                <a:lnTo>
                  <a:pt x="970552" y="0"/>
                </a:lnTo>
                <a:lnTo>
                  <a:pt x="970552" y="3569585"/>
                </a:lnTo>
                <a:lnTo>
                  <a:pt x="0" y="4540137"/>
                </a:lnTo>
                <a:close/>
              </a:path>
            </a:pathLst>
          </a:custGeom>
          <a:gradFill>
            <a:gsLst>
              <a:gs pos="24000">
                <a:schemeClr val="bg1">
                  <a:alpha val="59000"/>
                </a:schemeClr>
              </a:gs>
              <a:gs pos="78000">
                <a:schemeClr val="bg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" name="Isosceles Triangle 1">
            <a:extLst>
              <a:ext uri="{FF2B5EF4-FFF2-40B4-BE49-F238E27FC236}">
                <a16:creationId xmlns:a16="http://schemas.microsoft.com/office/drawing/2014/main" id="{B4BC3A27-8DAD-4476-9725-CF11880123D8}"/>
              </a:ext>
            </a:extLst>
          </p:cNvPr>
          <p:cNvSpPr/>
          <p:nvPr userDrawn="1"/>
        </p:nvSpPr>
        <p:spPr>
          <a:xfrm>
            <a:off x="8937984" y="3622877"/>
            <a:ext cx="3252110" cy="3253579"/>
          </a:xfrm>
          <a:prstGeom prst="triangle">
            <a:avLst>
              <a:gd name="adj" fmla="val 10000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046FCD12-70AD-43E4-97A5-E350476D993C}"/>
              </a:ext>
            </a:extLst>
          </p:cNvPr>
          <p:cNvSpPr/>
          <p:nvPr userDrawn="1"/>
        </p:nvSpPr>
        <p:spPr>
          <a:xfrm rot="10800000">
            <a:off x="0" y="-1"/>
            <a:ext cx="10875959" cy="6868836"/>
          </a:xfrm>
          <a:custGeom>
            <a:avLst/>
            <a:gdLst>
              <a:gd name="connsiteX0" fmla="*/ 10873127 w 10873127"/>
              <a:gd name="connsiteY0" fmla="*/ 6868836 h 6868836"/>
              <a:gd name="connsiteX1" fmla="*/ 0 w 10873127"/>
              <a:gd name="connsiteY1" fmla="*/ 6868836 h 6868836"/>
              <a:gd name="connsiteX2" fmla="*/ 6863947 w 10873127"/>
              <a:gd name="connsiteY2" fmla="*/ 0 h 6868836"/>
              <a:gd name="connsiteX3" fmla="*/ 10873127 w 10873127"/>
              <a:gd name="connsiteY3" fmla="*/ 0 h 686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873127" h="6868836">
                <a:moveTo>
                  <a:pt x="10873127" y="6868836"/>
                </a:moveTo>
                <a:lnTo>
                  <a:pt x="0" y="6868836"/>
                </a:lnTo>
                <a:lnTo>
                  <a:pt x="6863947" y="0"/>
                </a:lnTo>
                <a:lnTo>
                  <a:pt x="10873127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EAC21F4-620C-4207-A01D-C082619C707B}"/>
              </a:ext>
            </a:extLst>
          </p:cNvPr>
          <p:cNvSpPr txBox="1"/>
          <p:nvPr userDrawn="1"/>
        </p:nvSpPr>
        <p:spPr bwMode="white"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AC6091C-E947-4C0C-85B0-C87C084ACB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9262" y="938794"/>
            <a:ext cx="6429300" cy="1229360"/>
          </a:xfrm>
        </p:spPr>
        <p:txBody>
          <a:bodyPr wrap="square" anchor="b"/>
          <a:lstStyle>
            <a:lvl1pPr algn="l">
              <a:defRPr sz="36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A2044BBD-0109-43FF-A52D-8FA2841A4DF6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03123" y="2267712"/>
            <a:ext cx="6410071" cy="70088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text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D0EECB4-F8FF-42F6-B913-97C4F2956537}"/>
              </a:ext>
            </a:extLst>
          </p:cNvPr>
          <p:cNvGrpSpPr/>
          <p:nvPr userDrawn="1"/>
        </p:nvGrpSpPr>
        <p:grpSpPr>
          <a:xfrm>
            <a:off x="608171" y="6445106"/>
            <a:ext cx="1184706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A2743E06-9EDE-42AB-954B-24AD2E0EDE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F727B63B-9DDF-4464-B305-91E2F1F53A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BE99358C-EF1D-4887-8E23-C6B6EFECC05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AB115210-A643-4048-8CE2-AE858AA6D28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DADAB024-3024-4445-96A4-008D5EBBB3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8C49FA45-007B-4A99-BFB8-737C3A292BE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6AD6968C-6030-4061-9BA9-3E345BE073B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9267F80E-E3AF-43A3-AA96-C701371ACCD5}"/>
              </a:ext>
            </a:extLst>
          </p:cNvPr>
          <p:cNvSpPr txBox="1"/>
          <p:nvPr userDrawn="1"/>
        </p:nvSpPr>
        <p:spPr bwMode="white">
          <a:xfrm flipH="1">
            <a:off x="2074133" y="6506318"/>
            <a:ext cx="172933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</p:spTree>
    <p:extLst>
      <p:ext uri="{BB962C8B-B14F-4D97-AF65-F5344CB8AC3E}">
        <p14:creationId xmlns:p14="http://schemas.microsoft.com/office/powerpoint/2010/main" val="1405303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89834265-B4D7-4504-9C1C-C962DD96E4D9}"/>
              </a:ext>
            </a:extLst>
          </p:cNvPr>
          <p:cNvSpPr/>
          <p:nvPr userDrawn="1"/>
        </p:nvSpPr>
        <p:spPr>
          <a:xfrm rot="2700000">
            <a:off x="1157786" y="-4494882"/>
            <a:ext cx="7499811" cy="13471355"/>
          </a:xfrm>
          <a:custGeom>
            <a:avLst/>
            <a:gdLst>
              <a:gd name="connsiteX0" fmla="*/ 0 w 7499811"/>
              <a:gd name="connsiteY0" fmla="*/ 7314868 h 13467847"/>
              <a:gd name="connsiteX1" fmla="*/ 7314868 w 7499811"/>
              <a:gd name="connsiteY1" fmla="*/ 0 h 13467847"/>
              <a:gd name="connsiteX2" fmla="*/ 7499811 w 7499811"/>
              <a:gd name="connsiteY2" fmla="*/ 184942 h 13467847"/>
              <a:gd name="connsiteX3" fmla="*/ 7499811 w 7499811"/>
              <a:gd name="connsiteY3" fmla="*/ 9513150 h 13467847"/>
              <a:gd name="connsiteX4" fmla="*/ 3545114 w 7499811"/>
              <a:gd name="connsiteY4" fmla="*/ 13467847 h 13467847"/>
              <a:gd name="connsiteX5" fmla="*/ 0 w 7499811"/>
              <a:gd name="connsiteY5" fmla="*/ 9922733 h 13467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9811" h="13467847">
                <a:moveTo>
                  <a:pt x="0" y="7314868"/>
                </a:moveTo>
                <a:lnTo>
                  <a:pt x="7314868" y="0"/>
                </a:lnTo>
                <a:lnTo>
                  <a:pt x="7499811" y="184942"/>
                </a:lnTo>
                <a:lnTo>
                  <a:pt x="7499811" y="9513150"/>
                </a:lnTo>
                <a:lnTo>
                  <a:pt x="3545114" y="13467847"/>
                </a:lnTo>
                <a:lnTo>
                  <a:pt x="0" y="9922733"/>
                </a:lnTo>
                <a:close/>
              </a:path>
            </a:pathLst>
          </a:custGeom>
          <a:gradFill>
            <a:gsLst>
              <a:gs pos="24000">
                <a:schemeClr val="accent4"/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12F29CAF-76E7-4387-BEA8-66F482EB65A2}"/>
              </a:ext>
            </a:extLst>
          </p:cNvPr>
          <p:cNvSpPr/>
          <p:nvPr userDrawn="1"/>
        </p:nvSpPr>
        <p:spPr>
          <a:xfrm rot="2700000">
            <a:off x="7034683" y="-170263"/>
            <a:ext cx="1042026" cy="8666196"/>
          </a:xfrm>
          <a:custGeom>
            <a:avLst/>
            <a:gdLst>
              <a:gd name="connsiteX0" fmla="*/ 0 w 1042026"/>
              <a:gd name="connsiteY0" fmla="*/ 0 h 8663939"/>
              <a:gd name="connsiteX1" fmla="*/ 1042026 w 1042026"/>
              <a:gd name="connsiteY1" fmla="*/ 0 h 8663939"/>
              <a:gd name="connsiteX2" fmla="*/ 1042026 w 1042026"/>
              <a:gd name="connsiteY2" fmla="*/ 7621913 h 8663939"/>
              <a:gd name="connsiteX3" fmla="*/ 0 w 1042026"/>
              <a:gd name="connsiteY3" fmla="*/ 8663939 h 8663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2026" h="8663939">
                <a:moveTo>
                  <a:pt x="0" y="0"/>
                </a:moveTo>
                <a:lnTo>
                  <a:pt x="1042026" y="0"/>
                </a:lnTo>
                <a:lnTo>
                  <a:pt x="1042026" y="7621913"/>
                </a:lnTo>
                <a:lnTo>
                  <a:pt x="0" y="8663939"/>
                </a:lnTo>
                <a:close/>
              </a:path>
            </a:pathLst>
          </a:custGeom>
          <a:gradFill>
            <a:gsLst>
              <a:gs pos="94000">
                <a:schemeClr val="bg1"/>
              </a:gs>
              <a:gs pos="26000">
                <a:schemeClr val="accent4"/>
              </a:gs>
              <a:gs pos="76000">
                <a:schemeClr val="bg1">
                  <a:alpha val="91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48347C3-DAFD-4322-8B75-FAADCB97A100}"/>
              </a:ext>
            </a:extLst>
          </p:cNvPr>
          <p:cNvSpPr txBox="1"/>
          <p:nvPr userDrawn="1"/>
        </p:nvSpPr>
        <p:spPr bwMode="white"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A840448-0A4C-4F83-A1CE-7B630AF6D91D}"/>
              </a:ext>
            </a:extLst>
          </p:cNvPr>
          <p:cNvGrpSpPr/>
          <p:nvPr userDrawn="1"/>
        </p:nvGrpSpPr>
        <p:grpSpPr>
          <a:xfrm>
            <a:off x="608171" y="6445106"/>
            <a:ext cx="1184706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33BBD7F2-6BDB-40F5-BE43-2E5C642F40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1898F8B4-B178-4326-B6D0-C409F52A5D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04FAC758-8579-4948-8E17-F881282AF5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9BC37D6E-0610-40BC-A869-ED4C24F40D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id="{0AD2EDE2-8C04-4779-942A-CD00356199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id="{B9B95322-EB86-42B6-BCDB-3C38F71CED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id="{20532F85-7A34-4927-9486-A847F29CF7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10DCB4EB-8A9B-485D-A968-34B397B482C3}"/>
              </a:ext>
            </a:extLst>
          </p:cNvPr>
          <p:cNvSpPr txBox="1"/>
          <p:nvPr userDrawn="1"/>
        </p:nvSpPr>
        <p:spPr bwMode="white">
          <a:xfrm flipH="1">
            <a:off x="2074133" y="6506318"/>
            <a:ext cx="172933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©2019 VMware, Inc.</a:t>
            </a:r>
          </a:p>
        </p:txBody>
      </p:sp>
      <p:sp>
        <p:nvSpPr>
          <p:cNvPr id="41" name="Picture Placeholder 184">
            <a:extLst>
              <a:ext uri="{FF2B5EF4-FFF2-40B4-BE49-F238E27FC236}">
                <a16:creationId xmlns:a16="http://schemas.microsoft.com/office/drawing/2014/main" id="{997DC603-F304-4357-BF7F-19215EB70C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525372" y="4619335"/>
            <a:ext cx="2740739" cy="1371600"/>
          </a:xfrm>
          <a:noFill/>
        </p:spPr>
        <p:txBody>
          <a:bodyPr anchor="ctr"/>
          <a:lstStyle>
            <a:lvl1pPr algn="ctr">
              <a:defRPr sz="2400" b="1">
                <a:solidFill>
                  <a:srgbClr val="F8981D"/>
                </a:solidFill>
              </a:defRPr>
            </a:lvl1pPr>
          </a:lstStyle>
          <a:p>
            <a:r>
              <a:rPr lang="en-US" dirty="0"/>
              <a:t>Click to insert logo or delete box if not needed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6C21BA7-C6D2-446E-8FD2-266107E90C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9026" y="1600200"/>
            <a:ext cx="5414658" cy="3200400"/>
          </a:xfrm>
        </p:spPr>
        <p:txBody>
          <a:bodyPr anchor="b"/>
          <a:lstStyle>
            <a:lvl1pPr marL="169863" indent="-169863">
              <a:buClrTx/>
              <a:buSzPct val="100000"/>
              <a:buFont typeface="Metropolis" panose="00000500000000000000" pitchFamily="2" charset="0"/>
              <a:buChar char="“"/>
              <a:defRPr sz="2800">
                <a:solidFill>
                  <a:schemeClr val="bg1"/>
                </a:solidFill>
              </a:defRPr>
            </a:lvl1pPr>
            <a:lvl2pPr marL="457200" indent="-184150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2pPr>
            <a:lvl3pPr marL="744538" indent="-16986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3pPr>
            <a:lvl4pPr marL="969963" indent="-166688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4pPr>
            <a:lvl5pPr marL="1143000" indent="-13811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762CBDD-60C2-443D-88B5-C596896049D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808" y="5065776"/>
            <a:ext cx="4582337" cy="27432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</p:spTree>
    <p:extLst>
      <p:ext uri="{BB962C8B-B14F-4D97-AF65-F5344CB8AC3E}">
        <p14:creationId xmlns:p14="http://schemas.microsoft.com/office/powerpoint/2010/main" val="1968642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– Plu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89834265-B4D7-4504-9C1C-C962DD96E4D9}"/>
              </a:ext>
            </a:extLst>
          </p:cNvPr>
          <p:cNvSpPr/>
          <p:nvPr userDrawn="1"/>
        </p:nvSpPr>
        <p:spPr>
          <a:xfrm rot="2700000">
            <a:off x="1157786" y="-4494882"/>
            <a:ext cx="7499811" cy="13471355"/>
          </a:xfrm>
          <a:custGeom>
            <a:avLst/>
            <a:gdLst>
              <a:gd name="connsiteX0" fmla="*/ 0 w 7499811"/>
              <a:gd name="connsiteY0" fmla="*/ 7314868 h 13467847"/>
              <a:gd name="connsiteX1" fmla="*/ 7314868 w 7499811"/>
              <a:gd name="connsiteY1" fmla="*/ 0 h 13467847"/>
              <a:gd name="connsiteX2" fmla="*/ 7499811 w 7499811"/>
              <a:gd name="connsiteY2" fmla="*/ 184942 h 13467847"/>
              <a:gd name="connsiteX3" fmla="*/ 7499811 w 7499811"/>
              <a:gd name="connsiteY3" fmla="*/ 9513150 h 13467847"/>
              <a:gd name="connsiteX4" fmla="*/ 3545114 w 7499811"/>
              <a:gd name="connsiteY4" fmla="*/ 13467847 h 13467847"/>
              <a:gd name="connsiteX5" fmla="*/ 0 w 7499811"/>
              <a:gd name="connsiteY5" fmla="*/ 9922733 h 13467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9811" h="13467847">
                <a:moveTo>
                  <a:pt x="0" y="7314868"/>
                </a:moveTo>
                <a:lnTo>
                  <a:pt x="7314868" y="0"/>
                </a:lnTo>
                <a:lnTo>
                  <a:pt x="7499811" y="184942"/>
                </a:lnTo>
                <a:lnTo>
                  <a:pt x="7499811" y="9513150"/>
                </a:lnTo>
                <a:lnTo>
                  <a:pt x="3545114" y="13467847"/>
                </a:lnTo>
                <a:lnTo>
                  <a:pt x="0" y="9922733"/>
                </a:lnTo>
                <a:close/>
              </a:path>
            </a:pathLst>
          </a:custGeom>
          <a:gradFill>
            <a:gsLst>
              <a:gs pos="24000">
                <a:srgbClr val="7F35AB"/>
              </a:gs>
              <a:gs pos="87000">
                <a:srgbClr val="264088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12F29CAF-76E7-4387-BEA8-66F482EB65A2}"/>
              </a:ext>
            </a:extLst>
          </p:cNvPr>
          <p:cNvSpPr/>
          <p:nvPr userDrawn="1"/>
        </p:nvSpPr>
        <p:spPr>
          <a:xfrm rot="2700000">
            <a:off x="7034683" y="-170263"/>
            <a:ext cx="1042026" cy="8666196"/>
          </a:xfrm>
          <a:custGeom>
            <a:avLst/>
            <a:gdLst>
              <a:gd name="connsiteX0" fmla="*/ 0 w 1042026"/>
              <a:gd name="connsiteY0" fmla="*/ 0 h 8663939"/>
              <a:gd name="connsiteX1" fmla="*/ 1042026 w 1042026"/>
              <a:gd name="connsiteY1" fmla="*/ 0 h 8663939"/>
              <a:gd name="connsiteX2" fmla="*/ 1042026 w 1042026"/>
              <a:gd name="connsiteY2" fmla="*/ 7621913 h 8663939"/>
              <a:gd name="connsiteX3" fmla="*/ 0 w 1042026"/>
              <a:gd name="connsiteY3" fmla="*/ 8663939 h 8663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2026" h="8663939">
                <a:moveTo>
                  <a:pt x="0" y="0"/>
                </a:moveTo>
                <a:lnTo>
                  <a:pt x="1042026" y="0"/>
                </a:lnTo>
                <a:lnTo>
                  <a:pt x="1042026" y="7621913"/>
                </a:lnTo>
                <a:lnTo>
                  <a:pt x="0" y="8663939"/>
                </a:lnTo>
                <a:close/>
              </a:path>
            </a:pathLst>
          </a:custGeom>
          <a:gradFill>
            <a:gsLst>
              <a:gs pos="22000">
                <a:srgbClr val="7F35AB">
                  <a:alpha val="94000"/>
                </a:srgbClr>
              </a:gs>
              <a:gs pos="95000">
                <a:schemeClr val="bg1"/>
              </a:gs>
              <a:gs pos="77000">
                <a:schemeClr val="bg1">
                  <a:alpha val="79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48347C3-DAFD-4322-8B75-FAADCB97A100}"/>
              </a:ext>
            </a:extLst>
          </p:cNvPr>
          <p:cNvSpPr txBox="1"/>
          <p:nvPr userDrawn="1"/>
        </p:nvSpPr>
        <p:spPr bwMode="white"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A840448-0A4C-4F83-A1CE-7B630AF6D91D}"/>
              </a:ext>
            </a:extLst>
          </p:cNvPr>
          <p:cNvGrpSpPr/>
          <p:nvPr userDrawn="1"/>
        </p:nvGrpSpPr>
        <p:grpSpPr>
          <a:xfrm>
            <a:off x="608171" y="6445106"/>
            <a:ext cx="1184706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33BBD7F2-6BDB-40F5-BE43-2E5C642F40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1898F8B4-B178-4326-B6D0-C409F52A5D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04FAC758-8579-4948-8E17-F881282AF5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9BC37D6E-0610-40BC-A869-ED4C24F40D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id="{0AD2EDE2-8C04-4779-942A-CD00356199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id="{B9B95322-EB86-42B6-BCDB-3C38F71CED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id="{20532F85-7A34-4927-9486-A847F29CF7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10DCB4EB-8A9B-485D-A968-34B397B482C3}"/>
              </a:ext>
            </a:extLst>
          </p:cNvPr>
          <p:cNvSpPr txBox="1"/>
          <p:nvPr userDrawn="1"/>
        </p:nvSpPr>
        <p:spPr bwMode="white">
          <a:xfrm flipH="1">
            <a:off x="2074133" y="6506318"/>
            <a:ext cx="172933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©2019 VMware, Inc.</a:t>
            </a:r>
          </a:p>
        </p:txBody>
      </p:sp>
      <p:sp>
        <p:nvSpPr>
          <p:cNvPr id="41" name="Picture Placeholder 184">
            <a:extLst>
              <a:ext uri="{FF2B5EF4-FFF2-40B4-BE49-F238E27FC236}">
                <a16:creationId xmlns:a16="http://schemas.microsoft.com/office/drawing/2014/main" id="{997DC603-F304-4357-BF7F-19215EB70C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525372" y="4619335"/>
            <a:ext cx="2740739" cy="1371600"/>
          </a:xfrm>
          <a:noFill/>
        </p:spPr>
        <p:txBody>
          <a:bodyPr anchor="ctr"/>
          <a:lstStyle>
            <a:lvl1pPr algn="ctr">
              <a:defRPr sz="2400" b="1">
                <a:solidFill>
                  <a:srgbClr val="F8981D"/>
                </a:solidFill>
              </a:defRPr>
            </a:lvl1pPr>
          </a:lstStyle>
          <a:p>
            <a:r>
              <a:rPr lang="en-US" dirty="0"/>
              <a:t>Click to insert logo or delete box if not needed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6C21BA7-C6D2-446E-8FD2-266107E90C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9026" y="1600200"/>
            <a:ext cx="5414658" cy="3200400"/>
          </a:xfrm>
        </p:spPr>
        <p:txBody>
          <a:bodyPr anchor="b"/>
          <a:lstStyle>
            <a:lvl1pPr marL="169863" indent="-169863">
              <a:buClrTx/>
              <a:buSzPct val="100000"/>
              <a:buFont typeface="Metropolis" panose="00000500000000000000" pitchFamily="2" charset="0"/>
              <a:buChar char="“"/>
              <a:defRPr sz="2800">
                <a:solidFill>
                  <a:schemeClr val="bg1"/>
                </a:solidFill>
              </a:defRPr>
            </a:lvl1pPr>
            <a:lvl2pPr marL="457200" indent="-184150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2pPr>
            <a:lvl3pPr marL="744538" indent="-16986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3pPr>
            <a:lvl4pPr marL="969963" indent="-166688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4pPr>
            <a:lvl5pPr marL="1143000" indent="-13811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762CBDD-60C2-443D-88B5-C596896049D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808" y="5065776"/>
            <a:ext cx="4582337" cy="27432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</p:spTree>
    <p:extLst>
      <p:ext uri="{BB962C8B-B14F-4D97-AF65-F5344CB8AC3E}">
        <p14:creationId xmlns:p14="http://schemas.microsoft.com/office/powerpoint/2010/main" val="3133299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–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89834265-B4D7-4504-9C1C-C962DD96E4D9}"/>
              </a:ext>
            </a:extLst>
          </p:cNvPr>
          <p:cNvSpPr/>
          <p:nvPr userDrawn="1"/>
        </p:nvSpPr>
        <p:spPr>
          <a:xfrm rot="2700000">
            <a:off x="1157786" y="-4494882"/>
            <a:ext cx="7499811" cy="13471355"/>
          </a:xfrm>
          <a:custGeom>
            <a:avLst/>
            <a:gdLst>
              <a:gd name="connsiteX0" fmla="*/ 0 w 7499811"/>
              <a:gd name="connsiteY0" fmla="*/ 7314868 h 13467847"/>
              <a:gd name="connsiteX1" fmla="*/ 7314868 w 7499811"/>
              <a:gd name="connsiteY1" fmla="*/ 0 h 13467847"/>
              <a:gd name="connsiteX2" fmla="*/ 7499811 w 7499811"/>
              <a:gd name="connsiteY2" fmla="*/ 184942 h 13467847"/>
              <a:gd name="connsiteX3" fmla="*/ 7499811 w 7499811"/>
              <a:gd name="connsiteY3" fmla="*/ 9513150 h 13467847"/>
              <a:gd name="connsiteX4" fmla="*/ 3545114 w 7499811"/>
              <a:gd name="connsiteY4" fmla="*/ 13467847 h 13467847"/>
              <a:gd name="connsiteX5" fmla="*/ 0 w 7499811"/>
              <a:gd name="connsiteY5" fmla="*/ 9922733 h 13467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9811" h="13467847">
                <a:moveTo>
                  <a:pt x="0" y="7314868"/>
                </a:moveTo>
                <a:lnTo>
                  <a:pt x="7314868" y="0"/>
                </a:lnTo>
                <a:lnTo>
                  <a:pt x="7499811" y="184942"/>
                </a:lnTo>
                <a:lnTo>
                  <a:pt x="7499811" y="9513150"/>
                </a:lnTo>
                <a:lnTo>
                  <a:pt x="3545114" y="13467847"/>
                </a:lnTo>
                <a:lnTo>
                  <a:pt x="0" y="9922733"/>
                </a:lnTo>
                <a:close/>
              </a:path>
            </a:pathLst>
          </a:custGeom>
          <a:gradFill>
            <a:gsLst>
              <a:gs pos="24000">
                <a:schemeClr val="accent3"/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12F29CAF-76E7-4387-BEA8-66F482EB65A2}"/>
              </a:ext>
            </a:extLst>
          </p:cNvPr>
          <p:cNvSpPr/>
          <p:nvPr userDrawn="1"/>
        </p:nvSpPr>
        <p:spPr>
          <a:xfrm rot="2700000">
            <a:off x="7034683" y="-170263"/>
            <a:ext cx="1042026" cy="8666196"/>
          </a:xfrm>
          <a:custGeom>
            <a:avLst/>
            <a:gdLst>
              <a:gd name="connsiteX0" fmla="*/ 0 w 1042026"/>
              <a:gd name="connsiteY0" fmla="*/ 0 h 8663939"/>
              <a:gd name="connsiteX1" fmla="*/ 1042026 w 1042026"/>
              <a:gd name="connsiteY1" fmla="*/ 0 h 8663939"/>
              <a:gd name="connsiteX2" fmla="*/ 1042026 w 1042026"/>
              <a:gd name="connsiteY2" fmla="*/ 7621913 h 8663939"/>
              <a:gd name="connsiteX3" fmla="*/ 0 w 1042026"/>
              <a:gd name="connsiteY3" fmla="*/ 8663939 h 8663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2026" h="8663939">
                <a:moveTo>
                  <a:pt x="0" y="0"/>
                </a:moveTo>
                <a:lnTo>
                  <a:pt x="1042026" y="0"/>
                </a:lnTo>
                <a:lnTo>
                  <a:pt x="1042026" y="7621913"/>
                </a:lnTo>
                <a:lnTo>
                  <a:pt x="0" y="8663939"/>
                </a:lnTo>
                <a:close/>
              </a:path>
            </a:pathLst>
          </a:custGeom>
          <a:gradFill>
            <a:gsLst>
              <a:gs pos="24000">
                <a:schemeClr val="accent3"/>
              </a:gs>
              <a:gs pos="80511">
                <a:schemeClr val="bg1">
                  <a:alpha val="76000"/>
                </a:schemeClr>
              </a:gs>
              <a:gs pos="100000">
                <a:schemeClr val="bg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48347C3-DAFD-4322-8B75-FAADCB97A100}"/>
              </a:ext>
            </a:extLst>
          </p:cNvPr>
          <p:cNvSpPr txBox="1"/>
          <p:nvPr userDrawn="1"/>
        </p:nvSpPr>
        <p:spPr bwMode="white"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A840448-0A4C-4F83-A1CE-7B630AF6D91D}"/>
              </a:ext>
            </a:extLst>
          </p:cNvPr>
          <p:cNvGrpSpPr/>
          <p:nvPr userDrawn="1"/>
        </p:nvGrpSpPr>
        <p:grpSpPr>
          <a:xfrm>
            <a:off x="608171" y="6445106"/>
            <a:ext cx="1184706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33BBD7F2-6BDB-40F5-BE43-2E5C642F40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1898F8B4-B178-4326-B6D0-C409F52A5D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04FAC758-8579-4948-8E17-F881282AF5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9BC37D6E-0610-40BC-A869-ED4C24F40D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id="{0AD2EDE2-8C04-4779-942A-CD00356199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id="{B9B95322-EB86-42B6-BCDB-3C38F71CED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id="{20532F85-7A34-4927-9486-A847F29CF7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10DCB4EB-8A9B-485D-A968-34B397B482C3}"/>
              </a:ext>
            </a:extLst>
          </p:cNvPr>
          <p:cNvSpPr txBox="1"/>
          <p:nvPr userDrawn="1"/>
        </p:nvSpPr>
        <p:spPr bwMode="white">
          <a:xfrm flipH="1">
            <a:off x="2074133" y="6506318"/>
            <a:ext cx="172933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©2019 VMware, Inc.</a:t>
            </a:r>
          </a:p>
        </p:txBody>
      </p:sp>
      <p:sp>
        <p:nvSpPr>
          <p:cNvPr id="41" name="Picture Placeholder 184">
            <a:extLst>
              <a:ext uri="{FF2B5EF4-FFF2-40B4-BE49-F238E27FC236}">
                <a16:creationId xmlns:a16="http://schemas.microsoft.com/office/drawing/2014/main" id="{997DC603-F304-4357-BF7F-19215EB70C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525372" y="4619335"/>
            <a:ext cx="2740739" cy="1371600"/>
          </a:xfrm>
          <a:noFill/>
        </p:spPr>
        <p:txBody>
          <a:bodyPr anchor="ctr"/>
          <a:lstStyle>
            <a:lvl1pPr algn="ctr">
              <a:defRPr sz="2400" b="1">
                <a:solidFill>
                  <a:srgbClr val="F8981D"/>
                </a:solidFill>
              </a:defRPr>
            </a:lvl1pPr>
          </a:lstStyle>
          <a:p>
            <a:r>
              <a:rPr lang="en-US" dirty="0"/>
              <a:t>Click to insert logo or delete box if not needed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6C21BA7-C6D2-446E-8FD2-266107E90C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9026" y="1600200"/>
            <a:ext cx="5414658" cy="3200400"/>
          </a:xfrm>
        </p:spPr>
        <p:txBody>
          <a:bodyPr anchor="b"/>
          <a:lstStyle>
            <a:lvl1pPr marL="169863" indent="-169863">
              <a:buClrTx/>
              <a:buSzPct val="100000"/>
              <a:buFont typeface="Metropolis" panose="00000500000000000000" pitchFamily="2" charset="0"/>
              <a:buChar char="“"/>
              <a:defRPr sz="2800">
                <a:solidFill>
                  <a:schemeClr val="bg1"/>
                </a:solidFill>
              </a:defRPr>
            </a:lvl1pPr>
            <a:lvl2pPr marL="457200" indent="-184150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2pPr>
            <a:lvl3pPr marL="744538" indent="-16986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3pPr>
            <a:lvl4pPr marL="969963" indent="-166688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4pPr>
            <a:lvl5pPr marL="1143000" indent="-13811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762CBDD-60C2-443D-88B5-C596896049D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808" y="5065776"/>
            <a:ext cx="4582337" cy="27432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</p:spTree>
    <p:extLst>
      <p:ext uri="{BB962C8B-B14F-4D97-AF65-F5344CB8AC3E}">
        <p14:creationId xmlns:p14="http://schemas.microsoft.com/office/powerpoint/2010/main" val="3299639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with Pho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6AB501C1-9DF6-44B6-A147-29CFF5E96E50}"/>
              </a:ext>
            </a:extLst>
          </p:cNvPr>
          <p:cNvSpPr/>
          <p:nvPr userDrawn="1"/>
        </p:nvSpPr>
        <p:spPr>
          <a:xfrm rot="2700000">
            <a:off x="970105" y="-4050628"/>
            <a:ext cx="6293364" cy="12458062"/>
          </a:xfrm>
          <a:custGeom>
            <a:avLst/>
            <a:gdLst>
              <a:gd name="connsiteX0" fmla="*/ 0 w 6293364"/>
              <a:gd name="connsiteY0" fmla="*/ 6293364 h 12454818"/>
              <a:gd name="connsiteX1" fmla="*/ 6293364 w 6293364"/>
              <a:gd name="connsiteY1" fmla="*/ 0 h 12454818"/>
              <a:gd name="connsiteX2" fmla="*/ 6293364 w 6293364"/>
              <a:gd name="connsiteY2" fmla="*/ 9715045 h 12454818"/>
              <a:gd name="connsiteX3" fmla="*/ 3553591 w 6293364"/>
              <a:gd name="connsiteY3" fmla="*/ 12454818 h 12454818"/>
              <a:gd name="connsiteX4" fmla="*/ 0 w 6293364"/>
              <a:gd name="connsiteY4" fmla="*/ 8901227 h 12454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93364" h="12454818">
                <a:moveTo>
                  <a:pt x="0" y="6293364"/>
                </a:moveTo>
                <a:lnTo>
                  <a:pt x="6293364" y="0"/>
                </a:lnTo>
                <a:lnTo>
                  <a:pt x="6293364" y="9715045"/>
                </a:lnTo>
                <a:lnTo>
                  <a:pt x="3553591" y="12454818"/>
                </a:lnTo>
                <a:lnTo>
                  <a:pt x="0" y="8901227"/>
                </a:lnTo>
                <a:close/>
              </a:path>
            </a:pathLst>
          </a:custGeom>
          <a:gradFill>
            <a:gsLst>
              <a:gs pos="24000">
                <a:schemeClr val="accent4">
                  <a:alpha val="46000"/>
                </a:schemeClr>
              </a:gs>
              <a:gs pos="79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48347C3-DAFD-4322-8B75-FAADCB97A100}"/>
              </a:ext>
            </a:extLst>
          </p:cNvPr>
          <p:cNvSpPr txBox="1"/>
          <p:nvPr userDrawn="1"/>
        </p:nvSpPr>
        <p:spPr bwMode="white"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A840448-0A4C-4F83-A1CE-7B630AF6D91D}"/>
              </a:ext>
            </a:extLst>
          </p:cNvPr>
          <p:cNvGrpSpPr/>
          <p:nvPr userDrawn="1"/>
        </p:nvGrpSpPr>
        <p:grpSpPr>
          <a:xfrm>
            <a:off x="608171" y="6445106"/>
            <a:ext cx="1184706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33BBD7F2-6BDB-40F5-BE43-2E5C642F40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1898F8B4-B178-4326-B6D0-C409F52A5D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04FAC758-8579-4948-8E17-F881282AF5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9BC37D6E-0610-40BC-A869-ED4C24F40D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id="{0AD2EDE2-8C04-4779-942A-CD00356199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id="{B9B95322-EB86-42B6-BCDB-3C38F71CED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id="{20532F85-7A34-4927-9486-A847F29CF7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10DCB4EB-8A9B-485D-A968-34B397B482C3}"/>
              </a:ext>
            </a:extLst>
          </p:cNvPr>
          <p:cNvSpPr txBox="1"/>
          <p:nvPr userDrawn="1"/>
        </p:nvSpPr>
        <p:spPr bwMode="white">
          <a:xfrm flipH="1">
            <a:off x="2074133" y="6506318"/>
            <a:ext cx="172933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©2019 VMware, Inc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6C21BA7-C6D2-446E-8FD2-266107E90C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9026" y="1600200"/>
            <a:ext cx="5414658" cy="3200400"/>
          </a:xfrm>
        </p:spPr>
        <p:txBody>
          <a:bodyPr anchor="b"/>
          <a:lstStyle>
            <a:lvl1pPr marL="169863" indent="-169863">
              <a:buClrTx/>
              <a:buSzPct val="100000"/>
              <a:buFont typeface="Metropolis" panose="00000500000000000000" pitchFamily="2" charset="0"/>
              <a:buChar char="“"/>
              <a:defRPr sz="2800">
                <a:solidFill>
                  <a:schemeClr val="bg1"/>
                </a:solidFill>
              </a:defRPr>
            </a:lvl1pPr>
            <a:lvl2pPr marL="457200" indent="-184150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2pPr>
            <a:lvl3pPr marL="744538" indent="-16986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3pPr>
            <a:lvl4pPr marL="969963" indent="-166688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4pPr>
            <a:lvl5pPr marL="1143000" indent="-13811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762CBDD-60C2-443D-88B5-C596896049D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808" y="5065776"/>
            <a:ext cx="4582337" cy="27432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</p:spTree>
    <p:extLst>
      <p:ext uri="{BB962C8B-B14F-4D97-AF65-F5344CB8AC3E}">
        <p14:creationId xmlns:p14="http://schemas.microsoft.com/office/powerpoint/2010/main" val="2714531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with Photo – Purp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6AB501C1-9DF6-44B6-A147-29CFF5E96E50}"/>
              </a:ext>
            </a:extLst>
          </p:cNvPr>
          <p:cNvSpPr/>
          <p:nvPr userDrawn="1"/>
        </p:nvSpPr>
        <p:spPr>
          <a:xfrm rot="2700000">
            <a:off x="970105" y="-4050628"/>
            <a:ext cx="6293364" cy="12458062"/>
          </a:xfrm>
          <a:custGeom>
            <a:avLst/>
            <a:gdLst>
              <a:gd name="connsiteX0" fmla="*/ 0 w 6293364"/>
              <a:gd name="connsiteY0" fmla="*/ 6293364 h 12454818"/>
              <a:gd name="connsiteX1" fmla="*/ 6293364 w 6293364"/>
              <a:gd name="connsiteY1" fmla="*/ 0 h 12454818"/>
              <a:gd name="connsiteX2" fmla="*/ 6293364 w 6293364"/>
              <a:gd name="connsiteY2" fmla="*/ 9715045 h 12454818"/>
              <a:gd name="connsiteX3" fmla="*/ 3553591 w 6293364"/>
              <a:gd name="connsiteY3" fmla="*/ 12454818 h 12454818"/>
              <a:gd name="connsiteX4" fmla="*/ 0 w 6293364"/>
              <a:gd name="connsiteY4" fmla="*/ 8901227 h 12454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93364" h="12454818">
                <a:moveTo>
                  <a:pt x="0" y="6293364"/>
                </a:moveTo>
                <a:lnTo>
                  <a:pt x="6293364" y="0"/>
                </a:lnTo>
                <a:lnTo>
                  <a:pt x="6293364" y="9715045"/>
                </a:lnTo>
                <a:lnTo>
                  <a:pt x="3553591" y="12454818"/>
                </a:lnTo>
                <a:lnTo>
                  <a:pt x="0" y="8901227"/>
                </a:lnTo>
                <a:close/>
              </a:path>
            </a:pathLst>
          </a:custGeom>
          <a:gradFill>
            <a:gsLst>
              <a:gs pos="0">
                <a:srgbClr val="7F35AB">
                  <a:alpha val="27000"/>
                </a:srgbClr>
              </a:gs>
              <a:gs pos="82000">
                <a:srgbClr val="264088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48347C3-DAFD-4322-8B75-FAADCB97A100}"/>
              </a:ext>
            </a:extLst>
          </p:cNvPr>
          <p:cNvSpPr txBox="1"/>
          <p:nvPr userDrawn="1"/>
        </p:nvSpPr>
        <p:spPr bwMode="white"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A840448-0A4C-4F83-A1CE-7B630AF6D91D}"/>
              </a:ext>
            </a:extLst>
          </p:cNvPr>
          <p:cNvGrpSpPr/>
          <p:nvPr userDrawn="1"/>
        </p:nvGrpSpPr>
        <p:grpSpPr>
          <a:xfrm>
            <a:off x="608171" y="6445106"/>
            <a:ext cx="1184706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33BBD7F2-6BDB-40F5-BE43-2E5C642F40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1898F8B4-B178-4326-B6D0-C409F52A5D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04FAC758-8579-4948-8E17-F881282AF5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9BC37D6E-0610-40BC-A869-ED4C24F40D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id="{0AD2EDE2-8C04-4779-942A-CD00356199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id="{B9B95322-EB86-42B6-BCDB-3C38F71CED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id="{20532F85-7A34-4927-9486-A847F29CF7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10DCB4EB-8A9B-485D-A968-34B397B482C3}"/>
              </a:ext>
            </a:extLst>
          </p:cNvPr>
          <p:cNvSpPr txBox="1"/>
          <p:nvPr userDrawn="1"/>
        </p:nvSpPr>
        <p:spPr bwMode="white">
          <a:xfrm flipH="1">
            <a:off x="2074133" y="6506318"/>
            <a:ext cx="172933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©2019 VMware, Inc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6C21BA7-C6D2-446E-8FD2-266107E90C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9026" y="1600200"/>
            <a:ext cx="5414658" cy="3200400"/>
          </a:xfrm>
        </p:spPr>
        <p:txBody>
          <a:bodyPr anchor="b"/>
          <a:lstStyle>
            <a:lvl1pPr marL="169863" indent="-169863">
              <a:buClrTx/>
              <a:buSzPct val="100000"/>
              <a:buFont typeface="Metropolis" panose="00000500000000000000" pitchFamily="2" charset="0"/>
              <a:buChar char="“"/>
              <a:defRPr sz="2800">
                <a:solidFill>
                  <a:schemeClr val="bg1"/>
                </a:solidFill>
              </a:defRPr>
            </a:lvl1pPr>
            <a:lvl2pPr marL="457200" indent="-184150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2pPr>
            <a:lvl3pPr marL="744538" indent="-16986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3pPr>
            <a:lvl4pPr marL="969963" indent="-166688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4pPr>
            <a:lvl5pPr marL="1143000" indent="-13811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762CBDD-60C2-443D-88B5-C596896049D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808" y="5065776"/>
            <a:ext cx="4582337" cy="27432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</p:spTree>
    <p:extLst>
      <p:ext uri="{BB962C8B-B14F-4D97-AF65-F5344CB8AC3E}">
        <p14:creationId xmlns:p14="http://schemas.microsoft.com/office/powerpoint/2010/main" val="2340187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485121" y="342901"/>
            <a:ext cx="1097280" cy="56769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14" y="342901"/>
            <a:ext cx="9550400" cy="56769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111049-A980-9A4B-BDCF-935BD3D35A43}" type="datetimeFigureOut">
              <a:rPr lang="en-US" smtClean="0"/>
              <a:t>24-Sep-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9C9BFC-FCFF-7247-B387-15C2934714B0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wipe dir="r"/>
      </p:transition>
    </mc:Choice>
    <mc:Fallback xmlns="">
      <p:transition xmlns:p14="http://schemas.microsoft.com/office/powerpoint/2010/main" spd="slow">
        <p:wipe dir="r"/>
      </p:transition>
    </mc:Fallback>
  </mc:AlternateConten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with Photo –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6AB501C1-9DF6-44B6-A147-29CFF5E96E50}"/>
              </a:ext>
            </a:extLst>
          </p:cNvPr>
          <p:cNvSpPr/>
          <p:nvPr userDrawn="1"/>
        </p:nvSpPr>
        <p:spPr>
          <a:xfrm rot="2700000">
            <a:off x="970105" y="-4050628"/>
            <a:ext cx="6293364" cy="12458062"/>
          </a:xfrm>
          <a:custGeom>
            <a:avLst/>
            <a:gdLst>
              <a:gd name="connsiteX0" fmla="*/ 0 w 6293364"/>
              <a:gd name="connsiteY0" fmla="*/ 6293364 h 12454818"/>
              <a:gd name="connsiteX1" fmla="*/ 6293364 w 6293364"/>
              <a:gd name="connsiteY1" fmla="*/ 0 h 12454818"/>
              <a:gd name="connsiteX2" fmla="*/ 6293364 w 6293364"/>
              <a:gd name="connsiteY2" fmla="*/ 9715045 h 12454818"/>
              <a:gd name="connsiteX3" fmla="*/ 3553591 w 6293364"/>
              <a:gd name="connsiteY3" fmla="*/ 12454818 h 12454818"/>
              <a:gd name="connsiteX4" fmla="*/ 0 w 6293364"/>
              <a:gd name="connsiteY4" fmla="*/ 8901227 h 12454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93364" h="12454818">
                <a:moveTo>
                  <a:pt x="0" y="6293364"/>
                </a:moveTo>
                <a:lnTo>
                  <a:pt x="6293364" y="0"/>
                </a:lnTo>
                <a:lnTo>
                  <a:pt x="6293364" y="9715045"/>
                </a:lnTo>
                <a:lnTo>
                  <a:pt x="3553591" y="12454818"/>
                </a:lnTo>
                <a:lnTo>
                  <a:pt x="0" y="8901227"/>
                </a:lnTo>
                <a:close/>
              </a:path>
            </a:pathLst>
          </a:custGeom>
          <a:gradFill>
            <a:gsLst>
              <a:gs pos="24000">
                <a:schemeClr val="accent3">
                  <a:alpha val="40000"/>
                </a:schemeClr>
              </a:gs>
              <a:gs pos="82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48347C3-DAFD-4322-8B75-FAADCB97A100}"/>
              </a:ext>
            </a:extLst>
          </p:cNvPr>
          <p:cNvSpPr txBox="1"/>
          <p:nvPr userDrawn="1"/>
        </p:nvSpPr>
        <p:spPr bwMode="white"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A840448-0A4C-4F83-A1CE-7B630AF6D91D}"/>
              </a:ext>
            </a:extLst>
          </p:cNvPr>
          <p:cNvGrpSpPr/>
          <p:nvPr userDrawn="1"/>
        </p:nvGrpSpPr>
        <p:grpSpPr>
          <a:xfrm>
            <a:off x="608171" y="6445106"/>
            <a:ext cx="1184706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33BBD7F2-6BDB-40F5-BE43-2E5C642F40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1898F8B4-B178-4326-B6D0-C409F52A5D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04FAC758-8579-4948-8E17-F881282AF5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9BC37D6E-0610-40BC-A869-ED4C24F40D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id="{0AD2EDE2-8C04-4779-942A-CD00356199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id="{B9B95322-EB86-42B6-BCDB-3C38F71CED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id="{20532F85-7A34-4927-9486-A847F29CF7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10DCB4EB-8A9B-485D-A968-34B397B482C3}"/>
              </a:ext>
            </a:extLst>
          </p:cNvPr>
          <p:cNvSpPr txBox="1"/>
          <p:nvPr userDrawn="1"/>
        </p:nvSpPr>
        <p:spPr bwMode="white">
          <a:xfrm flipH="1">
            <a:off x="2074133" y="6506318"/>
            <a:ext cx="172933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©2019 VMware, Inc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6C21BA7-C6D2-446E-8FD2-266107E90C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9026" y="1600200"/>
            <a:ext cx="5414658" cy="3200400"/>
          </a:xfrm>
        </p:spPr>
        <p:txBody>
          <a:bodyPr anchor="b"/>
          <a:lstStyle>
            <a:lvl1pPr marL="169863" indent="-169863">
              <a:buClrTx/>
              <a:buSzPct val="100000"/>
              <a:buFont typeface="Metropolis" panose="00000500000000000000" pitchFamily="2" charset="0"/>
              <a:buChar char="“"/>
              <a:defRPr sz="2800">
                <a:solidFill>
                  <a:schemeClr val="bg1"/>
                </a:solidFill>
              </a:defRPr>
            </a:lvl1pPr>
            <a:lvl2pPr marL="457200" indent="-184150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2pPr>
            <a:lvl3pPr marL="744538" indent="-16986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3pPr>
            <a:lvl4pPr marL="969963" indent="-166688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4pPr>
            <a:lvl5pPr marL="1143000" indent="-13811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762CBDD-60C2-443D-88B5-C596896049D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808" y="5065776"/>
            <a:ext cx="4582337" cy="27432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</p:spTree>
    <p:extLst>
      <p:ext uri="{BB962C8B-B14F-4D97-AF65-F5344CB8AC3E}">
        <p14:creationId xmlns:p14="http://schemas.microsoft.com/office/powerpoint/2010/main" val="2133474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with Photo – Whi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6AB501C1-9DF6-44B6-A147-29CFF5E96E50}"/>
              </a:ext>
            </a:extLst>
          </p:cNvPr>
          <p:cNvSpPr/>
          <p:nvPr userDrawn="1"/>
        </p:nvSpPr>
        <p:spPr>
          <a:xfrm rot="2700000">
            <a:off x="970105" y="-4050628"/>
            <a:ext cx="6293364" cy="12458062"/>
          </a:xfrm>
          <a:custGeom>
            <a:avLst/>
            <a:gdLst>
              <a:gd name="connsiteX0" fmla="*/ 0 w 6293364"/>
              <a:gd name="connsiteY0" fmla="*/ 6293364 h 12454818"/>
              <a:gd name="connsiteX1" fmla="*/ 6293364 w 6293364"/>
              <a:gd name="connsiteY1" fmla="*/ 0 h 12454818"/>
              <a:gd name="connsiteX2" fmla="*/ 6293364 w 6293364"/>
              <a:gd name="connsiteY2" fmla="*/ 9715045 h 12454818"/>
              <a:gd name="connsiteX3" fmla="*/ 3553591 w 6293364"/>
              <a:gd name="connsiteY3" fmla="*/ 12454818 h 12454818"/>
              <a:gd name="connsiteX4" fmla="*/ 0 w 6293364"/>
              <a:gd name="connsiteY4" fmla="*/ 8901227 h 12454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93364" h="12454818">
                <a:moveTo>
                  <a:pt x="0" y="6293364"/>
                </a:moveTo>
                <a:lnTo>
                  <a:pt x="6293364" y="0"/>
                </a:lnTo>
                <a:lnTo>
                  <a:pt x="6293364" y="9715045"/>
                </a:lnTo>
                <a:lnTo>
                  <a:pt x="3553591" y="12454818"/>
                </a:lnTo>
                <a:lnTo>
                  <a:pt x="0" y="8901227"/>
                </a:lnTo>
                <a:close/>
              </a:path>
            </a:pathLst>
          </a:custGeom>
          <a:gradFill>
            <a:gsLst>
              <a:gs pos="18000">
                <a:schemeClr val="bg1">
                  <a:alpha val="25000"/>
                </a:schemeClr>
              </a:gs>
              <a:gs pos="46000">
                <a:srgbClr val="FFFFFF">
                  <a:alpha val="64000"/>
                </a:srgbClr>
              </a:gs>
              <a:gs pos="77000">
                <a:schemeClr val="bg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48347C3-DAFD-4322-8B75-FAADCB97A100}"/>
              </a:ext>
            </a:extLst>
          </p:cNvPr>
          <p:cNvSpPr txBox="1"/>
          <p:nvPr userDrawn="1"/>
        </p:nvSpPr>
        <p:spPr bwMode="white"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tx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A840448-0A4C-4F83-A1CE-7B630AF6D91D}"/>
              </a:ext>
            </a:extLst>
          </p:cNvPr>
          <p:cNvGrpSpPr/>
          <p:nvPr userDrawn="1"/>
        </p:nvGrpSpPr>
        <p:grpSpPr>
          <a:xfrm>
            <a:off x="608171" y="6445106"/>
            <a:ext cx="1184706" cy="186690"/>
            <a:chOff x="863272" y="6563918"/>
            <a:chExt cx="861082" cy="135727"/>
          </a:xfrm>
          <a:solidFill>
            <a:schemeClr val="tx1"/>
          </a:solidFill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33BBD7F2-6BDB-40F5-BE43-2E5C642F40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1898F8B4-B178-4326-B6D0-C409F52A5D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04FAC758-8579-4948-8E17-F881282AF5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9BC37D6E-0610-40BC-A869-ED4C24F40D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id="{0AD2EDE2-8C04-4779-942A-CD00356199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id="{B9B95322-EB86-42B6-BCDB-3C38F71CED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id="{20532F85-7A34-4927-9486-A847F29CF7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10DCB4EB-8A9B-485D-A968-34B397B482C3}"/>
              </a:ext>
            </a:extLst>
          </p:cNvPr>
          <p:cNvSpPr txBox="1"/>
          <p:nvPr userDrawn="1"/>
        </p:nvSpPr>
        <p:spPr bwMode="white">
          <a:xfrm flipH="1">
            <a:off x="2074133" y="6506318"/>
            <a:ext cx="172933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©2019 VMware, Inc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6C21BA7-C6D2-446E-8FD2-266107E90C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9026" y="1600200"/>
            <a:ext cx="5414658" cy="3200400"/>
          </a:xfrm>
        </p:spPr>
        <p:txBody>
          <a:bodyPr anchor="b"/>
          <a:lstStyle>
            <a:lvl1pPr marL="169863" indent="-169863">
              <a:buClrTx/>
              <a:buSzPct val="100000"/>
              <a:buFont typeface="Metropolis" panose="00000500000000000000" pitchFamily="2" charset="0"/>
              <a:buChar char="“"/>
              <a:defRPr sz="2800">
                <a:solidFill>
                  <a:schemeClr val="tx2"/>
                </a:solidFill>
              </a:defRPr>
            </a:lvl1pPr>
            <a:lvl2pPr marL="457200" indent="-184150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2pPr>
            <a:lvl3pPr marL="744538" indent="-16986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3pPr>
            <a:lvl4pPr marL="969963" indent="-166688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4pPr>
            <a:lvl5pPr marL="1143000" indent="-138113">
              <a:buClrTx/>
              <a:buFont typeface="Metropolis" panose="00000500000000000000" pitchFamily="2" charset="0"/>
              <a:buChar char="“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762CBDD-60C2-443D-88B5-C596896049D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808" y="5065776"/>
            <a:ext cx="4582337" cy="274320"/>
          </a:xfrm>
        </p:spPr>
        <p:txBody>
          <a:bodyPr/>
          <a:lstStyle>
            <a:lvl1pPr>
              <a:defRPr sz="18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ource Name</a:t>
            </a:r>
          </a:p>
        </p:txBody>
      </p:sp>
    </p:spTree>
    <p:extLst>
      <p:ext uri="{BB962C8B-B14F-4D97-AF65-F5344CB8AC3E}">
        <p14:creationId xmlns:p14="http://schemas.microsoft.com/office/powerpoint/2010/main" val="2801652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D034FA3F-D529-4D8B-B6EC-A8341FCAF67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16666" y="1600201"/>
            <a:ext cx="10975658" cy="4572000"/>
          </a:xfrm>
        </p:spPr>
        <p:txBody>
          <a:bodyPr/>
          <a:lstStyle>
            <a:lvl1pPr>
              <a:spcBef>
                <a:spcPts val="1500"/>
              </a:spcBef>
              <a:defRPr/>
            </a:lvl1pPr>
            <a:lvl2pPr>
              <a:spcBef>
                <a:spcPts val="300"/>
              </a:spcBef>
              <a:defRPr/>
            </a:lvl2pPr>
            <a:lvl5pPr>
              <a:defRPr/>
            </a:lvl5pPr>
            <a:lvl6pPr>
              <a:defRPr/>
            </a:lvl6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27E3E8B-0F66-4996-9785-6E9531D89A5A}"/>
              </a:ext>
            </a:extLst>
          </p:cNvPr>
          <p:cNvSpPr txBox="1"/>
          <p:nvPr userDrawn="1"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216D2F66-BB7F-4F0E-A224-A105F87676EF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3021" y="811831"/>
            <a:ext cx="10990809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924E83-0498-4D8B-94A0-3FF7CDD8F1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</p:spTree>
    <p:extLst>
      <p:ext uri="{BB962C8B-B14F-4D97-AF65-F5344CB8AC3E}">
        <p14:creationId xmlns:p14="http://schemas.microsoft.com/office/powerpoint/2010/main" val="400950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8950B906-C5A3-4658-B24C-B2B533310D26}"/>
              </a:ext>
            </a:extLst>
          </p:cNvPr>
          <p:cNvSpPr txBox="1"/>
          <p:nvPr userDrawn="1"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C28211D2-9BBA-4EB9-8867-E2CC72E9E0D1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3021" y="811831"/>
            <a:ext cx="10965543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D90EF1-7A6F-4CAE-80CD-2BC8A8107F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</p:spTree>
    <p:extLst>
      <p:ext uri="{BB962C8B-B14F-4D97-AF65-F5344CB8AC3E}">
        <p14:creationId xmlns:p14="http://schemas.microsoft.com/office/powerpoint/2010/main" val="957580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Content Balanc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B6A9629E-98B5-43F5-8323-C894B734208A}"/>
              </a:ext>
            </a:extLst>
          </p:cNvPr>
          <p:cNvSpPr txBox="1"/>
          <p:nvPr userDrawn="1"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00E4C6-16B5-49A9-898A-3B53C5AB06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38535540-CB20-4CD5-9F73-DB64F5A49CD3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3021" y="811831"/>
            <a:ext cx="10965543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7AF420A-ED2C-4AD1-A28B-EB26178557D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0" y="1600200"/>
            <a:ext cx="5895128" cy="4572000"/>
          </a:xfrm>
        </p:spPr>
        <p:txBody>
          <a:bodyPr lIns="594360"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400"/>
            </a:lvl7pPr>
            <a:lvl8pPr>
              <a:defRPr sz="1200"/>
            </a:lvl8pPr>
            <a:lvl9pPr>
              <a:defRPr sz="18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5"/>
            <a:endParaRPr lang="en-US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CD860A49-A98C-4F0E-AB34-4E13B89D5EBC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22934" y="1600200"/>
            <a:ext cx="5869066" cy="4572000"/>
          </a:xfrm>
        </p:spPr>
        <p:txBody>
          <a:bodyPr lIns="0" rIns="594360"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400"/>
            </a:lvl7pPr>
            <a:lvl8pPr>
              <a:defRPr sz="1200"/>
            </a:lvl8pPr>
            <a:lvl9pPr>
              <a:defRPr sz="18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 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841650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Content Balanced –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D034FA3F-D529-4D8B-B6EC-A8341FCAF67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ltGray">
          <a:xfrm>
            <a:off x="1" y="1600201"/>
            <a:ext cx="5895128" cy="4572000"/>
          </a:xfrm>
          <a:solidFill>
            <a:schemeClr val="accent4"/>
          </a:solidFill>
        </p:spPr>
        <p:txBody>
          <a:bodyPr vert="horz" lIns="594360" tIns="457200" rIns="457200" bIns="457200" rtlCol="0">
            <a:noAutofit/>
          </a:bodyPr>
          <a:lstStyle>
            <a:lvl1pPr>
              <a:spcBef>
                <a:spcPts val="1200"/>
              </a:spcBef>
              <a:defRPr lang="en-US" sz="1800" dirty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lang="en-US" sz="1600" dirty="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lang="en-US" sz="1400" dirty="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lang="en-US" sz="1200" dirty="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lang="en-US" sz="1200" dirty="0">
                <a:solidFill>
                  <a:schemeClr val="bg1"/>
                </a:solidFill>
              </a:defRPr>
            </a:lvl5pPr>
            <a:lvl6pPr>
              <a:buClrTx/>
              <a:defRPr sz="1800">
                <a:solidFill>
                  <a:schemeClr val="bg1"/>
                </a:solidFill>
              </a:defRPr>
            </a:lvl6pPr>
            <a:lvl7pPr>
              <a:buClrTx/>
              <a:defRPr sz="1400">
                <a:solidFill>
                  <a:schemeClr val="bg1"/>
                </a:solidFill>
              </a:defRPr>
            </a:lvl7pPr>
            <a:lvl8pPr>
              <a:buClrTx/>
              <a:defRPr sz="1200">
                <a:solidFill>
                  <a:schemeClr val="bg1"/>
                </a:solidFill>
              </a:defRPr>
            </a:lvl8pPr>
            <a:lvl9pPr>
              <a:buClrTx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 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72" name="Content Placeholder 17">
            <a:extLst>
              <a:ext uri="{FF2B5EF4-FFF2-40B4-BE49-F238E27FC236}">
                <a16:creationId xmlns:a16="http://schemas.microsoft.com/office/drawing/2014/main" id="{A0456ED3-FDC5-4E29-B939-E35EA08477C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 bwMode="ltGray">
          <a:xfrm>
            <a:off x="6325029" y="1600201"/>
            <a:ext cx="5866973" cy="4572000"/>
          </a:xfrm>
          <a:solidFill>
            <a:schemeClr val="accent1"/>
          </a:solidFill>
        </p:spPr>
        <p:txBody>
          <a:bodyPr lIns="457200" tIns="457200" rIns="594360"/>
          <a:lstStyle>
            <a:lvl1pPr>
              <a:spcBef>
                <a:spcPts val="1200"/>
              </a:spcBef>
              <a:defRPr sz="18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2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6A9629E-98B5-43F5-8323-C894B734208A}"/>
              </a:ext>
            </a:extLst>
          </p:cNvPr>
          <p:cNvSpPr txBox="1"/>
          <p:nvPr userDrawn="1"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00E4C6-16B5-49A9-898A-3B53C5AB06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38535540-CB20-4CD5-9F73-DB64F5A49CD3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3021" y="811831"/>
            <a:ext cx="10965543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274122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D034FA3F-D529-4D8B-B6EC-A8341FCAF67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1" y="1600201"/>
            <a:ext cx="5867888" cy="4572000"/>
          </a:xfrm>
          <a:solidFill>
            <a:schemeClr val="bg2"/>
          </a:solidFill>
        </p:spPr>
        <p:txBody>
          <a:bodyPr lIns="594360" tIns="1371600" rIns="548640"/>
          <a:lstStyle>
            <a:lvl1pPr>
              <a:spcBef>
                <a:spcPts val="2400"/>
              </a:spcBef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400"/>
            </a:lvl7pPr>
            <a:lvl8pPr>
              <a:defRPr sz="1200"/>
            </a:lvl8pPr>
            <a:lvl9pPr>
              <a:defRPr sz="18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sp>
        <p:nvSpPr>
          <p:cNvPr id="72" name="Content Placeholder 17">
            <a:extLst>
              <a:ext uri="{FF2B5EF4-FFF2-40B4-BE49-F238E27FC236}">
                <a16:creationId xmlns:a16="http://schemas.microsoft.com/office/drawing/2014/main" id="{A0456ED3-FDC5-4E29-B939-E35EA08477C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 bwMode="gray">
          <a:xfrm>
            <a:off x="6325029" y="1600201"/>
            <a:ext cx="5866973" cy="4572000"/>
          </a:xfrm>
          <a:solidFill>
            <a:schemeClr val="bg2"/>
          </a:solidFill>
        </p:spPr>
        <p:txBody>
          <a:bodyPr lIns="548640" tIns="1371600" rIns="548640"/>
          <a:lstStyle>
            <a:lvl1pPr>
              <a:spcBef>
                <a:spcPts val="2400"/>
              </a:spcBef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400"/>
            </a:lvl7pPr>
            <a:lvl8pPr>
              <a:defRPr sz="1200"/>
            </a:lvl8pPr>
            <a:lvl9pPr>
              <a:defRPr sz="18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 Seventh level</a:t>
            </a:r>
          </a:p>
          <a:p>
            <a:pPr lvl="7"/>
            <a:r>
              <a:rPr lang="en-US" dirty="0"/>
              <a:t> 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8337636-71A7-4831-B382-F842B3A2949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" y="1806123"/>
            <a:ext cx="5638681" cy="911225"/>
          </a:xfrm>
          <a:solidFill>
            <a:schemeClr val="accent4"/>
          </a:solidFill>
        </p:spPr>
        <p:txBody>
          <a:bodyPr vert="horz" lIns="594360" tIns="91440" rIns="457200" bIns="91440" rtlCol="0" anchor="ctr">
            <a:noAutofit/>
          </a:bodyPr>
          <a:lstStyle>
            <a:lvl1pPr>
              <a:defRPr lang="en-US"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header 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78A74DE7-78E3-4ECA-9661-D73FBD37E48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553320" y="1806123"/>
            <a:ext cx="5638680" cy="911225"/>
          </a:xfrm>
          <a:solidFill>
            <a:schemeClr val="accent1"/>
          </a:solidFill>
        </p:spPr>
        <p:txBody>
          <a:bodyPr vert="horz" lIns="338328" tIns="91440" rIns="612648" bIns="91440" rtlCol="0" anchor="ctr">
            <a:noAutofit/>
          </a:bodyPr>
          <a:lstStyle>
            <a:lvl1pPr>
              <a:defRPr lang="en-US"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header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92176E5-FE3D-4EA5-BF24-8ABF8BFBF668}"/>
              </a:ext>
            </a:extLst>
          </p:cNvPr>
          <p:cNvSpPr txBox="1"/>
          <p:nvPr userDrawn="1"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6A1FE0B-90B1-4BED-9AA5-6DC9F6424E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541C7AA-97CA-4F96-9506-F144DA2CD8E2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3021" y="811831"/>
            <a:ext cx="10965543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794535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Dynamic –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A9E4CD6E-324F-4BEC-884B-D217C07BF39E}"/>
              </a:ext>
            </a:extLst>
          </p:cNvPr>
          <p:cNvSpPr txBox="1"/>
          <p:nvPr userDrawn="1"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346AD2E-9306-49E7-A98B-7D26E458C2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wrap="none"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577AE2CA-1B34-4F04-BD7F-F624F20E94F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52086" y="1600200"/>
            <a:ext cx="8231744" cy="457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551435C2-3F7C-4835-8DB0-71E2C00537CF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3021" y="811831"/>
            <a:ext cx="10965543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add 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0FD232-93CB-4B54-A933-93C11B099F7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1600200"/>
            <a:ext cx="2894767" cy="4572000"/>
          </a:xfrm>
          <a:solidFill>
            <a:schemeClr val="accent2"/>
          </a:solidFill>
        </p:spPr>
        <p:txBody>
          <a:bodyPr lIns="594360" tIns="457200" rIns="457200" bIns="457200"/>
          <a:lstStyle>
            <a:lvl1pPr>
              <a:defRPr sz="1600">
                <a:solidFill>
                  <a:schemeClr val="bg1"/>
                </a:solidFill>
              </a:defRPr>
            </a:lvl1pPr>
            <a:lvl2pPr marL="171450" indent="-171450"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 marL="342900" indent="-171450"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  <a:lvl4pPr marL="514350" indent="-171450"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 marL="742950" indent="-171450"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 sz="1800"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 sz="1400">
                <a:solidFill>
                  <a:schemeClr val="bg1"/>
                </a:solidFill>
              </a:defRPr>
            </a:lvl7pPr>
            <a:lvl8pPr>
              <a:buClrTx/>
              <a:defRPr sz="1200">
                <a:solidFill>
                  <a:schemeClr val="bg1"/>
                </a:solidFill>
              </a:defRPr>
            </a:lvl8pPr>
            <a:lvl9pPr>
              <a:buClrTx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469672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Dynamic –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460DEEA-0331-45ED-8943-6F9E7488409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08171" y="1600200"/>
            <a:ext cx="8231744" cy="45720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DE1D12F-78DF-4A32-BDDB-1E22FB9CA5D0}"/>
              </a:ext>
            </a:extLst>
          </p:cNvPr>
          <p:cNvSpPr txBox="1"/>
          <p:nvPr userDrawn="1"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92A934A-AC6B-460C-9C93-B13CF6B626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wrap="none"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F6F5131D-84AE-4294-83A1-243FE1C81A8A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3021" y="811831"/>
            <a:ext cx="10965543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197ED16-D162-4BF7-B635-2F70E10855A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97234" y="1600200"/>
            <a:ext cx="2894766" cy="4572000"/>
          </a:xfrm>
          <a:solidFill>
            <a:schemeClr val="accent1"/>
          </a:solidFill>
        </p:spPr>
        <p:txBody>
          <a:bodyPr lIns="457200" tIns="457200" rIns="594360" bIns="457200"/>
          <a:lstStyle>
            <a:lvl1pPr>
              <a:defRPr sz="1600">
                <a:solidFill>
                  <a:schemeClr val="bg1"/>
                </a:solidFill>
              </a:defRPr>
            </a:lvl1pPr>
            <a:lvl2pPr marL="171450" indent="-171450"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 marL="342900" indent="-171450"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  <a:lvl4pPr marL="514350" indent="-171450"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 marL="685800" indent="-171450"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 Eight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145335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-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D034FA3F-D529-4D8B-B6EC-A8341FCAF67E}"/>
              </a:ext>
            </a:extLst>
          </p:cNvPr>
          <p:cNvSpPr>
            <a:spLocks noGrp="1"/>
          </p:cNvSpPr>
          <p:nvPr userDrawn="1">
            <p:ph sz="quarter" idx="14" hasCustomPrompt="1"/>
          </p:nvPr>
        </p:nvSpPr>
        <p:spPr bwMode="gray">
          <a:xfrm>
            <a:off x="616665" y="2515154"/>
            <a:ext cx="3347801" cy="3657600"/>
          </a:xfrm>
          <a:solidFill>
            <a:schemeClr val="bg2"/>
          </a:solidFill>
        </p:spPr>
        <p:txBody>
          <a:bodyPr lIns="182880" tIns="274320" rIns="182880"/>
          <a:lstStyle>
            <a:lvl1pPr algn="l">
              <a:spcBef>
                <a:spcPts val="1200"/>
              </a:spcBef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200"/>
            </a:lvl7pPr>
            <a:lvl8pPr>
              <a:defRPr sz="1100"/>
            </a:lvl8pPr>
            <a:lvl9pPr>
              <a:defRPr sz="16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Level two</a:t>
            </a:r>
          </a:p>
          <a:p>
            <a:pPr lvl="2"/>
            <a:r>
              <a:rPr lang="en-US" dirty="0"/>
              <a:t>Level three</a:t>
            </a:r>
          </a:p>
          <a:p>
            <a:pPr lvl="3"/>
            <a:r>
              <a:rPr lang="en-US" dirty="0"/>
              <a:t>Level four</a:t>
            </a:r>
          </a:p>
          <a:p>
            <a:pPr lvl="4"/>
            <a:r>
              <a:rPr lang="en-US" dirty="0"/>
              <a:t>Level Five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 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  <a:p>
            <a:pPr lvl="1"/>
            <a:endParaRPr lang="en-US" dirty="0"/>
          </a:p>
        </p:txBody>
      </p:sp>
      <p:sp>
        <p:nvSpPr>
          <p:cNvPr id="72" name="Content Placeholder 17">
            <a:extLst>
              <a:ext uri="{FF2B5EF4-FFF2-40B4-BE49-F238E27FC236}">
                <a16:creationId xmlns:a16="http://schemas.microsoft.com/office/drawing/2014/main" id="{A0456ED3-FDC5-4E29-B939-E35EA08477CA}"/>
              </a:ext>
            </a:extLst>
          </p:cNvPr>
          <p:cNvSpPr>
            <a:spLocks noGrp="1"/>
          </p:cNvSpPr>
          <p:nvPr userDrawn="1">
            <p:ph sz="quarter" idx="16" hasCustomPrompt="1"/>
          </p:nvPr>
        </p:nvSpPr>
        <p:spPr bwMode="gray">
          <a:xfrm>
            <a:off x="4420828" y="2515154"/>
            <a:ext cx="3350345" cy="3657600"/>
          </a:xfrm>
          <a:solidFill>
            <a:schemeClr val="bg2"/>
          </a:solidFill>
        </p:spPr>
        <p:txBody>
          <a:bodyPr lIns="182880" tIns="274320" rIns="182880"/>
          <a:lstStyle>
            <a:lvl1pPr algn="l">
              <a:spcBef>
                <a:spcPts val="1200"/>
              </a:spcBef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200"/>
            </a:lvl7pPr>
            <a:lvl8pPr>
              <a:defRPr sz="1100"/>
            </a:lvl8pPr>
            <a:lvl9pPr>
              <a:defRPr sz="16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Level two</a:t>
            </a:r>
          </a:p>
          <a:p>
            <a:pPr lvl="2"/>
            <a:r>
              <a:rPr lang="en-US" dirty="0"/>
              <a:t>Level three</a:t>
            </a:r>
          </a:p>
          <a:p>
            <a:pPr lvl="3"/>
            <a:r>
              <a:rPr lang="en-US" dirty="0"/>
              <a:t>Level four</a:t>
            </a:r>
          </a:p>
          <a:p>
            <a:pPr lvl="4"/>
            <a:r>
              <a:rPr lang="en-US" dirty="0"/>
              <a:t>Level Five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 Level Seven 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  <a:p>
            <a:pPr lvl="3"/>
            <a:endParaRPr lang="en-US" dirty="0"/>
          </a:p>
          <a:p>
            <a:pPr lvl="1"/>
            <a:endParaRPr lang="en-US" dirty="0"/>
          </a:p>
        </p:txBody>
      </p:sp>
      <p:sp>
        <p:nvSpPr>
          <p:cNvPr id="73" name="Content Placeholder 17">
            <a:extLst>
              <a:ext uri="{FF2B5EF4-FFF2-40B4-BE49-F238E27FC236}">
                <a16:creationId xmlns:a16="http://schemas.microsoft.com/office/drawing/2014/main" id="{9C016467-4262-4DAA-9B43-A02E57530676}"/>
              </a:ext>
            </a:extLst>
          </p:cNvPr>
          <p:cNvSpPr>
            <a:spLocks noGrp="1"/>
          </p:cNvSpPr>
          <p:nvPr userDrawn="1">
            <p:ph sz="quarter" idx="17" hasCustomPrompt="1"/>
          </p:nvPr>
        </p:nvSpPr>
        <p:spPr bwMode="gray">
          <a:xfrm>
            <a:off x="8238506" y="2515154"/>
            <a:ext cx="3347576" cy="3657600"/>
          </a:xfrm>
          <a:solidFill>
            <a:schemeClr val="bg2"/>
          </a:solidFill>
        </p:spPr>
        <p:txBody>
          <a:bodyPr lIns="182880" tIns="274320" rIns="182880"/>
          <a:lstStyle>
            <a:lvl1pPr algn="l">
              <a:spcBef>
                <a:spcPts val="1200"/>
              </a:spcBef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200"/>
            </a:lvl7pPr>
            <a:lvl8pPr>
              <a:defRPr sz="1100"/>
            </a:lvl8pPr>
            <a:lvl9pPr>
              <a:defRPr sz="16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Level two</a:t>
            </a:r>
          </a:p>
          <a:p>
            <a:pPr lvl="2"/>
            <a:r>
              <a:rPr lang="en-US" dirty="0"/>
              <a:t>Level three</a:t>
            </a:r>
          </a:p>
          <a:p>
            <a:pPr lvl="3"/>
            <a:r>
              <a:rPr lang="en-US" dirty="0"/>
              <a:t>Level four</a:t>
            </a:r>
          </a:p>
          <a:p>
            <a:pPr lvl="4"/>
            <a:r>
              <a:rPr lang="en-US" dirty="0"/>
              <a:t>Level five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  <a:p>
            <a:pPr lvl="1"/>
            <a:endParaRPr lang="en-US" dirty="0"/>
          </a:p>
        </p:txBody>
      </p:sp>
      <p:sp>
        <p:nvSpPr>
          <p:cNvPr id="818" name="TextBox 817">
            <a:extLst>
              <a:ext uri="{FF2B5EF4-FFF2-40B4-BE49-F238E27FC236}">
                <a16:creationId xmlns:a16="http://schemas.microsoft.com/office/drawing/2014/main" id="{0B7E1504-B128-423C-AA77-E7FED5DC3B79}"/>
              </a:ext>
            </a:extLst>
          </p:cNvPr>
          <p:cNvSpPr txBox="1"/>
          <p:nvPr userDrawn="1"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F2C94F-DA57-4BDB-8E5C-E4A0C75223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C59F98B-A991-4DEC-A409-289E778CB84A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3021" y="811831"/>
            <a:ext cx="10965543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9392189-2D4C-4618-9072-F26EE557FD0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6664" y="1600200"/>
            <a:ext cx="3347576" cy="914400"/>
          </a:xfrm>
          <a:solidFill>
            <a:schemeClr val="accent4"/>
          </a:solidFill>
        </p:spPr>
        <p:txBody>
          <a:bodyPr lIns="182880" tIns="91440" rIns="182880" bIns="91440" anchor="ctr"/>
          <a:lstStyle>
            <a:lvl1pPr>
              <a:defRPr sz="1800">
                <a:solidFill>
                  <a:schemeClr val="bg1"/>
                </a:solidFill>
              </a:defRPr>
            </a:lvl1pPr>
            <a:lvl2pPr marL="0" indent="0">
              <a:buFont typeface="Open Sans" panose="020B0606030504020204" pitchFamily="34" charset="0"/>
              <a:buChar char="​"/>
              <a:defRPr sz="1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header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65955AB-F417-4DCB-8CC3-98BAC90A9AF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420827" y="1600200"/>
            <a:ext cx="3347576" cy="914400"/>
          </a:xfrm>
          <a:solidFill>
            <a:schemeClr val="accent1"/>
          </a:solidFill>
        </p:spPr>
        <p:txBody>
          <a:bodyPr lIns="182880" tIns="91440" rIns="182880" bIns="91440" anchor="ctr"/>
          <a:lstStyle>
            <a:lvl1pPr>
              <a:defRPr sz="1800">
                <a:solidFill>
                  <a:schemeClr val="bg1"/>
                </a:solidFill>
              </a:defRPr>
            </a:lvl1pPr>
            <a:lvl2pPr marL="0" indent="0">
              <a:buFont typeface="Open Sans" panose="020B0606030504020204" pitchFamily="34" charset="0"/>
              <a:buChar char="​"/>
              <a:defRPr sz="1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header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7AFB5407-642C-468A-81DB-F0C5C485F6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38506" y="1600200"/>
            <a:ext cx="3347576" cy="914400"/>
          </a:xfrm>
          <a:solidFill>
            <a:schemeClr val="accent2"/>
          </a:solidFill>
        </p:spPr>
        <p:txBody>
          <a:bodyPr lIns="182880" tIns="91440" rIns="182880" bIns="91440" anchor="ctr"/>
          <a:lstStyle>
            <a:lvl1pPr>
              <a:defRPr sz="1800">
                <a:solidFill>
                  <a:schemeClr val="bg1"/>
                </a:solidFill>
              </a:defRPr>
            </a:lvl1pPr>
            <a:lvl2pPr marL="0" indent="0">
              <a:buFont typeface="Open Sans" panose="020B0606030504020204" pitchFamily="34" charset="0"/>
              <a:buChar char="​"/>
              <a:defRPr sz="1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2155176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69899" y="786384"/>
            <a:ext cx="11180065" cy="5010912"/>
          </a:xfrm>
        </p:spPr>
        <p:txBody>
          <a:bodyPr/>
          <a:lstStyle>
            <a:lvl1pPr marL="233363" indent="-233363">
              <a:buClr>
                <a:schemeClr val="accent1">
                  <a:lumMod val="75000"/>
                </a:schemeClr>
              </a:buClr>
              <a:buFont typeface="Wingdings" pitchFamily="2" charset="2"/>
              <a:buChar char="§"/>
              <a:defRPr/>
            </a:lvl1pPr>
            <a:lvl2pPr>
              <a:buClr>
                <a:schemeClr val="accent1">
                  <a:lumMod val="75000"/>
                </a:schemeClr>
              </a:buClr>
              <a:defRPr/>
            </a:lvl2pPr>
            <a:lvl3pPr>
              <a:buClr>
                <a:schemeClr val="accent1">
                  <a:lumMod val="75000"/>
                </a:schemeClr>
              </a:buClr>
              <a:defRPr/>
            </a:lvl3pPr>
            <a:lvl4pPr>
              <a:buClr>
                <a:schemeClr val="accent1">
                  <a:lumMod val="75000"/>
                </a:schemeClr>
              </a:buClr>
              <a:defRPr/>
            </a:lvl4pPr>
            <a:lvl5pPr>
              <a:buClr>
                <a:schemeClr val="accent1">
                  <a:lumMod val="75000"/>
                </a:schemeClr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30CD733-93DE-4793-929B-26E6DBA7592D}"/>
              </a:ext>
            </a:extLst>
          </p:cNvPr>
          <p:cNvSpPr/>
          <p:nvPr userDrawn="1"/>
        </p:nvSpPr>
        <p:spPr bwMode="ltGray">
          <a:xfrm>
            <a:off x="1" y="1600202"/>
            <a:ext cx="7925276" cy="4570946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>
              <a:solidFill>
                <a:schemeClr val="accent2"/>
              </a:solidFill>
            </a:endParaRP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D8C8783A-257B-4A50-95A0-6C7B8E51707B}"/>
              </a:ext>
            </a:extLst>
          </p:cNvPr>
          <p:cNvCxnSpPr>
            <a:cxnSpLocks/>
          </p:cNvCxnSpPr>
          <p:nvPr userDrawn="1"/>
        </p:nvCxnSpPr>
        <p:spPr>
          <a:xfrm>
            <a:off x="8382596" y="1608668"/>
            <a:ext cx="3809404" cy="0"/>
          </a:xfrm>
          <a:prstGeom prst="line">
            <a:avLst/>
          </a:prstGeom>
          <a:ln w="25400">
            <a:solidFill>
              <a:schemeClr val="accent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3A17EA1E-A574-444B-9004-45836D98DAD0}"/>
              </a:ext>
            </a:extLst>
          </p:cNvPr>
          <p:cNvSpPr txBox="1"/>
          <p:nvPr userDrawn="1"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157BCD9-063B-4ED4-B68C-092EC2C34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wrap="none"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F7496CC-9DD2-4299-850C-005958FB65C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2596" y="1600200"/>
            <a:ext cx="3809404" cy="4572000"/>
          </a:xfrm>
        </p:spPr>
        <p:txBody>
          <a:bodyPr tIns="457200" rIns="594360" bIns="457200"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400"/>
            </a:lvl7pPr>
            <a:lvl8pPr>
              <a:defRPr sz="1200"/>
            </a:lvl8pPr>
            <a:lvl9pPr>
              <a:defRPr sz="18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 Seventh level</a:t>
            </a:r>
          </a:p>
          <a:p>
            <a:pPr lvl="7"/>
            <a:r>
              <a:rPr lang="en-US" dirty="0"/>
              <a:t> 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A0D276D7-17CD-46AB-99B2-97FD34FEEFFA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3021" y="811831"/>
            <a:ext cx="10965543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403068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tcome / Benef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BB1458BF-96C1-46C6-A67F-AD0FB4B4E5C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81008" y="4347904"/>
            <a:ext cx="3202822" cy="160020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8781D19-2DDB-4D83-983D-3D159A7DE7C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81008" y="2063048"/>
            <a:ext cx="3202822" cy="160020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005EB21-86C3-42EF-BFE7-549D9EA364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2596" y="1699688"/>
            <a:ext cx="2007123" cy="298450"/>
          </a:xfrm>
        </p:spPr>
        <p:txBody>
          <a:bodyPr anchor="b"/>
          <a:lstStyle>
            <a:lvl1pPr>
              <a:defRPr sz="1600">
                <a:solidFill>
                  <a:schemeClr val="accent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Outcome</a:t>
            </a:r>
          </a:p>
        </p:txBody>
      </p: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F789B473-DDE6-4450-A111-3761F341AAE3}"/>
              </a:ext>
            </a:extLst>
          </p:cNvPr>
          <p:cNvCxnSpPr>
            <a:cxnSpLocks/>
          </p:cNvCxnSpPr>
          <p:nvPr userDrawn="1"/>
        </p:nvCxnSpPr>
        <p:spPr>
          <a:xfrm>
            <a:off x="8382596" y="3872441"/>
            <a:ext cx="3809404" cy="0"/>
          </a:xfrm>
          <a:prstGeom prst="line">
            <a:avLst/>
          </a:prstGeom>
          <a:ln w="25400">
            <a:solidFill>
              <a:schemeClr val="accent4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 Placeholder 6">
            <a:extLst>
              <a:ext uri="{FF2B5EF4-FFF2-40B4-BE49-F238E27FC236}">
                <a16:creationId xmlns:a16="http://schemas.microsoft.com/office/drawing/2014/main" id="{0D0977FA-A4CA-4F1F-8109-D7498D165ED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82596" y="3972469"/>
            <a:ext cx="2007123" cy="298450"/>
          </a:xfrm>
        </p:spPr>
        <p:txBody>
          <a:bodyPr anchor="b"/>
          <a:lstStyle>
            <a:lvl1pPr>
              <a:defRPr sz="1600">
                <a:solidFill>
                  <a:schemeClr val="accent4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Benefi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F992B4C-D72B-4160-80E2-5EE05E2DDD3F}"/>
              </a:ext>
            </a:extLst>
          </p:cNvPr>
          <p:cNvSpPr txBox="1"/>
          <p:nvPr userDrawn="1"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E15888C-CFB4-4BEC-9B94-46E698DFC4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wrap="none"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2EE86E2-0F2F-484B-8170-3AEBA1DDEB2D}"/>
              </a:ext>
            </a:extLst>
          </p:cNvPr>
          <p:cNvSpPr/>
          <p:nvPr userDrawn="1"/>
        </p:nvSpPr>
        <p:spPr bwMode="ltGray">
          <a:xfrm>
            <a:off x="1" y="1600202"/>
            <a:ext cx="7925276" cy="457094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>
              <a:solidFill>
                <a:schemeClr val="accent2"/>
              </a:solidFill>
            </a:endParaRPr>
          </a:p>
        </p:txBody>
      </p: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56D4D92B-574E-4F63-A5BA-8F7282B54C27}"/>
              </a:ext>
            </a:extLst>
          </p:cNvPr>
          <p:cNvCxnSpPr>
            <a:cxnSpLocks/>
          </p:cNvCxnSpPr>
          <p:nvPr userDrawn="1"/>
        </p:nvCxnSpPr>
        <p:spPr>
          <a:xfrm>
            <a:off x="8382596" y="1608668"/>
            <a:ext cx="3809404" cy="0"/>
          </a:xfrm>
          <a:prstGeom prst="line">
            <a:avLst/>
          </a:prstGeom>
          <a:ln w="25400">
            <a:solidFill>
              <a:schemeClr val="accent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Subtitle 2">
            <a:extLst>
              <a:ext uri="{FF2B5EF4-FFF2-40B4-BE49-F238E27FC236}">
                <a16:creationId xmlns:a16="http://schemas.microsoft.com/office/drawing/2014/main" id="{E9D6A872-88BD-4DFC-AFFD-1E9BEEB6533B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3021" y="811831"/>
            <a:ext cx="10965543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547529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Succ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309367CD-64CE-4B7B-91B1-53B17F8F693D}"/>
              </a:ext>
            </a:extLst>
          </p:cNvPr>
          <p:cNvSpPr/>
          <p:nvPr userDrawn="1"/>
        </p:nvSpPr>
        <p:spPr bwMode="ltGray">
          <a:xfrm>
            <a:off x="1" y="1600202"/>
            <a:ext cx="7925276" cy="457094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US" sz="2800" dirty="0">
              <a:solidFill>
                <a:schemeClr val="accent2"/>
              </a:solidFill>
            </a:endParaRPr>
          </a:p>
        </p:txBody>
      </p:sp>
      <p:sp>
        <p:nvSpPr>
          <p:cNvPr id="72" name="Content Placeholder 17">
            <a:extLst>
              <a:ext uri="{FF2B5EF4-FFF2-40B4-BE49-F238E27FC236}">
                <a16:creationId xmlns:a16="http://schemas.microsoft.com/office/drawing/2014/main" id="{A0456ED3-FDC5-4E29-B939-E35EA08477C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11804" y="2409553"/>
            <a:ext cx="3202682" cy="934931"/>
          </a:xfrm>
          <a:noFill/>
        </p:spPr>
        <p:txBody>
          <a:bodyPr vert="horz" lIns="0" tIns="0" rIns="0" bIns="45720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050" dirty="0">
                <a:solidFill>
                  <a:schemeClr val="tx2"/>
                </a:solidFill>
              </a:defRPr>
            </a:lvl1pPr>
            <a:lvl2pPr marL="114300" indent="-114300">
              <a:lnSpc>
                <a:spcPct val="100000"/>
              </a:lnSpc>
              <a:spcBef>
                <a:spcPts val="0"/>
              </a:spcBef>
              <a:defRPr lang="en-US" sz="1000" dirty="0">
                <a:solidFill>
                  <a:schemeClr val="tx2"/>
                </a:solidFill>
              </a:defRPr>
            </a:lvl2pPr>
            <a:lvl3pPr>
              <a:defRPr lang="en-US" sz="1400" dirty="0">
                <a:solidFill>
                  <a:schemeClr val="tx2"/>
                </a:solidFill>
              </a:defRPr>
            </a:lvl3pPr>
            <a:lvl4pPr>
              <a:defRPr lang="en-US" sz="1200" dirty="0">
                <a:solidFill>
                  <a:schemeClr val="tx2"/>
                </a:solidFill>
              </a:defRPr>
            </a:lvl4pPr>
            <a:lvl5pPr>
              <a:defRPr lang="en-US" sz="120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005EB21-86C3-42EF-BFE7-549D9EA364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3253" y="2079840"/>
            <a:ext cx="2007123" cy="227454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About</a:t>
            </a:r>
          </a:p>
        </p:txBody>
      </p:sp>
      <p:sp>
        <p:nvSpPr>
          <p:cNvPr id="74" name="Content Placeholder 17">
            <a:extLst>
              <a:ext uri="{FF2B5EF4-FFF2-40B4-BE49-F238E27FC236}">
                <a16:creationId xmlns:a16="http://schemas.microsoft.com/office/drawing/2014/main" id="{F00013B6-2241-400E-9E61-946C485F8D5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11804" y="3952605"/>
            <a:ext cx="3202682" cy="847996"/>
          </a:xfrm>
          <a:noFill/>
        </p:spPr>
        <p:txBody>
          <a:bodyPr vert="horz" lIns="0" tIns="0" rIns="0" bIns="45720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050" dirty="0">
                <a:solidFill>
                  <a:schemeClr val="tx2"/>
                </a:solidFill>
              </a:defRPr>
            </a:lvl1pPr>
            <a:lvl2pPr marL="114300" indent="-114300">
              <a:lnSpc>
                <a:spcPct val="100000"/>
              </a:lnSpc>
              <a:spcBef>
                <a:spcPts val="0"/>
              </a:spcBef>
              <a:defRPr lang="en-US" sz="1000" dirty="0">
                <a:solidFill>
                  <a:schemeClr val="tx2"/>
                </a:solidFill>
              </a:defRPr>
            </a:lvl2pPr>
            <a:lvl3pPr>
              <a:defRPr lang="en-US" sz="1400" dirty="0">
                <a:solidFill>
                  <a:schemeClr val="tx2"/>
                </a:solidFill>
              </a:defRPr>
            </a:lvl3pPr>
            <a:lvl4pPr>
              <a:defRPr lang="en-US" sz="1200" dirty="0">
                <a:solidFill>
                  <a:schemeClr val="tx2"/>
                </a:solidFill>
              </a:defRPr>
            </a:lvl4pPr>
            <a:lvl5pPr>
              <a:defRPr lang="en-US" sz="120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D8C8783A-257B-4A50-95A0-6C7B8E51707B}"/>
              </a:ext>
            </a:extLst>
          </p:cNvPr>
          <p:cNvCxnSpPr>
            <a:cxnSpLocks/>
          </p:cNvCxnSpPr>
          <p:nvPr userDrawn="1"/>
        </p:nvCxnSpPr>
        <p:spPr>
          <a:xfrm>
            <a:off x="609759" y="1964843"/>
            <a:ext cx="3199645" cy="0"/>
          </a:xfrm>
          <a:prstGeom prst="line">
            <a:avLst/>
          </a:prstGeom>
          <a:ln w="25400">
            <a:solidFill>
              <a:schemeClr val="accent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F789B473-DDE6-4450-A111-3761F341AAE3}"/>
              </a:ext>
            </a:extLst>
          </p:cNvPr>
          <p:cNvCxnSpPr>
            <a:cxnSpLocks/>
          </p:cNvCxnSpPr>
          <p:nvPr userDrawn="1"/>
        </p:nvCxnSpPr>
        <p:spPr>
          <a:xfrm>
            <a:off x="609759" y="3547676"/>
            <a:ext cx="3199645" cy="0"/>
          </a:xfrm>
          <a:prstGeom prst="line">
            <a:avLst/>
          </a:prstGeom>
          <a:ln w="25400">
            <a:solidFill>
              <a:schemeClr val="accent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 Placeholder 6">
            <a:extLst>
              <a:ext uri="{FF2B5EF4-FFF2-40B4-BE49-F238E27FC236}">
                <a16:creationId xmlns:a16="http://schemas.microsoft.com/office/drawing/2014/main" id="{0D0977FA-A4CA-4F1F-8109-D7498D165EDD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613253" y="3634037"/>
            <a:ext cx="2007123" cy="227454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halleng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F992B4C-D72B-4160-80E2-5EE05E2DDD3F}"/>
              </a:ext>
            </a:extLst>
          </p:cNvPr>
          <p:cNvSpPr txBox="1"/>
          <p:nvPr userDrawn="1"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100000"/>
                </a:lnSpc>
                <a:spcBef>
                  <a:spcPts val="0"/>
                </a:spcBef>
              </a:pPr>
              <a:t>‹#›</a:t>
            </a:fld>
            <a:endParaRPr lang="en-US" sz="1800" dirty="0">
              <a:latin typeface="+mj-lt"/>
            </a:endParaRPr>
          </a:p>
        </p:txBody>
      </p:sp>
      <p:sp>
        <p:nvSpPr>
          <p:cNvPr id="87" name="Content Placeholder 17">
            <a:extLst>
              <a:ext uri="{FF2B5EF4-FFF2-40B4-BE49-F238E27FC236}">
                <a16:creationId xmlns:a16="http://schemas.microsoft.com/office/drawing/2014/main" id="{CB3B18B9-1B70-4F2B-86D9-C5183A845D12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270357" y="2409553"/>
            <a:ext cx="3202682" cy="934931"/>
          </a:xfrm>
          <a:noFill/>
        </p:spPr>
        <p:txBody>
          <a:bodyPr vert="horz" lIns="0" tIns="0" rIns="0" bIns="45720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050" dirty="0">
                <a:solidFill>
                  <a:schemeClr val="tx2"/>
                </a:solidFill>
              </a:defRPr>
            </a:lvl1pPr>
            <a:lvl2pPr marL="114300" indent="-114300">
              <a:lnSpc>
                <a:spcPct val="100000"/>
              </a:lnSpc>
              <a:spcBef>
                <a:spcPts val="0"/>
              </a:spcBef>
              <a:defRPr lang="en-US" sz="1000" dirty="0">
                <a:solidFill>
                  <a:schemeClr val="tx2"/>
                </a:solidFill>
              </a:defRPr>
            </a:lvl2pPr>
            <a:lvl3pPr>
              <a:defRPr lang="en-US" sz="1400" dirty="0">
                <a:solidFill>
                  <a:schemeClr val="tx2"/>
                </a:solidFill>
              </a:defRPr>
            </a:lvl3pPr>
            <a:lvl4pPr>
              <a:defRPr lang="en-US" sz="1200" dirty="0">
                <a:solidFill>
                  <a:schemeClr val="tx2"/>
                </a:solidFill>
              </a:defRPr>
            </a:lvl4pPr>
            <a:lvl5pPr>
              <a:defRPr lang="en-US" sz="120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8" name="Text Placeholder 6">
            <a:extLst>
              <a:ext uri="{FF2B5EF4-FFF2-40B4-BE49-F238E27FC236}">
                <a16:creationId xmlns:a16="http://schemas.microsoft.com/office/drawing/2014/main" id="{45C2837B-EA55-4186-A2EA-1E7FB5B122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71805" y="2079840"/>
            <a:ext cx="2007123" cy="227454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4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Solution</a:t>
            </a:r>
          </a:p>
        </p:txBody>
      </p:sp>
      <p:sp>
        <p:nvSpPr>
          <p:cNvPr id="89" name="Content Placeholder 17">
            <a:extLst>
              <a:ext uri="{FF2B5EF4-FFF2-40B4-BE49-F238E27FC236}">
                <a16:creationId xmlns:a16="http://schemas.microsoft.com/office/drawing/2014/main" id="{00A3A11C-EA43-4ACC-83B9-C4C7C1080E3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70357" y="3952605"/>
            <a:ext cx="3202682" cy="847996"/>
          </a:xfrm>
          <a:noFill/>
        </p:spPr>
        <p:txBody>
          <a:bodyPr vert="horz" lIns="0" tIns="0" rIns="0" bIns="45720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050" dirty="0">
                <a:solidFill>
                  <a:schemeClr val="tx2"/>
                </a:solidFill>
              </a:defRPr>
            </a:lvl1pPr>
            <a:lvl2pPr marL="114300" indent="-114300">
              <a:lnSpc>
                <a:spcPct val="100000"/>
              </a:lnSpc>
              <a:spcBef>
                <a:spcPts val="0"/>
              </a:spcBef>
              <a:defRPr lang="en-US" sz="1000" dirty="0">
                <a:solidFill>
                  <a:schemeClr val="tx2"/>
                </a:solidFill>
              </a:defRPr>
            </a:lvl2pPr>
            <a:lvl3pPr>
              <a:defRPr lang="en-US" sz="1400" dirty="0">
                <a:solidFill>
                  <a:schemeClr val="tx2"/>
                </a:solidFill>
              </a:defRPr>
            </a:lvl3pPr>
            <a:lvl4pPr>
              <a:defRPr lang="en-US" sz="1200" dirty="0">
                <a:solidFill>
                  <a:schemeClr val="tx2"/>
                </a:solidFill>
              </a:defRPr>
            </a:lvl4pPr>
            <a:lvl5pPr>
              <a:defRPr lang="en-US" sz="120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EAAB5B3C-AE89-4605-BB4B-0C07DE733C40}"/>
              </a:ext>
            </a:extLst>
          </p:cNvPr>
          <p:cNvCxnSpPr>
            <a:cxnSpLocks/>
          </p:cNvCxnSpPr>
          <p:nvPr userDrawn="1"/>
        </p:nvCxnSpPr>
        <p:spPr>
          <a:xfrm>
            <a:off x="4268312" y="1964843"/>
            <a:ext cx="3199645" cy="0"/>
          </a:xfrm>
          <a:prstGeom prst="line">
            <a:avLst/>
          </a:prstGeom>
          <a:ln w="25400">
            <a:solidFill>
              <a:schemeClr val="accent4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4709593A-BC10-40A3-842E-346F6E0EE30C}"/>
              </a:ext>
            </a:extLst>
          </p:cNvPr>
          <p:cNvCxnSpPr>
            <a:cxnSpLocks/>
          </p:cNvCxnSpPr>
          <p:nvPr userDrawn="1"/>
        </p:nvCxnSpPr>
        <p:spPr>
          <a:xfrm>
            <a:off x="4268312" y="3547676"/>
            <a:ext cx="3199645" cy="0"/>
          </a:xfrm>
          <a:prstGeom prst="line">
            <a:avLst/>
          </a:prstGeom>
          <a:ln w="25400">
            <a:solidFill>
              <a:schemeClr val="accent6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48CE9E08-388B-4458-B1F4-453A8413D63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71805" y="3634037"/>
            <a:ext cx="2007123" cy="227454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6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Impact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D909953-1B24-4C7D-A173-A53DF3FC7EC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384183" y="2971800"/>
            <a:ext cx="3194882" cy="18288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D0ED48B1-3A1C-41E2-BEC6-E8E6B54A07B0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076514" y="1600201"/>
            <a:ext cx="1841980" cy="660399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defRPr/>
            </a:lvl1pPr>
          </a:lstStyle>
          <a:p>
            <a:r>
              <a:rPr lang="en-US" dirty="0"/>
              <a:t>Insert Logo he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0A78DDD-5F83-4940-98A7-CF6D7FB8140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84183" y="5022215"/>
            <a:ext cx="3201234" cy="1153795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1400"/>
            </a:lvl1pPr>
            <a:lvl2pPr marL="0" indent="0" algn="ctr">
              <a:lnSpc>
                <a:spcPct val="100000"/>
              </a:lnSpc>
              <a:spcBef>
                <a:spcPts val="0"/>
              </a:spcBef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2pPr>
            <a:lvl3pPr marL="0" indent="0" algn="ctr">
              <a:buFont typeface="Open Sans" panose="020B0606030504020204" pitchFamily="34" charset="0"/>
              <a:buNone/>
              <a:defRPr sz="1200">
                <a:solidFill>
                  <a:schemeClr val="accent1"/>
                </a:solidFill>
              </a:defRPr>
            </a:lvl3pPr>
            <a:lvl4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4pPr>
            <a:lvl5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3" name="Text Placeholder 10">
            <a:extLst>
              <a:ext uri="{FF2B5EF4-FFF2-40B4-BE49-F238E27FC236}">
                <a16:creationId xmlns:a16="http://schemas.microsoft.com/office/drawing/2014/main" id="{356F2006-5264-4FEB-8EBA-8BA6A55D19B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77832" y="2347933"/>
            <a:ext cx="3207585" cy="241300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defRPr sz="1200"/>
            </a:lvl1pPr>
            <a:lvl2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2pPr>
            <a:lvl3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3pPr>
            <a:lvl4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4pPr>
            <a:lvl5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Locatio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AF7F59A-4C67-4F41-A6E0-906850EDF3F1}"/>
              </a:ext>
            </a:extLst>
          </p:cNvPr>
          <p:cNvSpPr/>
          <p:nvPr userDrawn="1"/>
        </p:nvSpPr>
        <p:spPr>
          <a:xfrm>
            <a:off x="608898" y="4978400"/>
            <a:ext cx="3205588" cy="879645"/>
          </a:xfrm>
          <a:prstGeom prst="rect">
            <a:avLst/>
          </a:prstGeom>
          <a:gradFill>
            <a:gsLst>
              <a:gs pos="0">
                <a:schemeClr val="accent4"/>
              </a:gs>
              <a:gs pos="98000">
                <a:schemeClr val="accent4"/>
              </a:gs>
            </a:gsLst>
            <a:lin ang="5400000" scaled="1"/>
          </a:gradFill>
        </p:spPr>
        <p:txBody>
          <a:bodyPr vert="horz" lIns="594360" tIns="457200" rIns="457200" bIns="45720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​"/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85779326-D874-4DC4-BA73-C7157B414B05}"/>
              </a:ext>
            </a:extLst>
          </p:cNvPr>
          <p:cNvSpPr/>
          <p:nvPr userDrawn="1"/>
        </p:nvSpPr>
        <p:spPr>
          <a:xfrm>
            <a:off x="4268311" y="4978400"/>
            <a:ext cx="3204728" cy="878840"/>
          </a:xfrm>
          <a:prstGeom prst="rect">
            <a:avLst/>
          </a:prstGeom>
          <a:solidFill>
            <a:schemeClr val="accent1"/>
          </a:solidFill>
        </p:spPr>
        <p:txBody>
          <a:bodyPr vert="horz" lIns="457200" tIns="457200" rIns="594360" bIns="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​"/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0FD359B-DBB1-4A58-B3A5-88DBD360EF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ompany Name</a:t>
            </a:r>
          </a:p>
        </p:txBody>
      </p:sp>
      <p:sp>
        <p:nvSpPr>
          <p:cNvPr id="27" name="Subtitle 2">
            <a:extLst>
              <a:ext uri="{FF2B5EF4-FFF2-40B4-BE49-F238E27FC236}">
                <a16:creationId xmlns:a16="http://schemas.microsoft.com/office/drawing/2014/main" id="{9A29AA74-2865-4B6A-BD11-7A351A336A6C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3021" y="811831"/>
            <a:ext cx="10965543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09C7727F-F570-4AF1-856D-98544836237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77832" y="2647290"/>
            <a:ext cx="3207585" cy="241300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defRPr sz="1200"/>
            </a:lvl1pPr>
            <a:lvl2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2pPr>
            <a:lvl3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3pPr>
            <a:lvl4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4pPr>
            <a:lvl5pPr marL="0" indent="0" algn="ctr">
              <a:buFont typeface="Open Sans" panose="020B0606030504020204" pitchFamily="34" charset="0"/>
              <a:buChar char="​"/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Industry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F13DC67D-58A2-45BD-A728-B6ECDD8B5A5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3253" y="4978400"/>
            <a:ext cx="3201234" cy="227454"/>
          </a:xfrm>
        </p:spPr>
        <p:txBody>
          <a:bodyPr anchor="b"/>
          <a:lstStyle>
            <a:lvl1pPr algn="ctr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Product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53D9F0A4-74F4-4BA6-AD21-4791EF0A20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275108" y="4978400"/>
            <a:ext cx="3201234" cy="227454"/>
          </a:xfrm>
        </p:spPr>
        <p:txBody>
          <a:bodyPr anchor="b"/>
          <a:lstStyle>
            <a:lvl1pPr algn="ctr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Strategic Priorities</a:t>
            </a:r>
          </a:p>
        </p:txBody>
      </p:sp>
    </p:spTree>
    <p:extLst>
      <p:ext uri="{BB962C8B-B14F-4D97-AF65-F5344CB8AC3E}">
        <p14:creationId xmlns:p14="http://schemas.microsoft.com/office/powerpoint/2010/main" val="1367434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-Bleed Pho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7F5379A2-B049-4A1C-A18D-79A1F237E82B}"/>
              </a:ext>
            </a:extLst>
          </p:cNvPr>
          <p:cNvSpPr txBox="1"/>
          <p:nvPr userDrawn="1"/>
        </p:nvSpPr>
        <p:spPr bwMode="white"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solidFill>
                  <a:schemeClr val="bg1"/>
                </a:solidFill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2963ABA-B135-4D13-8059-831B7A9446D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1" y="6766561"/>
            <a:ext cx="12192000" cy="95225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EEA9A53D-C1B8-4AC0-AF50-F242E124EF75}"/>
              </a:ext>
            </a:extLst>
          </p:cNvPr>
          <p:cNvGrpSpPr/>
          <p:nvPr userDrawn="1"/>
        </p:nvGrpSpPr>
        <p:grpSpPr>
          <a:xfrm>
            <a:off x="608171" y="6445106"/>
            <a:ext cx="1184706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A5945F4E-578F-4EE5-B98E-A75643A79F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19DCDB05-0E28-45DE-9267-3E480A2300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9C693093-F44C-4AF7-8565-38BF0EC750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83C36CFC-0A28-4E5C-BEAB-B63CE60700F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45A3F9BB-BAC6-4065-B81D-9F3DF81635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2C0EF4D9-E299-4B39-8F2A-BD56CEC524B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51F9A586-3983-444B-A345-4A891295D74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2"/>
                </a:solidFill>
              </a:endParaRPr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0566660B-2EAC-47CE-944F-D039B1DF2E0F}"/>
              </a:ext>
            </a:extLst>
          </p:cNvPr>
          <p:cNvSpPr txBox="1"/>
          <p:nvPr userDrawn="1"/>
        </p:nvSpPr>
        <p:spPr bwMode="white">
          <a:xfrm flipH="1">
            <a:off x="2074133" y="6506318"/>
            <a:ext cx="172933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©2019 VMware, Inc.</a:t>
            </a:r>
          </a:p>
        </p:txBody>
      </p:sp>
    </p:spTree>
    <p:extLst>
      <p:ext uri="{BB962C8B-B14F-4D97-AF65-F5344CB8AC3E}">
        <p14:creationId xmlns:p14="http://schemas.microsoft.com/office/powerpoint/2010/main" val="2382237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c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val 20">
            <a:extLst>
              <a:ext uri="{FF2B5EF4-FFF2-40B4-BE49-F238E27FC236}">
                <a16:creationId xmlns:a16="http://schemas.microsoft.com/office/drawing/2014/main" id="{B1C210DC-5DBB-4F0D-875F-CD8AAAB938CE}"/>
              </a:ext>
            </a:extLst>
          </p:cNvPr>
          <p:cNvSpPr/>
          <p:nvPr userDrawn="1"/>
        </p:nvSpPr>
        <p:spPr bwMode="gray">
          <a:xfrm>
            <a:off x="1982394" y="2055430"/>
            <a:ext cx="1829435" cy="1828959"/>
          </a:xfrm>
          <a:prstGeom prst="ellipse">
            <a:avLst/>
          </a:prstGeom>
          <a:solidFill>
            <a:schemeClr val="accent4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schemeClr val="accent4"/>
              </a:solidFill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446F04B0-7860-407F-85B7-42E38FAFE34B}"/>
              </a:ext>
            </a:extLst>
          </p:cNvPr>
          <p:cNvSpPr/>
          <p:nvPr userDrawn="1"/>
        </p:nvSpPr>
        <p:spPr bwMode="gray">
          <a:xfrm>
            <a:off x="8391487" y="2055430"/>
            <a:ext cx="1829435" cy="1828959"/>
          </a:xfrm>
          <a:prstGeom prst="ellipse">
            <a:avLst/>
          </a:prstGeom>
          <a:solidFill>
            <a:schemeClr val="accent2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6FECF9D0-D7A8-43DD-B38D-E1090C0B322F}"/>
              </a:ext>
            </a:extLst>
          </p:cNvPr>
          <p:cNvSpPr/>
          <p:nvPr userDrawn="1"/>
        </p:nvSpPr>
        <p:spPr bwMode="gray">
          <a:xfrm>
            <a:off x="5186275" y="2055430"/>
            <a:ext cx="1829435" cy="1828959"/>
          </a:xfrm>
          <a:prstGeom prst="ellipse">
            <a:avLst/>
          </a:prstGeom>
          <a:solidFill>
            <a:schemeClr val="accent1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AD23688F-2550-4740-B5D6-C78F74FDE08D}"/>
              </a:ext>
            </a:extLst>
          </p:cNvPr>
          <p:cNvSpPr txBox="1"/>
          <p:nvPr userDrawn="1"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4C5A99F-0678-4DC4-A266-1AD031E9C8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EBF1472-E940-4CC7-B5D3-349346A425A8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3021" y="811831"/>
            <a:ext cx="10965543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CC9B40-9AF4-4EF7-8384-2ACE79EA95C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26302" y="4267940"/>
            <a:ext cx="2745503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4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D69CA39A-E967-4A68-A944-35C345A456D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22455" y="4267940"/>
            <a:ext cx="2745503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1A16A22-350B-4B24-A3CD-4D5DE470DEE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925277" y="4267940"/>
            <a:ext cx="2745503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35275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c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val 83">
            <a:extLst>
              <a:ext uri="{FF2B5EF4-FFF2-40B4-BE49-F238E27FC236}">
                <a16:creationId xmlns:a16="http://schemas.microsoft.com/office/drawing/2014/main" id="{085441A7-EBA5-4ABB-8D29-CE4338F0F9B5}"/>
              </a:ext>
            </a:extLst>
          </p:cNvPr>
          <p:cNvSpPr/>
          <p:nvPr userDrawn="1"/>
        </p:nvSpPr>
        <p:spPr bwMode="gray">
          <a:xfrm>
            <a:off x="1066027" y="2060873"/>
            <a:ext cx="1829435" cy="1828959"/>
          </a:xfrm>
          <a:prstGeom prst="ellipse">
            <a:avLst/>
          </a:prstGeom>
          <a:solidFill>
            <a:schemeClr val="accent4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schemeClr val="accent4"/>
              </a:solidFill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3019BB56-AE7C-42CA-A8FF-432F4F176B8B}"/>
              </a:ext>
            </a:extLst>
          </p:cNvPr>
          <p:cNvSpPr/>
          <p:nvPr userDrawn="1"/>
        </p:nvSpPr>
        <p:spPr bwMode="gray">
          <a:xfrm>
            <a:off x="9304556" y="2060873"/>
            <a:ext cx="1829435" cy="1828959"/>
          </a:xfrm>
          <a:prstGeom prst="ellipse">
            <a:avLst/>
          </a:prstGeom>
          <a:solidFill>
            <a:schemeClr val="accent2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5670C03F-6336-45E3-A9F4-0CD130D80D1B}"/>
              </a:ext>
            </a:extLst>
          </p:cNvPr>
          <p:cNvSpPr/>
          <p:nvPr userDrawn="1"/>
        </p:nvSpPr>
        <p:spPr bwMode="gray">
          <a:xfrm>
            <a:off x="6563810" y="2060873"/>
            <a:ext cx="1829435" cy="1828959"/>
          </a:xfrm>
          <a:prstGeom prst="ellipse">
            <a:avLst/>
          </a:prstGeom>
          <a:solidFill>
            <a:schemeClr val="accent1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 dirty="0"/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45D908EF-1F96-4808-A8DB-F55AB9E8E436}"/>
              </a:ext>
            </a:extLst>
          </p:cNvPr>
          <p:cNvSpPr/>
          <p:nvPr userDrawn="1"/>
        </p:nvSpPr>
        <p:spPr bwMode="gray">
          <a:xfrm>
            <a:off x="3807924" y="2060873"/>
            <a:ext cx="1829435" cy="1828959"/>
          </a:xfrm>
          <a:prstGeom prst="ellipse">
            <a:avLst/>
          </a:prstGeom>
          <a:solidFill>
            <a:schemeClr val="accent3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 dirty="0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0AAF357F-A1D5-401D-94D2-9C67E6AEDA09}"/>
              </a:ext>
            </a:extLst>
          </p:cNvPr>
          <p:cNvSpPr txBox="1"/>
          <p:nvPr userDrawn="1"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A6ED71B-2619-4816-B753-5E850ED08F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B679D5C-AEFA-4052-96E3-7DF67D7C105A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3021" y="811831"/>
            <a:ext cx="10965543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83A73281-E5F0-4C3B-BE4E-A12D56CC100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42893" y="4269508"/>
            <a:ext cx="2286595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4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70078EAE-661A-4C72-917B-F0225239F6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80746" y="4269508"/>
            <a:ext cx="2286595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3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566D6B40-9CB0-4B56-A3E1-9A7F945F094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24660" y="4269508"/>
            <a:ext cx="2286595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16F5CA9C-E491-4F70-B6EE-A506410601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68575" y="4269508"/>
            <a:ext cx="2286595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33584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Ic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Oval 21">
            <a:extLst>
              <a:ext uri="{FF2B5EF4-FFF2-40B4-BE49-F238E27FC236}">
                <a16:creationId xmlns:a16="http://schemas.microsoft.com/office/drawing/2014/main" id="{A1FDF9D3-5B68-4A75-97BF-2C5113CFAA66}"/>
              </a:ext>
            </a:extLst>
          </p:cNvPr>
          <p:cNvSpPr/>
          <p:nvPr userDrawn="1"/>
        </p:nvSpPr>
        <p:spPr bwMode="gray">
          <a:xfrm>
            <a:off x="609960" y="2064664"/>
            <a:ext cx="1829435" cy="1828959"/>
          </a:xfrm>
          <a:prstGeom prst="ellipse">
            <a:avLst/>
          </a:prstGeom>
          <a:solidFill>
            <a:schemeClr val="accent4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schemeClr val="accent4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7EAB1992-E472-4489-8A4E-A8FE45DE10CF}"/>
              </a:ext>
            </a:extLst>
          </p:cNvPr>
          <p:cNvSpPr/>
          <p:nvPr userDrawn="1"/>
        </p:nvSpPr>
        <p:spPr bwMode="gray">
          <a:xfrm>
            <a:off x="9747012" y="2064664"/>
            <a:ext cx="1829435" cy="1828959"/>
          </a:xfrm>
          <a:prstGeom prst="ellipse">
            <a:avLst/>
          </a:prstGeom>
          <a:solidFill>
            <a:schemeClr val="accent5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C551C90A-573F-4E4A-9359-5C7B0F546BF9}"/>
              </a:ext>
            </a:extLst>
          </p:cNvPr>
          <p:cNvSpPr/>
          <p:nvPr userDrawn="1"/>
        </p:nvSpPr>
        <p:spPr bwMode="gray">
          <a:xfrm>
            <a:off x="5202736" y="2064664"/>
            <a:ext cx="1829435" cy="182895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ctr"/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AF79E162-3D8F-4829-A4AD-02A03597B11A}"/>
              </a:ext>
            </a:extLst>
          </p:cNvPr>
          <p:cNvSpPr/>
          <p:nvPr userDrawn="1"/>
        </p:nvSpPr>
        <p:spPr bwMode="gray">
          <a:xfrm>
            <a:off x="2893206" y="2064664"/>
            <a:ext cx="1829435" cy="1828959"/>
          </a:xfrm>
          <a:prstGeom prst="ellipse">
            <a:avLst/>
          </a:prstGeom>
          <a:solidFill>
            <a:schemeClr val="accent3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 dirty="0"/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026B9B36-08E7-4664-970C-13123F24C793}"/>
              </a:ext>
            </a:extLst>
          </p:cNvPr>
          <p:cNvSpPr/>
          <p:nvPr userDrawn="1"/>
        </p:nvSpPr>
        <p:spPr bwMode="gray">
          <a:xfrm>
            <a:off x="7466866" y="2064664"/>
            <a:ext cx="1829435" cy="1828959"/>
          </a:xfrm>
          <a:prstGeom prst="ellipse">
            <a:avLst/>
          </a:prstGeom>
          <a:solidFill>
            <a:schemeClr val="accent2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 dirty="0">
              <a:solidFill>
                <a:schemeClr val="lt1"/>
              </a:solidFill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0E19ACAF-9401-49DF-ACFF-2BA2129506AB}"/>
              </a:ext>
            </a:extLst>
          </p:cNvPr>
          <p:cNvSpPr txBox="1"/>
          <p:nvPr userDrawn="1"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BA8A47F-2243-412F-A1A8-FA8E3475F5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One Line 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EEA64E97-C31D-49B1-B8E1-20E5F404F516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3021" y="811831"/>
            <a:ext cx="10965543" cy="24774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2E201879-B985-4ADE-8AD6-6C3E14CE0AF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1009" y="4282873"/>
            <a:ext cx="1829276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000">
                <a:solidFill>
                  <a:schemeClr val="accent4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9495BAAB-E860-4075-9DA3-ABA7C32D235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94767" y="4282873"/>
            <a:ext cx="1829276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000">
                <a:solidFill>
                  <a:schemeClr val="accent3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62D3946B-F2F1-42AF-8E89-00761A7745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86444" y="4282873"/>
            <a:ext cx="1829276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000">
                <a:solidFill>
                  <a:schemeClr val="accent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2F84664-2E68-46AE-AE2C-E8D2B6C9A1D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71947" y="4282873"/>
            <a:ext cx="1829276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000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CDC9B65E-8BAA-4676-9F32-44EC3772D34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754553" y="4282873"/>
            <a:ext cx="1829276" cy="1458912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defRPr sz="2000">
                <a:solidFill>
                  <a:schemeClr val="accent5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Font typeface="Open Sans" panose="020B0606030504020204" pitchFamily="34" charset="0"/>
              <a:buChar char="​"/>
              <a:defRPr sz="1600"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45889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3FC38F94-115E-4DBE-80BB-680CB172F9FB}"/>
              </a:ext>
            </a:extLst>
          </p:cNvPr>
          <p:cNvSpPr/>
          <p:nvPr userDrawn="1"/>
        </p:nvSpPr>
        <p:spPr>
          <a:xfrm rot="2700000">
            <a:off x="811896" y="-3658611"/>
            <a:ext cx="9864449" cy="13471649"/>
          </a:xfrm>
          <a:custGeom>
            <a:avLst/>
            <a:gdLst>
              <a:gd name="connsiteX0" fmla="*/ 0 w 9864449"/>
              <a:gd name="connsiteY0" fmla="*/ 7314461 h 13468141"/>
              <a:gd name="connsiteX1" fmla="*/ 7314462 w 9864449"/>
              <a:gd name="connsiteY1" fmla="*/ 0 h 13468141"/>
              <a:gd name="connsiteX2" fmla="*/ 9864449 w 9864449"/>
              <a:gd name="connsiteY2" fmla="*/ 2549987 h 13468141"/>
              <a:gd name="connsiteX3" fmla="*/ 9864449 w 9864449"/>
              <a:gd name="connsiteY3" fmla="*/ 7148688 h 13468141"/>
              <a:gd name="connsiteX4" fmla="*/ 3544996 w 9864449"/>
              <a:gd name="connsiteY4" fmla="*/ 13468141 h 13468141"/>
              <a:gd name="connsiteX5" fmla="*/ 0 w 9864449"/>
              <a:gd name="connsiteY5" fmla="*/ 9923145 h 134681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864449" h="13468141">
                <a:moveTo>
                  <a:pt x="0" y="7314461"/>
                </a:moveTo>
                <a:lnTo>
                  <a:pt x="7314462" y="0"/>
                </a:lnTo>
                <a:lnTo>
                  <a:pt x="9864449" y="2549987"/>
                </a:lnTo>
                <a:lnTo>
                  <a:pt x="9864449" y="7148688"/>
                </a:lnTo>
                <a:lnTo>
                  <a:pt x="3544996" y="13468141"/>
                </a:lnTo>
                <a:lnTo>
                  <a:pt x="0" y="9923145"/>
                </a:lnTo>
                <a:close/>
              </a:path>
            </a:pathLst>
          </a:custGeom>
          <a:gradFill>
            <a:gsLst>
              <a:gs pos="0">
                <a:schemeClr val="bg1">
                  <a:alpha val="76000"/>
                </a:schemeClr>
              </a:gs>
              <a:gs pos="89000">
                <a:schemeClr val="tx1">
                  <a:lumMod val="16000"/>
                  <a:lumOff val="84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863" name="Text Placeholder 862">
            <a:extLst>
              <a:ext uri="{FF2B5EF4-FFF2-40B4-BE49-F238E27FC236}">
                <a16:creationId xmlns:a16="http://schemas.microsoft.com/office/drawing/2014/main" id="{806A8161-3A3C-4E8C-98F0-AD01607CDAE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8172" y="2057401"/>
            <a:ext cx="5945147" cy="2285999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600"/>
            </a:lvl1pPr>
            <a:lvl2pPr marL="273050" indent="0"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512" name="TextBox 1511">
            <a:extLst>
              <a:ext uri="{FF2B5EF4-FFF2-40B4-BE49-F238E27FC236}">
                <a16:creationId xmlns:a16="http://schemas.microsoft.com/office/drawing/2014/main" id="{6C78DB77-69E8-414D-8309-EC1F1C8DCA8E}"/>
              </a:ext>
            </a:extLst>
          </p:cNvPr>
          <p:cNvSpPr txBox="1"/>
          <p:nvPr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DA08A2D-0A8A-41FD-AA58-0A072FFF329F}"/>
              </a:ext>
            </a:extLst>
          </p:cNvPr>
          <p:cNvGrpSpPr/>
          <p:nvPr userDrawn="1"/>
        </p:nvGrpSpPr>
        <p:grpSpPr>
          <a:xfrm>
            <a:off x="608171" y="6445106"/>
            <a:ext cx="1184706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3596DD11-914A-4FCB-BD5A-B452681B61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522938A5-2D76-46C8-B7C1-3F77D5812E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D6EDDC02-7874-477D-8151-D0B193E894D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11497605-B9F0-499D-9BAD-CAD4DF264DD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87A173DB-972A-49CD-B107-F84916A5F7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AA7E256D-662E-4F46-945F-75B84B1B314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745AE183-7E5A-47CA-8BC0-5071F1977EE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9C494915-7365-4D9B-82B2-73349D47E724}"/>
              </a:ext>
            </a:extLst>
          </p:cNvPr>
          <p:cNvSpPr txBox="1"/>
          <p:nvPr userDrawn="1"/>
        </p:nvSpPr>
        <p:spPr bwMode="white">
          <a:xfrm flipH="1">
            <a:off x="2074133" y="6506318"/>
            <a:ext cx="172933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C5E11EA0-C34E-47CC-A1C4-C041612819E2}"/>
              </a:ext>
            </a:extLst>
          </p:cNvPr>
          <p:cNvSpPr/>
          <p:nvPr userDrawn="1"/>
        </p:nvSpPr>
        <p:spPr>
          <a:xfrm rot="2700000">
            <a:off x="9039732" y="3334353"/>
            <a:ext cx="970552" cy="4541320"/>
          </a:xfrm>
          <a:custGeom>
            <a:avLst/>
            <a:gdLst>
              <a:gd name="connsiteX0" fmla="*/ 1 w 970552"/>
              <a:gd name="connsiteY0" fmla="*/ 970551 h 4540137"/>
              <a:gd name="connsiteX1" fmla="*/ 970552 w 970552"/>
              <a:gd name="connsiteY1" fmla="*/ 0 h 4540137"/>
              <a:gd name="connsiteX2" fmla="*/ 970552 w 970552"/>
              <a:gd name="connsiteY2" fmla="*/ 3569585 h 4540137"/>
              <a:gd name="connsiteX3" fmla="*/ 0 w 970552"/>
              <a:gd name="connsiteY3" fmla="*/ 4540137 h 4540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0552" h="4540137">
                <a:moveTo>
                  <a:pt x="1" y="970551"/>
                </a:moveTo>
                <a:lnTo>
                  <a:pt x="970552" y="0"/>
                </a:lnTo>
                <a:lnTo>
                  <a:pt x="970552" y="3569585"/>
                </a:lnTo>
                <a:lnTo>
                  <a:pt x="0" y="4540137"/>
                </a:lnTo>
                <a:close/>
              </a:path>
            </a:pathLst>
          </a:custGeom>
          <a:gradFill>
            <a:gsLst>
              <a:gs pos="24000">
                <a:schemeClr val="accent4"/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6827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–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4AA04BF1-028D-4BDA-A4B7-2EF92A074224}"/>
              </a:ext>
            </a:extLst>
          </p:cNvPr>
          <p:cNvSpPr/>
          <p:nvPr userDrawn="1"/>
        </p:nvSpPr>
        <p:spPr>
          <a:xfrm rot="2700000">
            <a:off x="811896" y="-3658611"/>
            <a:ext cx="9864449" cy="13471649"/>
          </a:xfrm>
          <a:custGeom>
            <a:avLst/>
            <a:gdLst>
              <a:gd name="connsiteX0" fmla="*/ 0 w 9864449"/>
              <a:gd name="connsiteY0" fmla="*/ 7314461 h 13468141"/>
              <a:gd name="connsiteX1" fmla="*/ 7314462 w 9864449"/>
              <a:gd name="connsiteY1" fmla="*/ 0 h 13468141"/>
              <a:gd name="connsiteX2" fmla="*/ 9864449 w 9864449"/>
              <a:gd name="connsiteY2" fmla="*/ 2549987 h 13468141"/>
              <a:gd name="connsiteX3" fmla="*/ 9864449 w 9864449"/>
              <a:gd name="connsiteY3" fmla="*/ 7148688 h 13468141"/>
              <a:gd name="connsiteX4" fmla="*/ 3544996 w 9864449"/>
              <a:gd name="connsiteY4" fmla="*/ 13468141 h 13468141"/>
              <a:gd name="connsiteX5" fmla="*/ 0 w 9864449"/>
              <a:gd name="connsiteY5" fmla="*/ 9923145 h 134681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864449" h="13468141">
                <a:moveTo>
                  <a:pt x="0" y="7314461"/>
                </a:moveTo>
                <a:lnTo>
                  <a:pt x="7314462" y="0"/>
                </a:lnTo>
                <a:lnTo>
                  <a:pt x="9864449" y="2549987"/>
                </a:lnTo>
                <a:lnTo>
                  <a:pt x="9864449" y="7148688"/>
                </a:lnTo>
                <a:lnTo>
                  <a:pt x="3544996" y="13468141"/>
                </a:lnTo>
                <a:lnTo>
                  <a:pt x="0" y="9923145"/>
                </a:lnTo>
                <a:close/>
              </a:path>
            </a:pathLst>
          </a:custGeom>
          <a:gradFill>
            <a:gsLst>
              <a:gs pos="0">
                <a:schemeClr val="bg1">
                  <a:alpha val="76000"/>
                </a:schemeClr>
              </a:gs>
              <a:gs pos="89000">
                <a:schemeClr val="tx1">
                  <a:lumMod val="16000"/>
                  <a:lumOff val="84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473426A1-35AB-43B6-9A41-2142ACF3ACC4}"/>
              </a:ext>
            </a:extLst>
          </p:cNvPr>
          <p:cNvSpPr/>
          <p:nvPr userDrawn="1"/>
        </p:nvSpPr>
        <p:spPr>
          <a:xfrm rot="2700000">
            <a:off x="9039732" y="3334353"/>
            <a:ext cx="970552" cy="4541320"/>
          </a:xfrm>
          <a:custGeom>
            <a:avLst/>
            <a:gdLst>
              <a:gd name="connsiteX0" fmla="*/ 1 w 970552"/>
              <a:gd name="connsiteY0" fmla="*/ 970551 h 4540137"/>
              <a:gd name="connsiteX1" fmla="*/ 970552 w 970552"/>
              <a:gd name="connsiteY1" fmla="*/ 0 h 4540137"/>
              <a:gd name="connsiteX2" fmla="*/ 970552 w 970552"/>
              <a:gd name="connsiteY2" fmla="*/ 3569585 h 4540137"/>
              <a:gd name="connsiteX3" fmla="*/ 0 w 970552"/>
              <a:gd name="connsiteY3" fmla="*/ 4540137 h 4540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0552" h="4540137">
                <a:moveTo>
                  <a:pt x="1" y="970551"/>
                </a:moveTo>
                <a:lnTo>
                  <a:pt x="970552" y="0"/>
                </a:lnTo>
                <a:lnTo>
                  <a:pt x="970552" y="3569585"/>
                </a:lnTo>
                <a:lnTo>
                  <a:pt x="0" y="4540137"/>
                </a:lnTo>
                <a:close/>
              </a:path>
            </a:pathLst>
          </a:custGeom>
          <a:gradFill>
            <a:gsLst>
              <a:gs pos="24000">
                <a:srgbClr val="7F35AB"/>
              </a:gs>
              <a:gs pos="87000">
                <a:srgbClr val="264088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863" name="Text Placeholder 862">
            <a:extLst>
              <a:ext uri="{FF2B5EF4-FFF2-40B4-BE49-F238E27FC236}">
                <a16:creationId xmlns:a16="http://schemas.microsoft.com/office/drawing/2014/main" id="{806A8161-3A3C-4E8C-98F0-AD01607CDAE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8172" y="2057401"/>
            <a:ext cx="5945147" cy="2285999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600"/>
            </a:lvl1pPr>
            <a:lvl2pPr marL="273050" indent="0"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512" name="TextBox 1511">
            <a:extLst>
              <a:ext uri="{FF2B5EF4-FFF2-40B4-BE49-F238E27FC236}">
                <a16:creationId xmlns:a16="http://schemas.microsoft.com/office/drawing/2014/main" id="{6C78DB77-69E8-414D-8309-EC1F1C8DCA8E}"/>
              </a:ext>
            </a:extLst>
          </p:cNvPr>
          <p:cNvSpPr txBox="1"/>
          <p:nvPr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DA08A2D-0A8A-41FD-AA58-0A072FFF329F}"/>
              </a:ext>
            </a:extLst>
          </p:cNvPr>
          <p:cNvGrpSpPr/>
          <p:nvPr userDrawn="1"/>
        </p:nvGrpSpPr>
        <p:grpSpPr>
          <a:xfrm>
            <a:off x="608171" y="6445106"/>
            <a:ext cx="1184706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3596DD11-914A-4FCB-BD5A-B452681B61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522938A5-2D76-46C8-B7C1-3F77D5812E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D6EDDC02-7874-477D-8151-D0B193E894D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11497605-B9F0-499D-9BAD-CAD4DF264DD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87A173DB-972A-49CD-B107-F84916A5F7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AA7E256D-662E-4F46-945F-75B84B1B314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745AE183-7E5A-47CA-8BC0-5071F1977EE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9C494915-7365-4D9B-82B2-73349D47E724}"/>
              </a:ext>
            </a:extLst>
          </p:cNvPr>
          <p:cNvSpPr txBox="1"/>
          <p:nvPr userDrawn="1"/>
        </p:nvSpPr>
        <p:spPr bwMode="white">
          <a:xfrm flipH="1">
            <a:off x="2074133" y="6506318"/>
            <a:ext cx="172933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</p:spTree>
    <p:extLst>
      <p:ext uri="{BB962C8B-B14F-4D97-AF65-F5344CB8AC3E}">
        <p14:creationId xmlns:p14="http://schemas.microsoft.com/office/powerpoint/2010/main" val="2028211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–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19A14F3E-8802-40CC-94BC-F7A8969E93E3}"/>
              </a:ext>
            </a:extLst>
          </p:cNvPr>
          <p:cNvSpPr/>
          <p:nvPr userDrawn="1"/>
        </p:nvSpPr>
        <p:spPr>
          <a:xfrm rot="2700000">
            <a:off x="811896" y="-3658611"/>
            <a:ext cx="9864449" cy="13471649"/>
          </a:xfrm>
          <a:custGeom>
            <a:avLst/>
            <a:gdLst>
              <a:gd name="connsiteX0" fmla="*/ 0 w 9864449"/>
              <a:gd name="connsiteY0" fmla="*/ 7314461 h 13468141"/>
              <a:gd name="connsiteX1" fmla="*/ 7314462 w 9864449"/>
              <a:gd name="connsiteY1" fmla="*/ 0 h 13468141"/>
              <a:gd name="connsiteX2" fmla="*/ 9864449 w 9864449"/>
              <a:gd name="connsiteY2" fmla="*/ 2549987 h 13468141"/>
              <a:gd name="connsiteX3" fmla="*/ 9864449 w 9864449"/>
              <a:gd name="connsiteY3" fmla="*/ 7148688 h 13468141"/>
              <a:gd name="connsiteX4" fmla="*/ 3544996 w 9864449"/>
              <a:gd name="connsiteY4" fmla="*/ 13468141 h 13468141"/>
              <a:gd name="connsiteX5" fmla="*/ 0 w 9864449"/>
              <a:gd name="connsiteY5" fmla="*/ 9923145 h 134681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864449" h="13468141">
                <a:moveTo>
                  <a:pt x="0" y="7314461"/>
                </a:moveTo>
                <a:lnTo>
                  <a:pt x="7314462" y="0"/>
                </a:lnTo>
                <a:lnTo>
                  <a:pt x="9864449" y="2549987"/>
                </a:lnTo>
                <a:lnTo>
                  <a:pt x="9864449" y="7148688"/>
                </a:lnTo>
                <a:lnTo>
                  <a:pt x="3544996" y="13468141"/>
                </a:lnTo>
                <a:lnTo>
                  <a:pt x="0" y="9923145"/>
                </a:lnTo>
                <a:close/>
              </a:path>
            </a:pathLst>
          </a:custGeom>
          <a:gradFill>
            <a:gsLst>
              <a:gs pos="0">
                <a:schemeClr val="bg1">
                  <a:alpha val="76000"/>
                </a:schemeClr>
              </a:gs>
              <a:gs pos="89000">
                <a:schemeClr val="tx1">
                  <a:lumMod val="16000"/>
                  <a:lumOff val="84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0CD52C01-87CF-4DAA-AF73-217E439433CA}"/>
              </a:ext>
            </a:extLst>
          </p:cNvPr>
          <p:cNvSpPr/>
          <p:nvPr userDrawn="1"/>
        </p:nvSpPr>
        <p:spPr>
          <a:xfrm rot="2700000">
            <a:off x="9039732" y="3334353"/>
            <a:ext cx="970552" cy="4541320"/>
          </a:xfrm>
          <a:custGeom>
            <a:avLst/>
            <a:gdLst>
              <a:gd name="connsiteX0" fmla="*/ 1 w 970552"/>
              <a:gd name="connsiteY0" fmla="*/ 970551 h 4540137"/>
              <a:gd name="connsiteX1" fmla="*/ 970552 w 970552"/>
              <a:gd name="connsiteY1" fmla="*/ 0 h 4540137"/>
              <a:gd name="connsiteX2" fmla="*/ 970552 w 970552"/>
              <a:gd name="connsiteY2" fmla="*/ 3569585 h 4540137"/>
              <a:gd name="connsiteX3" fmla="*/ 0 w 970552"/>
              <a:gd name="connsiteY3" fmla="*/ 4540137 h 4540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0552" h="4540137">
                <a:moveTo>
                  <a:pt x="1" y="970551"/>
                </a:moveTo>
                <a:lnTo>
                  <a:pt x="970552" y="0"/>
                </a:lnTo>
                <a:lnTo>
                  <a:pt x="970552" y="3569585"/>
                </a:lnTo>
                <a:lnTo>
                  <a:pt x="0" y="4540137"/>
                </a:lnTo>
                <a:close/>
              </a:path>
            </a:pathLst>
          </a:custGeom>
          <a:gradFill>
            <a:gsLst>
              <a:gs pos="24000">
                <a:schemeClr val="accent3"/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863" name="Text Placeholder 862">
            <a:extLst>
              <a:ext uri="{FF2B5EF4-FFF2-40B4-BE49-F238E27FC236}">
                <a16:creationId xmlns:a16="http://schemas.microsoft.com/office/drawing/2014/main" id="{806A8161-3A3C-4E8C-98F0-AD01607CDAE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8172" y="2057401"/>
            <a:ext cx="5945147" cy="2285999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600"/>
            </a:lvl1pPr>
            <a:lvl2pPr marL="273050" indent="0"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512" name="TextBox 1511">
            <a:extLst>
              <a:ext uri="{FF2B5EF4-FFF2-40B4-BE49-F238E27FC236}">
                <a16:creationId xmlns:a16="http://schemas.microsoft.com/office/drawing/2014/main" id="{6C78DB77-69E8-414D-8309-EC1F1C8DCA8E}"/>
              </a:ext>
            </a:extLst>
          </p:cNvPr>
          <p:cNvSpPr txBox="1"/>
          <p:nvPr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DA08A2D-0A8A-41FD-AA58-0A072FFF329F}"/>
              </a:ext>
            </a:extLst>
          </p:cNvPr>
          <p:cNvGrpSpPr/>
          <p:nvPr userDrawn="1"/>
        </p:nvGrpSpPr>
        <p:grpSpPr>
          <a:xfrm>
            <a:off x="608171" y="6445106"/>
            <a:ext cx="1184706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3596DD11-914A-4FCB-BD5A-B452681B61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522938A5-2D76-46C8-B7C1-3F77D5812E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D6EDDC02-7874-477D-8151-D0B193E894D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11497605-B9F0-499D-9BAD-CAD4DF264DD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87A173DB-972A-49CD-B107-F84916A5F7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AA7E256D-662E-4F46-945F-75B84B1B314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745AE183-7E5A-47CA-8BC0-5071F1977EE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9C494915-7365-4D9B-82B2-73349D47E724}"/>
              </a:ext>
            </a:extLst>
          </p:cNvPr>
          <p:cNvSpPr txBox="1"/>
          <p:nvPr userDrawn="1"/>
        </p:nvSpPr>
        <p:spPr bwMode="white">
          <a:xfrm flipH="1">
            <a:off x="2074133" y="6506318"/>
            <a:ext cx="172933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</p:spTree>
    <p:extLst>
      <p:ext uri="{BB962C8B-B14F-4D97-AF65-F5344CB8AC3E}">
        <p14:creationId xmlns:p14="http://schemas.microsoft.com/office/powerpoint/2010/main" val="2013107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Unordere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597057" y="6354171"/>
            <a:ext cx="2844800" cy="365125"/>
          </a:xfrm>
          <a:prstGeom prst="rect">
            <a:avLst/>
          </a:prstGeom>
        </p:spPr>
        <p:txBody>
          <a:bodyPr/>
          <a:lstStyle/>
          <a:p>
            <a:fld id="{D60D1EDE-7116-2443-9BDD-368CE5B3766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597057" y="271546"/>
            <a:ext cx="8128000" cy="102473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itle Line 1</a:t>
            </a:r>
            <a:br>
              <a:rPr lang="en-US" dirty="0"/>
            </a:br>
            <a:r>
              <a:rPr lang="en-US" dirty="0"/>
              <a:t>Title Line 2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98313" y="1369169"/>
            <a:ext cx="8126747" cy="616264"/>
          </a:xfrm>
        </p:spPr>
        <p:txBody>
          <a:bodyPr>
            <a:normAutofit/>
          </a:bodyPr>
          <a:lstStyle>
            <a:lvl1pPr marL="0" indent="0" algn="l">
              <a:buNone/>
              <a:defRPr sz="2133"/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543880" y="1292221"/>
            <a:ext cx="11090841" cy="0"/>
          </a:xfrm>
          <a:prstGeom prst="line">
            <a:avLst/>
          </a:prstGeom>
          <a:ln w="9525" cmpd="sng">
            <a:solidFill>
              <a:srgbClr val="E0E0E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99018" y="2097618"/>
            <a:ext cx="11036300" cy="3856567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4073979" y="6425293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4181869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with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B95FD2E6-B8EA-4366-97C4-6A53370F84D0}"/>
              </a:ext>
            </a:extLst>
          </p:cNvPr>
          <p:cNvSpPr/>
          <p:nvPr userDrawn="1"/>
        </p:nvSpPr>
        <p:spPr>
          <a:xfrm>
            <a:off x="5381121" y="-52904"/>
            <a:ext cx="6811740" cy="6821367"/>
          </a:xfrm>
          <a:custGeom>
            <a:avLst/>
            <a:gdLst>
              <a:gd name="connsiteX0" fmla="*/ 6845677 w 6846538"/>
              <a:gd name="connsiteY0" fmla="*/ 4820854 h 6858000"/>
              <a:gd name="connsiteX1" fmla="*/ 4811938 w 6846538"/>
              <a:gd name="connsiteY1" fmla="*/ 6857998 h 6858000"/>
              <a:gd name="connsiteX2" fmla="*/ 6845677 w 6846538"/>
              <a:gd name="connsiteY2" fmla="*/ 6857998 h 6858000"/>
              <a:gd name="connsiteX3" fmla="*/ 6846538 w 6846538"/>
              <a:gd name="connsiteY3" fmla="*/ 0 h 6858000"/>
              <a:gd name="connsiteX4" fmla="*/ 6846538 w 6846538"/>
              <a:gd name="connsiteY4" fmla="*/ 6858000 h 6858000"/>
              <a:gd name="connsiteX5" fmla="*/ 0 w 684653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46538" h="6858000">
                <a:moveTo>
                  <a:pt x="6845677" y="4820854"/>
                </a:moveTo>
                <a:lnTo>
                  <a:pt x="4811938" y="6857998"/>
                </a:lnTo>
                <a:lnTo>
                  <a:pt x="6845677" y="6857998"/>
                </a:lnTo>
                <a:close/>
                <a:moveTo>
                  <a:pt x="6846538" y="0"/>
                </a:moveTo>
                <a:lnTo>
                  <a:pt x="6846538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bg1">
                  <a:alpha val="76000"/>
                </a:schemeClr>
              </a:gs>
              <a:gs pos="89000">
                <a:schemeClr val="tx1">
                  <a:lumMod val="16000"/>
                  <a:lumOff val="84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774" name="TextBox 773">
            <a:extLst>
              <a:ext uri="{FF2B5EF4-FFF2-40B4-BE49-F238E27FC236}">
                <a16:creationId xmlns:a16="http://schemas.microsoft.com/office/drawing/2014/main" id="{BC2C04F8-C4D0-4DA4-8689-3A3303F0660F}"/>
              </a:ext>
            </a:extLst>
          </p:cNvPr>
          <p:cNvSpPr txBox="1"/>
          <p:nvPr userDrawn="1"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  <p:sp>
        <p:nvSpPr>
          <p:cNvPr id="2147" name="Oval 2146">
            <a:extLst>
              <a:ext uri="{FF2B5EF4-FFF2-40B4-BE49-F238E27FC236}">
                <a16:creationId xmlns:a16="http://schemas.microsoft.com/office/drawing/2014/main" id="{FDDA58E5-A99B-48C0-A6B7-6BAE32E46F62}"/>
              </a:ext>
            </a:extLst>
          </p:cNvPr>
          <p:cNvSpPr/>
          <p:nvPr userDrawn="1"/>
        </p:nvSpPr>
        <p:spPr bwMode="gray">
          <a:xfrm>
            <a:off x="7275710" y="1515193"/>
            <a:ext cx="3736885" cy="3735912"/>
          </a:xfrm>
          <a:prstGeom prst="ellipse">
            <a:avLst/>
          </a:prstGeom>
          <a:solidFill>
            <a:schemeClr val="accent1"/>
          </a:solidFill>
          <a:ln w="76200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0325" lvl="0" algn="ctr">
              <a:spcAft>
                <a:spcPts val="800"/>
              </a:spcAft>
            </a:pPr>
            <a:endParaRPr lang="en-US" sz="1400" kern="0" dirty="0"/>
          </a:p>
        </p:txBody>
      </p:sp>
      <p:sp>
        <p:nvSpPr>
          <p:cNvPr id="18" name="Text Placeholder 862">
            <a:extLst>
              <a:ext uri="{FF2B5EF4-FFF2-40B4-BE49-F238E27FC236}">
                <a16:creationId xmlns:a16="http://schemas.microsoft.com/office/drawing/2014/main" id="{E56855D3-D3B3-4208-ADBF-9790190F0A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8172" y="2514601"/>
            <a:ext cx="5487273" cy="1828799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600"/>
            </a:lvl1pPr>
            <a:lvl2pPr marL="273050" indent="0"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758792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with Icon –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904AD3C8-5B0F-4AB1-B568-AA55FF64194A}"/>
              </a:ext>
            </a:extLst>
          </p:cNvPr>
          <p:cNvSpPr/>
          <p:nvPr userDrawn="1"/>
        </p:nvSpPr>
        <p:spPr>
          <a:xfrm>
            <a:off x="5381121" y="-52904"/>
            <a:ext cx="6811740" cy="6821367"/>
          </a:xfrm>
          <a:custGeom>
            <a:avLst/>
            <a:gdLst>
              <a:gd name="connsiteX0" fmla="*/ 6845677 w 6846538"/>
              <a:gd name="connsiteY0" fmla="*/ 4820854 h 6858000"/>
              <a:gd name="connsiteX1" fmla="*/ 4811938 w 6846538"/>
              <a:gd name="connsiteY1" fmla="*/ 6857998 h 6858000"/>
              <a:gd name="connsiteX2" fmla="*/ 6845677 w 6846538"/>
              <a:gd name="connsiteY2" fmla="*/ 6857998 h 6858000"/>
              <a:gd name="connsiteX3" fmla="*/ 6846538 w 6846538"/>
              <a:gd name="connsiteY3" fmla="*/ 0 h 6858000"/>
              <a:gd name="connsiteX4" fmla="*/ 6846538 w 6846538"/>
              <a:gd name="connsiteY4" fmla="*/ 6858000 h 6858000"/>
              <a:gd name="connsiteX5" fmla="*/ 0 w 684653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46538" h="6858000">
                <a:moveTo>
                  <a:pt x="6845677" y="4820854"/>
                </a:moveTo>
                <a:lnTo>
                  <a:pt x="4811938" y="6857998"/>
                </a:lnTo>
                <a:lnTo>
                  <a:pt x="6845677" y="6857998"/>
                </a:lnTo>
                <a:close/>
                <a:moveTo>
                  <a:pt x="6846538" y="0"/>
                </a:moveTo>
                <a:lnTo>
                  <a:pt x="6846538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bg1">
                  <a:alpha val="76000"/>
                </a:schemeClr>
              </a:gs>
              <a:gs pos="89000">
                <a:schemeClr val="tx1">
                  <a:lumMod val="16000"/>
                  <a:lumOff val="84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774" name="TextBox 773">
            <a:extLst>
              <a:ext uri="{FF2B5EF4-FFF2-40B4-BE49-F238E27FC236}">
                <a16:creationId xmlns:a16="http://schemas.microsoft.com/office/drawing/2014/main" id="{BC2C04F8-C4D0-4DA4-8689-3A3303F0660F}"/>
              </a:ext>
            </a:extLst>
          </p:cNvPr>
          <p:cNvSpPr txBox="1"/>
          <p:nvPr userDrawn="1"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  <p:sp>
        <p:nvSpPr>
          <p:cNvPr id="2147" name="Oval 2146">
            <a:extLst>
              <a:ext uri="{FF2B5EF4-FFF2-40B4-BE49-F238E27FC236}">
                <a16:creationId xmlns:a16="http://schemas.microsoft.com/office/drawing/2014/main" id="{FDDA58E5-A99B-48C0-A6B7-6BAE32E46F62}"/>
              </a:ext>
            </a:extLst>
          </p:cNvPr>
          <p:cNvSpPr/>
          <p:nvPr userDrawn="1"/>
        </p:nvSpPr>
        <p:spPr bwMode="gray">
          <a:xfrm rot="10800000">
            <a:off x="7275710" y="1515193"/>
            <a:ext cx="3736885" cy="3735912"/>
          </a:xfrm>
          <a:prstGeom prst="ellipse">
            <a:avLst/>
          </a:prstGeom>
          <a:solidFill>
            <a:schemeClr val="accent4"/>
          </a:solidFill>
          <a:ln w="76200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0325" lvl="0" algn="ctr">
              <a:spcAft>
                <a:spcPts val="800"/>
              </a:spcAft>
            </a:pPr>
            <a:endParaRPr lang="en-US" sz="1400" kern="0" dirty="0"/>
          </a:p>
        </p:txBody>
      </p:sp>
      <p:sp>
        <p:nvSpPr>
          <p:cNvPr id="18" name="Text Placeholder 862">
            <a:extLst>
              <a:ext uri="{FF2B5EF4-FFF2-40B4-BE49-F238E27FC236}">
                <a16:creationId xmlns:a16="http://schemas.microsoft.com/office/drawing/2014/main" id="{E56855D3-D3B3-4208-ADBF-9790190F0A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8172" y="2514601"/>
            <a:ext cx="5487273" cy="1828799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600"/>
            </a:lvl1pPr>
            <a:lvl2pPr marL="273050" indent="0"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028091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with Icon –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8E49745E-959E-424E-B5AD-B75ACA32BFE8}"/>
              </a:ext>
            </a:extLst>
          </p:cNvPr>
          <p:cNvSpPr/>
          <p:nvPr userDrawn="1"/>
        </p:nvSpPr>
        <p:spPr>
          <a:xfrm>
            <a:off x="5381121" y="-52904"/>
            <a:ext cx="6811740" cy="6821367"/>
          </a:xfrm>
          <a:custGeom>
            <a:avLst/>
            <a:gdLst>
              <a:gd name="connsiteX0" fmla="*/ 6845677 w 6846538"/>
              <a:gd name="connsiteY0" fmla="*/ 4820854 h 6858000"/>
              <a:gd name="connsiteX1" fmla="*/ 4811938 w 6846538"/>
              <a:gd name="connsiteY1" fmla="*/ 6857998 h 6858000"/>
              <a:gd name="connsiteX2" fmla="*/ 6845677 w 6846538"/>
              <a:gd name="connsiteY2" fmla="*/ 6857998 h 6858000"/>
              <a:gd name="connsiteX3" fmla="*/ 6846538 w 6846538"/>
              <a:gd name="connsiteY3" fmla="*/ 0 h 6858000"/>
              <a:gd name="connsiteX4" fmla="*/ 6846538 w 6846538"/>
              <a:gd name="connsiteY4" fmla="*/ 6858000 h 6858000"/>
              <a:gd name="connsiteX5" fmla="*/ 0 w 684653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46538" h="6858000">
                <a:moveTo>
                  <a:pt x="6845677" y="4820854"/>
                </a:moveTo>
                <a:lnTo>
                  <a:pt x="4811938" y="6857998"/>
                </a:lnTo>
                <a:lnTo>
                  <a:pt x="6845677" y="6857998"/>
                </a:lnTo>
                <a:close/>
                <a:moveTo>
                  <a:pt x="6846538" y="0"/>
                </a:moveTo>
                <a:lnTo>
                  <a:pt x="6846538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bg1">
                  <a:alpha val="76000"/>
                </a:schemeClr>
              </a:gs>
              <a:gs pos="89000">
                <a:schemeClr val="tx1">
                  <a:lumMod val="16000"/>
                  <a:lumOff val="84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774" name="TextBox 773">
            <a:extLst>
              <a:ext uri="{FF2B5EF4-FFF2-40B4-BE49-F238E27FC236}">
                <a16:creationId xmlns:a16="http://schemas.microsoft.com/office/drawing/2014/main" id="{BC2C04F8-C4D0-4DA4-8689-3A3303F0660F}"/>
              </a:ext>
            </a:extLst>
          </p:cNvPr>
          <p:cNvSpPr txBox="1"/>
          <p:nvPr userDrawn="1"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  <p:sp>
        <p:nvSpPr>
          <p:cNvPr id="2147" name="Oval 2146">
            <a:extLst>
              <a:ext uri="{FF2B5EF4-FFF2-40B4-BE49-F238E27FC236}">
                <a16:creationId xmlns:a16="http://schemas.microsoft.com/office/drawing/2014/main" id="{FDDA58E5-A99B-48C0-A6B7-6BAE32E46F62}"/>
              </a:ext>
            </a:extLst>
          </p:cNvPr>
          <p:cNvSpPr/>
          <p:nvPr userDrawn="1"/>
        </p:nvSpPr>
        <p:spPr bwMode="gray">
          <a:xfrm>
            <a:off x="7275710" y="1515193"/>
            <a:ext cx="3736885" cy="3735912"/>
          </a:xfrm>
          <a:prstGeom prst="ellipse">
            <a:avLst/>
          </a:prstGeom>
          <a:solidFill>
            <a:schemeClr val="accent5"/>
          </a:solidFill>
          <a:ln w="76200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0325" lvl="0" algn="ctr">
              <a:spcAft>
                <a:spcPts val="800"/>
              </a:spcAft>
            </a:pPr>
            <a:endParaRPr lang="en-US" sz="1400" kern="0" dirty="0"/>
          </a:p>
        </p:txBody>
      </p:sp>
      <p:sp>
        <p:nvSpPr>
          <p:cNvPr id="18" name="Text Placeholder 862">
            <a:extLst>
              <a:ext uri="{FF2B5EF4-FFF2-40B4-BE49-F238E27FC236}">
                <a16:creationId xmlns:a16="http://schemas.microsoft.com/office/drawing/2014/main" id="{E56855D3-D3B3-4208-ADBF-9790190F0A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8172" y="2514601"/>
            <a:ext cx="5487273" cy="1828799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600"/>
            </a:lvl1pPr>
            <a:lvl2pPr marL="273050" indent="0"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193801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5DD6E7D-B875-48DF-B6A8-450BD6AE171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787456" y="0"/>
            <a:ext cx="5404545" cy="6764798"/>
          </a:xfrm>
        </p:spPr>
        <p:txBody>
          <a:bodyPr lIns="640080" tIns="0" rIns="640080" anchor="ctr"/>
          <a:lstStyle>
            <a:lvl1pPr algn="ctr">
              <a:defRPr/>
            </a:lvl1pPr>
          </a:lstStyle>
          <a:p>
            <a:r>
              <a:rPr lang="en-US" dirty="0"/>
              <a:t>Click on the icon to insert a picture from your computer</a:t>
            </a:r>
          </a:p>
        </p:txBody>
      </p:sp>
      <p:sp>
        <p:nvSpPr>
          <p:cNvPr id="17" name="Text Placeholder 862">
            <a:extLst>
              <a:ext uri="{FF2B5EF4-FFF2-40B4-BE49-F238E27FC236}">
                <a16:creationId xmlns:a16="http://schemas.microsoft.com/office/drawing/2014/main" id="{C8F55BC8-3E55-49EB-BF20-18EB4F7F597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8172" y="2514601"/>
            <a:ext cx="5487273" cy="1828799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3600"/>
            </a:lvl1pPr>
            <a:lvl2pPr marL="273050" indent="0"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A6E1A1B-7C56-4DE3-BC90-B387C7F3E670}"/>
              </a:ext>
            </a:extLst>
          </p:cNvPr>
          <p:cNvSpPr txBox="1"/>
          <p:nvPr userDrawn="1"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43148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ist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0F1D41E-848B-4178-A0D2-2A18C6921400}"/>
              </a:ext>
            </a:extLst>
          </p:cNvPr>
          <p:cNvSpPr/>
          <p:nvPr userDrawn="1"/>
        </p:nvSpPr>
        <p:spPr bwMode="hidden">
          <a:xfrm>
            <a:off x="0" y="0"/>
            <a:ext cx="12191997" cy="4332288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1ED419A-30D8-44AB-9256-156B54D449CD}"/>
              </a:ext>
            </a:extLst>
          </p:cNvPr>
          <p:cNvSpPr/>
          <p:nvPr userDrawn="1"/>
        </p:nvSpPr>
        <p:spPr bwMode="white">
          <a:xfrm>
            <a:off x="672702" y="722997"/>
            <a:ext cx="4471564" cy="4470400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E4BDA96F-134D-4855-8751-F1043ABF3B4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7588" y="2514600"/>
            <a:ext cx="5028923" cy="1371601"/>
          </a:xfrm>
        </p:spPr>
        <p:txBody>
          <a:bodyPr anchor="ctr"/>
          <a:lstStyle>
            <a:lvl1pPr>
              <a:spcBef>
                <a:spcPts val="0"/>
              </a:spcBef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3" name="Chart Placeholder 22">
            <a:extLst>
              <a:ext uri="{FF2B5EF4-FFF2-40B4-BE49-F238E27FC236}">
                <a16:creationId xmlns:a16="http://schemas.microsoft.com/office/drawing/2014/main" id="{4093E53D-7586-4113-99BD-F45F1343692F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662845" y="722997"/>
            <a:ext cx="4481423" cy="448025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Click to insert a </a:t>
            </a:r>
            <a:br>
              <a:rPr lang="en-US" dirty="0"/>
            </a:br>
            <a:r>
              <a:rPr lang="en-US" dirty="0"/>
              <a:t>Doughnut char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C4F4198-4BE0-4282-8B86-20DED598DC1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8489" y="5507147"/>
            <a:ext cx="1371421" cy="423862"/>
          </a:xfrm>
        </p:spPr>
        <p:txBody>
          <a:bodyPr/>
          <a:lstStyle>
            <a:lvl1pPr algn="l">
              <a:defRPr sz="12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0" name="Text Placeholder 12">
            <a:extLst>
              <a:ext uri="{FF2B5EF4-FFF2-40B4-BE49-F238E27FC236}">
                <a16:creationId xmlns:a16="http://schemas.microsoft.com/office/drawing/2014/main" id="{4B5F4E67-F2E8-4777-B495-668C321DCBA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437051" y="5507147"/>
            <a:ext cx="1371421" cy="423862"/>
          </a:xfrm>
        </p:spPr>
        <p:txBody>
          <a:bodyPr/>
          <a:lstStyle>
            <a:lvl1pPr algn="l">
              <a:defRPr sz="12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1" name="Text Placeholder 12">
            <a:extLst>
              <a:ext uri="{FF2B5EF4-FFF2-40B4-BE49-F238E27FC236}">
                <a16:creationId xmlns:a16="http://schemas.microsoft.com/office/drawing/2014/main" id="{704846F3-64ED-4181-8AEC-68B9734DA96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62213" y="5507147"/>
            <a:ext cx="1371421" cy="423862"/>
          </a:xfrm>
        </p:spPr>
        <p:txBody>
          <a:bodyPr/>
          <a:lstStyle>
            <a:lvl1pPr algn="l">
              <a:defRPr sz="12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2" name="Text Placeholder 12">
            <a:extLst>
              <a:ext uri="{FF2B5EF4-FFF2-40B4-BE49-F238E27FC236}">
                <a16:creationId xmlns:a16="http://schemas.microsoft.com/office/drawing/2014/main" id="{DD17F439-D919-44B7-889F-96A1DAF172D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89695" y="5507147"/>
            <a:ext cx="1371421" cy="423862"/>
          </a:xfrm>
        </p:spPr>
        <p:txBody>
          <a:bodyPr/>
          <a:lstStyle>
            <a:lvl1pPr algn="l">
              <a:defRPr sz="1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3" name="Text Placeholder 12">
            <a:extLst>
              <a:ext uri="{FF2B5EF4-FFF2-40B4-BE49-F238E27FC236}">
                <a16:creationId xmlns:a16="http://schemas.microsoft.com/office/drawing/2014/main" id="{0DA74846-CC03-44FE-9AE5-4975E808F8A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922735" y="5507147"/>
            <a:ext cx="1371421" cy="423862"/>
          </a:xfrm>
        </p:spPr>
        <p:txBody>
          <a:bodyPr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4" name="Text Placeholder 12">
            <a:extLst>
              <a:ext uri="{FF2B5EF4-FFF2-40B4-BE49-F238E27FC236}">
                <a16:creationId xmlns:a16="http://schemas.microsoft.com/office/drawing/2014/main" id="{EB51A67B-FBDC-4AB8-B81A-6B6B96D04F4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752568" y="5507147"/>
            <a:ext cx="1371421" cy="423862"/>
          </a:xfrm>
        </p:spPr>
        <p:txBody>
          <a:bodyPr/>
          <a:lstStyle>
            <a:lvl1pPr algn="l">
              <a:defRPr sz="12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6C03ACE7-B591-43FD-A636-47D01F482F04}"/>
              </a:ext>
            </a:extLst>
          </p:cNvPr>
          <p:cNvSpPr txBox="1"/>
          <p:nvPr userDrawn="1"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102424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55025D71-18A5-4A22-8386-917E1B08C46A}"/>
              </a:ext>
            </a:extLst>
          </p:cNvPr>
          <p:cNvSpPr txBox="1"/>
          <p:nvPr userDrawn="1"/>
        </p:nvSpPr>
        <p:spPr>
          <a:xfrm>
            <a:off x="11493934" y="6388100"/>
            <a:ext cx="438104" cy="3651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>
              <a:lnSpc>
                <a:spcPct val="90000"/>
              </a:lnSpc>
            </a:pPr>
            <a:fld id="{7A51DB15-7364-4F0B-A3A0-1309F8830053}" type="slidenum">
              <a:rPr lang="en-US" sz="800" smtClean="0">
                <a:latin typeface="+mj-lt"/>
              </a:rPr>
              <a:pPr algn="r">
                <a:lnSpc>
                  <a:spcPct val="90000"/>
                </a:lnSpc>
              </a:pPr>
              <a:t>‹#›</a:t>
            </a:fld>
            <a:endParaRPr lang="en-US" sz="1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822777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/ 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A88A8ACB-CBE3-4DC0-BBE3-C6829C462CD7}"/>
              </a:ext>
            </a:extLst>
          </p:cNvPr>
          <p:cNvSpPr/>
          <p:nvPr userDrawn="1"/>
        </p:nvSpPr>
        <p:spPr>
          <a:xfrm rot="2700000">
            <a:off x="500610" y="-2251805"/>
            <a:ext cx="2891746" cy="8397980"/>
          </a:xfrm>
          <a:custGeom>
            <a:avLst/>
            <a:gdLst>
              <a:gd name="connsiteX0" fmla="*/ 0 w 2891746"/>
              <a:gd name="connsiteY0" fmla="*/ 2890035 h 8395793"/>
              <a:gd name="connsiteX1" fmla="*/ 1390389 w 2891746"/>
              <a:gd name="connsiteY1" fmla="*/ 1499646 h 8395793"/>
              <a:gd name="connsiteX2" fmla="*/ 1390389 w 2891746"/>
              <a:gd name="connsiteY2" fmla="*/ 1499646 h 8395793"/>
              <a:gd name="connsiteX3" fmla="*/ 2890036 w 2891746"/>
              <a:gd name="connsiteY3" fmla="*/ 0 h 8395793"/>
              <a:gd name="connsiteX4" fmla="*/ 2890036 w 2891746"/>
              <a:gd name="connsiteY4" fmla="*/ 8322767 h 8395793"/>
              <a:gd name="connsiteX5" fmla="*/ 2891746 w 2891746"/>
              <a:gd name="connsiteY5" fmla="*/ 8340727 h 8395793"/>
              <a:gd name="connsiteX6" fmla="*/ 2891741 w 2891746"/>
              <a:gd name="connsiteY6" fmla="*/ 8395793 h 8395793"/>
              <a:gd name="connsiteX7" fmla="*/ 2546313 w 2891746"/>
              <a:gd name="connsiteY7" fmla="*/ 8050365 h 8395793"/>
              <a:gd name="connsiteX8" fmla="*/ 2546315 w 2891746"/>
              <a:gd name="connsiteY8" fmla="*/ 8050364 h 8395793"/>
              <a:gd name="connsiteX9" fmla="*/ 0 w 2891746"/>
              <a:gd name="connsiteY9" fmla="*/ 5504049 h 8395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891746" h="8395793">
                <a:moveTo>
                  <a:pt x="0" y="2890035"/>
                </a:moveTo>
                <a:lnTo>
                  <a:pt x="1390389" y="1499646"/>
                </a:lnTo>
                <a:lnTo>
                  <a:pt x="1390389" y="1499646"/>
                </a:lnTo>
                <a:lnTo>
                  <a:pt x="2890036" y="0"/>
                </a:lnTo>
                <a:lnTo>
                  <a:pt x="2890036" y="8322767"/>
                </a:lnTo>
                <a:lnTo>
                  <a:pt x="2891746" y="8340727"/>
                </a:lnTo>
                <a:lnTo>
                  <a:pt x="2891741" y="8395793"/>
                </a:lnTo>
                <a:lnTo>
                  <a:pt x="2546313" y="8050365"/>
                </a:lnTo>
                <a:lnTo>
                  <a:pt x="2546315" y="8050364"/>
                </a:lnTo>
                <a:lnTo>
                  <a:pt x="0" y="5504049"/>
                </a:lnTo>
                <a:close/>
              </a:path>
            </a:pathLst>
          </a:custGeom>
          <a:gradFill>
            <a:gsLst>
              <a:gs pos="24000">
                <a:schemeClr val="accent4"/>
              </a:gs>
              <a:gs pos="100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5B87096-C8D7-45D0-8DCC-218276F547CC}"/>
              </a:ext>
            </a:extLst>
          </p:cNvPr>
          <p:cNvGrpSpPr/>
          <p:nvPr userDrawn="1"/>
        </p:nvGrpSpPr>
        <p:grpSpPr>
          <a:xfrm>
            <a:off x="608171" y="6445106"/>
            <a:ext cx="1184706" cy="186690"/>
            <a:chOff x="863272" y="6563918"/>
            <a:chExt cx="861082" cy="135727"/>
          </a:xfrm>
          <a:solidFill>
            <a:schemeClr val="tx1"/>
          </a:solidFill>
        </p:grpSpPr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FAC0FC71-A82A-4369-B44E-4E8FF53CA1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0D84D398-3251-432F-8986-05570D3BB8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07096BFD-803A-42D4-BA19-C683E35B0D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089E6840-6882-4279-A152-16C7CCB9BE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021DF59C-D6C9-4EC0-90A3-7752F6B722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E4C478B3-2ECE-440E-A04E-B8C84D0416E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2190CFD5-6EEA-46D1-AE5E-D69C2E08F3D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D479A9FB-8CEE-475F-BF22-3B0B11EB4E81}"/>
              </a:ext>
            </a:extLst>
          </p:cNvPr>
          <p:cNvSpPr txBox="1"/>
          <p:nvPr userDrawn="1"/>
        </p:nvSpPr>
        <p:spPr bwMode="white">
          <a:xfrm flipH="1">
            <a:off x="2074133" y="6506318"/>
            <a:ext cx="172933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52F598B-F734-42BE-8CB8-5E3FDDD7ED52}"/>
              </a:ext>
            </a:extLst>
          </p:cNvPr>
          <p:cNvSpPr txBox="1"/>
          <p:nvPr userDrawn="1"/>
        </p:nvSpPr>
        <p:spPr>
          <a:xfrm>
            <a:off x="7124768" y="4133698"/>
            <a:ext cx="3586491" cy="69249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en-US" sz="5000" b="0" kern="1200" cap="none" baseline="0" dirty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Thank You</a:t>
            </a: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5B8D218C-9E1A-4E8B-A343-F3F3A628E78E}"/>
              </a:ext>
            </a:extLst>
          </p:cNvPr>
          <p:cNvSpPr/>
          <p:nvPr userDrawn="1"/>
        </p:nvSpPr>
        <p:spPr>
          <a:xfrm rot="18900000">
            <a:off x="-1253764" y="2913755"/>
            <a:ext cx="6374445" cy="905566"/>
          </a:xfrm>
          <a:custGeom>
            <a:avLst/>
            <a:gdLst>
              <a:gd name="connsiteX0" fmla="*/ 6372785 w 6372785"/>
              <a:gd name="connsiteY0" fmla="*/ 0 h 905566"/>
              <a:gd name="connsiteX1" fmla="*/ 6372785 w 6372785"/>
              <a:gd name="connsiteY1" fmla="*/ 905566 h 905566"/>
              <a:gd name="connsiteX2" fmla="*/ 0 w 6372785"/>
              <a:gd name="connsiteY2" fmla="*/ 905566 h 905566"/>
              <a:gd name="connsiteX3" fmla="*/ 905566 w 6372785"/>
              <a:gd name="connsiteY3" fmla="*/ 0 h 905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72785" h="905566">
                <a:moveTo>
                  <a:pt x="6372785" y="0"/>
                </a:moveTo>
                <a:lnTo>
                  <a:pt x="6372785" y="905566"/>
                </a:lnTo>
                <a:lnTo>
                  <a:pt x="0" y="905566"/>
                </a:lnTo>
                <a:lnTo>
                  <a:pt x="905566" y="0"/>
                </a:lnTo>
                <a:close/>
              </a:path>
            </a:pathLst>
          </a:custGeom>
          <a:gradFill>
            <a:gsLst>
              <a:gs pos="94000">
                <a:schemeClr val="bg1"/>
              </a:gs>
              <a:gs pos="16000">
                <a:schemeClr val="accent4"/>
              </a:gs>
              <a:gs pos="76000">
                <a:schemeClr val="bg1">
                  <a:alpha val="91000"/>
                </a:schemeClr>
              </a:gs>
            </a:gsLst>
            <a:lin ang="7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3817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/ Closing –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171CD93A-658C-4473-839D-9C0B5E8F5F7C}"/>
              </a:ext>
            </a:extLst>
          </p:cNvPr>
          <p:cNvGrpSpPr/>
          <p:nvPr userDrawn="1"/>
        </p:nvGrpSpPr>
        <p:grpSpPr>
          <a:xfrm>
            <a:off x="608171" y="6445106"/>
            <a:ext cx="1184706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CDFBF2D3-5C06-47C4-A81C-0305B322C5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464D7FA4-CABA-4E4E-ACCA-68953799CF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4EB1261E-CBF9-4479-A018-76C0F24D3B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8C4A243B-FBF5-4C04-8CD0-8E1C4721D9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F67E765D-8E8B-44F9-BE70-63FC0512FD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1B4614B4-F94A-4053-B179-EC5C3F70A9E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E157F005-56AC-4E75-8AA5-582D0D69E2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9473A8DE-DD1F-43EE-8FA2-4C689A038BA5}"/>
              </a:ext>
            </a:extLst>
          </p:cNvPr>
          <p:cNvSpPr txBox="1"/>
          <p:nvPr userDrawn="1"/>
        </p:nvSpPr>
        <p:spPr bwMode="white">
          <a:xfrm flipH="1">
            <a:off x="2074133" y="6506318"/>
            <a:ext cx="172933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1594E1E-E234-471D-B539-F75E8CC06D07}"/>
              </a:ext>
            </a:extLst>
          </p:cNvPr>
          <p:cNvSpPr txBox="1"/>
          <p:nvPr userDrawn="1"/>
        </p:nvSpPr>
        <p:spPr>
          <a:xfrm>
            <a:off x="7124768" y="4133698"/>
            <a:ext cx="3586491" cy="69249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en-US" sz="5000" b="0" kern="1200" cap="none" baseline="0" dirty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Thank You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4C67E5CD-C662-462D-9821-CBF45A809F13}"/>
              </a:ext>
            </a:extLst>
          </p:cNvPr>
          <p:cNvSpPr/>
          <p:nvPr userDrawn="1"/>
        </p:nvSpPr>
        <p:spPr>
          <a:xfrm rot="2700000">
            <a:off x="500610" y="-2251805"/>
            <a:ext cx="2891746" cy="8397980"/>
          </a:xfrm>
          <a:custGeom>
            <a:avLst/>
            <a:gdLst>
              <a:gd name="connsiteX0" fmla="*/ 0 w 2891746"/>
              <a:gd name="connsiteY0" fmla="*/ 2890035 h 8395793"/>
              <a:gd name="connsiteX1" fmla="*/ 1390389 w 2891746"/>
              <a:gd name="connsiteY1" fmla="*/ 1499646 h 8395793"/>
              <a:gd name="connsiteX2" fmla="*/ 1390389 w 2891746"/>
              <a:gd name="connsiteY2" fmla="*/ 1499646 h 8395793"/>
              <a:gd name="connsiteX3" fmla="*/ 2890036 w 2891746"/>
              <a:gd name="connsiteY3" fmla="*/ 0 h 8395793"/>
              <a:gd name="connsiteX4" fmla="*/ 2890036 w 2891746"/>
              <a:gd name="connsiteY4" fmla="*/ 8322767 h 8395793"/>
              <a:gd name="connsiteX5" fmla="*/ 2891746 w 2891746"/>
              <a:gd name="connsiteY5" fmla="*/ 8340727 h 8395793"/>
              <a:gd name="connsiteX6" fmla="*/ 2891741 w 2891746"/>
              <a:gd name="connsiteY6" fmla="*/ 8395793 h 8395793"/>
              <a:gd name="connsiteX7" fmla="*/ 2546313 w 2891746"/>
              <a:gd name="connsiteY7" fmla="*/ 8050365 h 8395793"/>
              <a:gd name="connsiteX8" fmla="*/ 2546315 w 2891746"/>
              <a:gd name="connsiteY8" fmla="*/ 8050364 h 8395793"/>
              <a:gd name="connsiteX9" fmla="*/ 0 w 2891746"/>
              <a:gd name="connsiteY9" fmla="*/ 5504049 h 8395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891746" h="8395793">
                <a:moveTo>
                  <a:pt x="0" y="2890035"/>
                </a:moveTo>
                <a:lnTo>
                  <a:pt x="1390389" y="1499646"/>
                </a:lnTo>
                <a:lnTo>
                  <a:pt x="1390389" y="1499646"/>
                </a:lnTo>
                <a:lnTo>
                  <a:pt x="2890036" y="0"/>
                </a:lnTo>
                <a:lnTo>
                  <a:pt x="2890036" y="8322767"/>
                </a:lnTo>
                <a:lnTo>
                  <a:pt x="2891746" y="8340727"/>
                </a:lnTo>
                <a:lnTo>
                  <a:pt x="2891741" y="8395793"/>
                </a:lnTo>
                <a:lnTo>
                  <a:pt x="2546313" y="8050365"/>
                </a:lnTo>
                <a:lnTo>
                  <a:pt x="2546315" y="8050364"/>
                </a:lnTo>
                <a:lnTo>
                  <a:pt x="0" y="5504049"/>
                </a:lnTo>
                <a:close/>
              </a:path>
            </a:pathLst>
          </a:custGeom>
          <a:gradFill>
            <a:gsLst>
              <a:gs pos="24000">
                <a:srgbClr val="7F35AB"/>
              </a:gs>
              <a:gs pos="87000">
                <a:srgbClr val="264088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DBDC7692-DF81-49A0-9672-BF8E1DB9B662}"/>
              </a:ext>
            </a:extLst>
          </p:cNvPr>
          <p:cNvSpPr/>
          <p:nvPr userDrawn="1"/>
        </p:nvSpPr>
        <p:spPr>
          <a:xfrm rot="18900000">
            <a:off x="-1253764" y="2913755"/>
            <a:ext cx="6374445" cy="905566"/>
          </a:xfrm>
          <a:custGeom>
            <a:avLst/>
            <a:gdLst>
              <a:gd name="connsiteX0" fmla="*/ 6372785 w 6372785"/>
              <a:gd name="connsiteY0" fmla="*/ 0 h 905566"/>
              <a:gd name="connsiteX1" fmla="*/ 6372785 w 6372785"/>
              <a:gd name="connsiteY1" fmla="*/ 905566 h 905566"/>
              <a:gd name="connsiteX2" fmla="*/ 0 w 6372785"/>
              <a:gd name="connsiteY2" fmla="*/ 905566 h 905566"/>
              <a:gd name="connsiteX3" fmla="*/ 905566 w 6372785"/>
              <a:gd name="connsiteY3" fmla="*/ 0 h 905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72785" h="905566">
                <a:moveTo>
                  <a:pt x="6372785" y="0"/>
                </a:moveTo>
                <a:lnTo>
                  <a:pt x="6372785" y="905566"/>
                </a:lnTo>
                <a:lnTo>
                  <a:pt x="0" y="905566"/>
                </a:lnTo>
                <a:lnTo>
                  <a:pt x="905566" y="0"/>
                </a:lnTo>
                <a:close/>
              </a:path>
            </a:pathLst>
          </a:custGeom>
          <a:gradFill>
            <a:gsLst>
              <a:gs pos="22000">
                <a:srgbClr val="7F35AB">
                  <a:alpha val="94000"/>
                </a:srgbClr>
              </a:gs>
              <a:gs pos="95000">
                <a:schemeClr val="bg1"/>
              </a:gs>
              <a:gs pos="77000">
                <a:schemeClr val="bg1">
                  <a:alpha val="79000"/>
                </a:schemeClr>
              </a:gs>
            </a:gsLst>
            <a:lin ang="8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6299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/ Closing –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35B1C875-AD13-4256-9E56-D2FCF94B81E1}"/>
              </a:ext>
            </a:extLst>
          </p:cNvPr>
          <p:cNvGrpSpPr/>
          <p:nvPr userDrawn="1"/>
        </p:nvGrpSpPr>
        <p:grpSpPr>
          <a:xfrm>
            <a:off x="608171" y="6445106"/>
            <a:ext cx="1184706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E1B65455-CBDD-4B2B-8BB7-0D016422E2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AF202269-FCD9-4D84-82E7-4E6E4F5B7E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68585838-6A08-43B0-827A-D33942E82F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AAAE7B3A-0116-4C7F-85A1-4CDFE95B9B5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9CA84427-5217-43A1-9C71-25D9E1DFDD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A60ADC44-391E-4E50-A7BB-332F2C9E8B4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1DA390D7-F8F5-442A-8A17-9A9EB73BF94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C31C01D4-7C61-4B0F-8304-87A15AD01262}"/>
              </a:ext>
            </a:extLst>
          </p:cNvPr>
          <p:cNvSpPr txBox="1"/>
          <p:nvPr userDrawn="1"/>
        </p:nvSpPr>
        <p:spPr bwMode="white">
          <a:xfrm flipH="1">
            <a:off x="2074133" y="6506318"/>
            <a:ext cx="172933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39F709C-1996-44DB-8C47-9CBD9243BF4E}"/>
              </a:ext>
            </a:extLst>
          </p:cNvPr>
          <p:cNvSpPr txBox="1"/>
          <p:nvPr userDrawn="1"/>
        </p:nvSpPr>
        <p:spPr>
          <a:xfrm>
            <a:off x="7124768" y="4133698"/>
            <a:ext cx="3586491" cy="69249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r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en-US" sz="5000" b="0" kern="1200" cap="none" baseline="0" dirty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Thank You</a:t>
            </a: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811A168A-1363-4430-87C6-83E5143B39F6}"/>
              </a:ext>
            </a:extLst>
          </p:cNvPr>
          <p:cNvSpPr/>
          <p:nvPr userDrawn="1"/>
        </p:nvSpPr>
        <p:spPr>
          <a:xfrm rot="2700000">
            <a:off x="500610" y="-2251805"/>
            <a:ext cx="2891746" cy="8397980"/>
          </a:xfrm>
          <a:custGeom>
            <a:avLst/>
            <a:gdLst>
              <a:gd name="connsiteX0" fmla="*/ 0 w 2891746"/>
              <a:gd name="connsiteY0" fmla="*/ 2890035 h 8395793"/>
              <a:gd name="connsiteX1" fmla="*/ 1390389 w 2891746"/>
              <a:gd name="connsiteY1" fmla="*/ 1499646 h 8395793"/>
              <a:gd name="connsiteX2" fmla="*/ 1390389 w 2891746"/>
              <a:gd name="connsiteY2" fmla="*/ 1499646 h 8395793"/>
              <a:gd name="connsiteX3" fmla="*/ 2890036 w 2891746"/>
              <a:gd name="connsiteY3" fmla="*/ 0 h 8395793"/>
              <a:gd name="connsiteX4" fmla="*/ 2890036 w 2891746"/>
              <a:gd name="connsiteY4" fmla="*/ 8322767 h 8395793"/>
              <a:gd name="connsiteX5" fmla="*/ 2891746 w 2891746"/>
              <a:gd name="connsiteY5" fmla="*/ 8340727 h 8395793"/>
              <a:gd name="connsiteX6" fmla="*/ 2891741 w 2891746"/>
              <a:gd name="connsiteY6" fmla="*/ 8395793 h 8395793"/>
              <a:gd name="connsiteX7" fmla="*/ 2546313 w 2891746"/>
              <a:gd name="connsiteY7" fmla="*/ 8050365 h 8395793"/>
              <a:gd name="connsiteX8" fmla="*/ 2546315 w 2891746"/>
              <a:gd name="connsiteY8" fmla="*/ 8050364 h 8395793"/>
              <a:gd name="connsiteX9" fmla="*/ 0 w 2891746"/>
              <a:gd name="connsiteY9" fmla="*/ 5504049 h 8395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891746" h="8395793">
                <a:moveTo>
                  <a:pt x="0" y="2890035"/>
                </a:moveTo>
                <a:lnTo>
                  <a:pt x="1390389" y="1499646"/>
                </a:lnTo>
                <a:lnTo>
                  <a:pt x="1390389" y="1499646"/>
                </a:lnTo>
                <a:lnTo>
                  <a:pt x="2890036" y="0"/>
                </a:lnTo>
                <a:lnTo>
                  <a:pt x="2890036" y="8322767"/>
                </a:lnTo>
                <a:lnTo>
                  <a:pt x="2891746" y="8340727"/>
                </a:lnTo>
                <a:lnTo>
                  <a:pt x="2891741" y="8395793"/>
                </a:lnTo>
                <a:lnTo>
                  <a:pt x="2546313" y="8050365"/>
                </a:lnTo>
                <a:lnTo>
                  <a:pt x="2546315" y="8050364"/>
                </a:lnTo>
                <a:lnTo>
                  <a:pt x="0" y="5504049"/>
                </a:lnTo>
                <a:close/>
              </a:path>
            </a:pathLst>
          </a:custGeom>
          <a:gradFill>
            <a:gsLst>
              <a:gs pos="24000">
                <a:schemeClr val="accent3"/>
              </a:gs>
              <a:gs pos="87000">
                <a:schemeClr val="accent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2C946B50-6B2C-4792-825B-BEFD24908723}"/>
              </a:ext>
            </a:extLst>
          </p:cNvPr>
          <p:cNvSpPr/>
          <p:nvPr userDrawn="1"/>
        </p:nvSpPr>
        <p:spPr>
          <a:xfrm rot="18900000">
            <a:off x="-1253764" y="2913755"/>
            <a:ext cx="6374445" cy="905566"/>
          </a:xfrm>
          <a:custGeom>
            <a:avLst/>
            <a:gdLst>
              <a:gd name="connsiteX0" fmla="*/ 6372785 w 6372785"/>
              <a:gd name="connsiteY0" fmla="*/ 0 h 905566"/>
              <a:gd name="connsiteX1" fmla="*/ 6372785 w 6372785"/>
              <a:gd name="connsiteY1" fmla="*/ 905566 h 905566"/>
              <a:gd name="connsiteX2" fmla="*/ 0 w 6372785"/>
              <a:gd name="connsiteY2" fmla="*/ 905566 h 905566"/>
              <a:gd name="connsiteX3" fmla="*/ 905566 w 6372785"/>
              <a:gd name="connsiteY3" fmla="*/ 0 h 905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72785" h="905566">
                <a:moveTo>
                  <a:pt x="6372785" y="0"/>
                </a:moveTo>
                <a:lnTo>
                  <a:pt x="6372785" y="905566"/>
                </a:lnTo>
                <a:lnTo>
                  <a:pt x="0" y="905566"/>
                </a:lnTo>
                <a:lnTo>
                  <a:pt x="905566" y="0"/>
                </a:lnTo>
                <a:close/>
              </a:path>
            </a:pathLst>
          </a:custGeom>
          <a:gradFill>
            <a:gsLst>
              <a:gs pos="24000">
                <a:schemeClr val="accent3"/>
              </a:gs>
              <a:gs pos="80511">
                <a:schemeClr val="bg1">
                  <a:alpha val="76000"/>
                </a:schemeClr>
              </a:gs>
              <a:gs pos="100000">
                <a:schemeClr val="bg1"/>
              </a:gs>
            </a:gsLst>
            <a:lin ang="8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5817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nt Che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EA75217-7D87-4C71-8F80-833477FCB149}"/>
              </a:ext>
            </a:extLst>
          </p:cNvPr>
          <p:cNvSpPr/>
          <p:nvPr userDrawn="1"/>
        </p:nvSpPr>
        <p:spPr bwMode="hidden">
          <a:xfrm>
            <a:off x="1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49AC7DF-BFC1-4044-BB52-C9946AD8A327}"/>
              </a:ext>
            </a:extLst>
          </p:cNvPr>
          <p:cNvSpPr txBox="1">
            <a:spLocks/>
          </p:cNvSpPr>
          <p:nvPr userDrawn="1"/>
        </p:nvSpPr>
        <p:spPr>
          <a:xfrm>
            <a:off x="564716" y="366687"/>
            <a:ext cx="11003870" cy="7061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5000" dirty="0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3C12014-9EC5-4F8C-BD3D-B60E85EC9FFD}"/>
              </a:ext>
            </a:extLst>
          </p:cNvPr>
          <p:cNvSpPr txBox="1"/>
          <p:nvPr userDrawn="1"/>
        </p:nvSpPr>
        <p:spPr>
          <a:xfrm>
            <a:off x="621057" y="3906061"/>
            <a:ext cx="10965543" cy="23807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30000"/>
              </a:lnSpc>
            </a:pPr>
            <a:r>
              <a:rPr lang="en-US" sz="1800" dirty="0">
                <a:solidFill>
                  <a:schemeClr val="bg1"/>
                </a:solidFill>
              </a:rPr>
              <a:t>If yes, you are good to go!</a:t>
            </a:r>
          </a:p>
          <a:p>
            <a:pPr>
              <a:lnSpc>
                <a:spcPct val="130000"/>
              </a:lnSpc>
            </a:pPr>
            <a:r>
              <a:rPr lang="en-US" sz="1800" dirty="0">
                <a:solidFill>
                  <a:schemeClr val="bg1"/>
                </a:solidFill>
              </a:rPr>
              <a:t>If the answer is no, you do not have the Metropolis font installed.</a:t>
            </a:r>
          </a:p>
          <a:p>
            <a:pPr>
              <a:lnSpc>
                <a:spcPct val="130000"/>
              </a:lnSpc>
            </a:pPr>
            <a:endParaRPr lang="en-US" sz="180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dirty="0">
                <a:solidFill>
                  <a:schemeClr val="bg1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lick here</a:t>
            </a:r>
            <a:r>
              <a:rPr lang="en-US" sz="1800" dirty="0">
                <a:solidFill>
                  <a:schemeClr val="bg1"/>
                </a:solidFill>
              </a:rPr>
              <a:t> to download the font</a:t>
            </a:r>
            <a:r>
              <a:rPr lang="en-US" sz="1800" baseline="0" dirty="0">
                <a:solidFill>
                  <a:schemeClr val="bg1"/>
                </a:solidFill>
              </a:rPr>
              <a:t>.</a:t>
            </a:r>
          </a:p>
          <a:p>
            <a:pPr marL="400050" marR="0" lvl="0" indent="-227013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sz="1800" strike="noStrike" baseline="0" dirty="0">
                <a:solidFill>
                  <a:schemeClr val="bg1"/>
                </a:solidFill>
              </a:rPr>
              <a:t>Log in with SSO and select the Brand Assets tab in Brand Central</a:t>
            </a:r>
          </a:p>
          <a:p>
            <a:pPr>
              <a:lnSpc>
                <a:spcPct val="130000"/>
              </a:lnSpc>
            </a:pPr>
            <a:r>
              <a:rPr lang="en-US" sz="1800" dirty="0">
                <a:solidFill>
                  <a:schemeClr val="bg1"/>
                </a:solidFill>
              </a:rPr>
              <a:t>Need more information on how to install fonts? </a:t>
            </a:r>
            <a:br>
              <a:rPr lang="en-US" sz="1800" dirty="0">
                <a:solidFill>
                  <a:schemeClr val="bg1"/>
                </a:solidFill>
              </a:rPr>
            </a:br>
            <a:r>
              <a:rPr lang="en-US" sz="1800" dirty="0">
                <a:solidFill>
                  <a:schemeClr val="bg1"/>
                </a:solidFill>
              </a:rPr>
              <a:t>Refer to the quick-start section in the template guidelines or contact Oasis.</a:t>
            </a:r>
          </a:p>
          <a:p>
            <a:pPr>
              <a:lnSpc>
                <a:spcPct val="130000"/>
              </a:lnSpc>
            </a:pPr>
            <a:r>
              <a:rPr lang="en-US" sz="1800" dirty="0">
                <a:solidFill>
                  <a:schemeClr val="bg1"/>
                </a:solidFill>
              </a:rPr>
              <a:t> 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DDDC76C1-EE98-469A-A6AD-21148374D6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98270" y="2908233"/>
            <a:ext cx="5356032" cy="895350"/>
          </a:xfrm>
        </p:spPr>
        <p:txBody>
          <a:bodyPr/>
          <a:lstStyle>
            <a:lvl1pPr>
              <a:defRPr sz="4900">
                <a:solidFill>
                  <a:schemeClr val="bg1"/>
                </a:solidFill>
              </a:defRPr>
            </a:lvl1pPr>
            <a:lvl2pPr>
              <a:defRPr sz="3600">
                <a:solidFill>
                  <a:schemeClr val="bg1"/>
                </a:solidFill>
              </a:defRPr>
            </a:lvl2pPr>
            <a:lvl3pPr>
              <a:defRPr sz="32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etropolis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29BE03A-21B0-4196-A033-4E90957BA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z="2800" dirty="0">
                <a:solidFill>
                  <a:schemeClr val="bg1"/>
                </a:solidFill>
              </a:rPr>
              <a:t>Metropolis Font Check</a:t>
            </a:r>
          </a:p>
        </p:txBody>
      </p:sp>
      <p:sp>
        <p:nvSpPr>
          <p:cNvPr id="51" name="Subtitle 2">
            <a:extLst>
              <a:ext uri="{FF2B5EF4-FFF2-40B4-BE49-F238E27FC236}">
                <a16:creationId xmlns:a16="http://schemas.microsoft.com/office/drawing/2014/main" id="{CB049186-CC25-4BD3-8410-4DE62ED4B08B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593021" y="838105"/>
            <a:ext cx="10965543" cy="247743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Is the Metropolis font installed on my computer?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1A92F24-FC82-4FA9-9362-801284731CC8}"/>
              </a:ext>
            </a:extLst>
          </p:cNvPr>
          <p:cNvSpPr/>
          <p:nvPr userDrawn="1"/>
        </p:nvSpPr>
        <p:spPr bwMode="gray">
          <a:xfrm>
            <a:off x="623526" y="1616678"/>
            <a:ext cx="4634944" cy="2441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100" dirty="0">
                <a:solidFill>
                  <a:schemeClr val="bg1"/>
                </a:solidFill>
              </a:rPr>
              <a:t>Do the fonts in the words below match on your screen?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B59E37DB-3217-4772-AE8E-E9673A139975}"/>
              </a:ext>
            </a:extLst>
          </p:cNvPr>
          <p:cNvCxnSpPr>
            <a:cxnSpLocks/>
          </p:cNvCxnSpPr>
          <p:nvPr userDrawn="1"/>
        </p:nvCxnSpPr>
        <p:spPr>
          <a:xfrm>
            <a:off x="623527" y="1860778"/>
            <a:ext cx="7301750" cy="0"/>
          </a:xfrm>
          <a:prstGeom prst="line">
            <a:avLst/>
          </a:prstGeom>
          <a:ln w="25400">
            <a:solidFill>
              <a:schemeClr val="bg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 Placeholder 43">
            <a:extLst>
              <a:ext uri="{FF2B5EF4-FFF2-40B4-BE49-F238E27FC236}">
                <a16:creationId xmlns:a16="http://schemas.microsoft.com/office/drawing/2014/main" id="{6C28CB3F-7257-499E-B2F6-B9B1B38D82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85242" y="2908233"/>
            <a:ext cx="5356032" cy="895350"/>
          </a:xfrm>
        </p:spPr>
        <p:txBody>
          <a:bodyPr/>
          <a:lstStyle>
            <a:lvl1pPr>
              <a:defRPr sz="4900">
                <a:solidFill>
                  <a:schemeClr val="bg1"/>
                </a:solidFill>
                <a:latin typeface="+mj-lt"/>
              </a:defRPr>
            </a:lvl1pPr>
            <a:lvl2pPr>
              <a:defRPr sz="3600">
                <a:solidFill>
                  <a:schemeClr val="bg1"/>
                </a:solidFill>
              </a:defRPr>
            </a:lvl2pPr>
            <a:lvl3pPr>
              <a:defRPr sz="32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etropolis Light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365F6992-4889-4035-986F-E69979C7B028}"/>
              </a:ext>
            </a:extLst>
          </p:cNvPr>
          <p:cNvGrpSpPr/>
          <p:nvPr userDrawn="1"/>
        </p:nvGrpSpPr>
        <p:grpSpPr>
          <a:xfrm>
            <a:off x="6056500" y="2225997"/>
            <a:ext cx="4700685" cy="542276"/>
            <a:chOff x="6685343" y="2270804"/>
            <a:chExt cx="4699461" cy="542276"/>
          </a:xfrm>
          <a:solidFill>
            <a:schemeClr val="bg1"/>
          </a:solidFill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157C5E2C-9A8F-469D-810E-FD271477DD05}"/>
                </a:ext>
              </a:extLst>
            </p:cNvPr>
            <p:cNvSpPr/>
            <p:nvPr/>
          </p:nvSpPr>
          <p:spPr>
            <a:xfrm>
              <a:off x="9320530" y="2270804"/>
              <a:ext cx="53167" cy="53167"/>
            </a:xfrm>
            <a:custGeom>
              <a:avLst/>
              <a:gdLst/>
              <a:ahLst/>
              <a:cxnLst/>
              <a:rect l="l" t="t" r="r" b="b"/>
              <a:pathLst>
                <a:path w="53167" h="53167">
                  <a:moveTo>
                    <a:pt x="26583" y="0"/>
                  </a:moveTo>
                  <a:cubicBezTo>
                    <a:pt x="34183" y="219"/>
                    <a:pt x="40467" y="2872"/>
                    <a:pt x="45439" y="7959"/>
                  </a:cubicBezTo>
                  <a:cubicBezTo>
                    <a:pt x="50411" y="13047"/>
                    <a:pt x="52987" y="19255"/>
                    <a:pt x="53167" y="26583"/>
                  </a:cubicBezTo>
                  <a:cubicBezTo>
                    <a:pt x="52987" y="34182"/>
                    <a:pt x="50411" y="40468"/>
                    <a:pt x="45439" y="45439"/>
                  </a:cubicBezTo>
                  <a:cubicBezTo>
                    <a:pt x="40467" y="50411"/>
                    <a:pt x="34183" y="52987"/>
                    <a:pt x="26583" y="53167"/>
                  </a:cubicBezTo>
                  <a:cubicBezTo>
                    <a:pt x="18985" y="52987"/>
                    <a:pt x="12699" y="50411"/>
                    <a:pt x="7727" y="45439"/>
                  </a:cubicBezTo>
                  <a:cubicBezTo>
                    <a:pt x="2756" y="40468"/>
                    <a:pt x="180" y="34182"/>
                    <a:pt x="0" y="26583"/>
                  </a:cubicBezTo>
                  <a:cubicBezTo>
                    <a:pt x="180" y="19255"/>
                    <a:pt x="2756" y="13047"/>
                    <a:pt x="7727" y="7959"/>
                  </a:cubicBezTo>
                  <a:cubicBezTo>
                    <a:pt x="12699" y="2872"/>
                    <a:pt x="18985" y="219"/>
                    <a:pt x="26583" y="0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16D8268-B556-4A2E-A24F-2098FB05E4CA}"/>
                </a:ext>
              </a:extLst>
            </p:cNvPr>
            <p:cNvSpPr/>
            <p:nvPr/>
          </p:nvSpPr>
          <p:spPr>
            <a:xfrm>
              <a:off x="10320655" y="2270804"/>
              <a:ext cx="53167" cy="53167"/>
            </a:xfrm>
            <a:custGeom>
              <a:avLst/>
              <a:gdLst/>
              <a:ahLst/>
              <a:cxnLst/>
              <a:rect l="l" t="t" r="r" b="b"/>
              <a:pathLst>
                <a:path w="53167" h="53167">
                  <a:moveTo>
                    <a:pt x="26583" y="0"/>
                  </a:moveTo>
                  <a:cubicBezTo>
                    <a:pt x="34182" y="219"/>
                    <a:pt x="40468" y="2872"/>
                    <a:pt x="45439" y="7959"/>
                  </a:cubicBezTo>
                  <a:cubicBezTo>
                    <a:pt x="50411" y="13047"/>
                    <a:pt x="52986" y="19255"/>
                    <a:pt x="53167" y="26583"/>
                  </a:cubicBezTo>
                  <a:cubicBezTo>
                    <a:pt x="52986" y="34182"/>
                    <a:pt x="50411" y="40468"/>
                    <a:pt x="45439" y="45439"/>
                  </a:cubicBezTo>
                  <a:cubicBezTo>
                    <a:pt x="40468" y="50411"/>
                    <a:pt x="34182" y="52987"/>
                    <a:pt x="26583" y="53167"/>
                  </a:cubicBezTo>
                  <a:cubicBezTo>
                    <a:pt x="18984" y="52987"/>
                    <a:pt x="12699" y="50411"/>
                    <a:pt x="7727" y="45439"/>
                  </a:cubicBezTo>
                  <a:cubicBezTo>
                    <a:pt x="2756" y="40468"/>
                    <a:pt x="180" y="34182"/>
                    <a:pt x="0" y="26583"/>
                  </a:cubicBezTo>
                  <a:cubicBezTo>
                    <a:pt x="180" y="19255"/>
                    <a:pt x="2756" y="13047"/>
                    <a:pt x="7727" y="7959"/>
                  </a:cubicBezTo>
                  <a:cubicBezTo>
                    <a:pt x="12699" y="2872"/>
                    <a:pt x="18984" y="219"/>
                    <a:pt x="26583" y="0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54C27A0-5E49-4C0A-B9A5-777E28510D88}"/>
                </a:ext>
              </a:extLst>
            </p:cNvPr>
            <p:cNvSpPr/>
            <p:nvPr/>
          </p:nvSpPr>
          <p:spPr>
            <a:xfrm>
              <a:off x="9176178" y="2273899"/>
              <a:ext cx="38309" cy="432691"/>
            </a:xfrm>
            <a:custGeom>
              <a:avLst/>
              <a:gdLst/>
              <a:ahLst/>
              <a:cxnLst/>
              <a:rect l="l" t="t" r="r" b="b"/>
              <a:pathLst>
                <a:path w="38309" h="432691">
                  <a:moveTo>
                    <a:pt x="0" y="0"/>
                  </a:moveTo>
                  <a:lnTo>
                    <a:pt x="38309" y="0"/>
                  </a:lnTo>
                  <a:lnTo>
                    <a:pt x="38309" y="432691"/>
                  </a:lnTo>
                  <a:lnTo>
                    <a:pt x="0" y="43269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B6DC2D46-24E8-497A-AE7E-3F29CF07D0E0}"/>
                </a:ext>
              </a:extLst>
            </p:cNvPr>
            <p:cNvSpPr/>
            <p:nvPr/>
          </p:nvSpPr>
          <p:spPr>
            <a:xfrm>
              <a:off x="10871628" y="2273899"/>
              <a:ext cx="263051" cy="432691"/>
            </a:xfrm>
            <a:custGeom>
              <a:avLst/>
              <a:gdLst/>
              <a:ahLst/>
              <a:cxnLst/>
              <a:rect l="l" t="t" r="r" b="b"/>
              <a:pathLst>
                <a:path w="263051" h="432691">
                  <a:moveTo>
                    <a:pt x="0" y="0"/>
                  </a:moveTo>
                  <a:lnTo>
                    <a:pt x="38309" y="0"/>
                  </a:lnTo>
                  <a:lnTo>
                    <a:pt x="38309" y="164610"/>
                  </a:lnTo>
                  <a:cubicBezTo>
                    <a:pt x="47303" y="146708"/>
                    <a:pt x="61058" y="132407"/>
                    <a:pt x="79575" y="121706"/>
                  </a:cubicBezTo>
                  <a:cubicBezTo>
                    <a:pt x="98091" y="111006"/>
                    <a:pt x="119435" y="105521"/>
                    <a:pt x="143603" y="105252"/>
                  </a:cubicBezTo>
                  <a:cubicBezTo>
                    <a:pt x="179471" y="105803"/>
                    <a:pt x="208206" y="117063"/>
                    <a:pt x="229805" y="139033"/>
                  </a:cubicBezTo>
                  <a:cubicBezTo>
                    <a:pt x="251405" y="161002"/>
                    <a:pt x="262487" y="190372"/>
                    <a:pt x="263051" y="227142"/>
                  </a:cubicBezTo>
                  <a:lnTo>
                    <a:pt x="263051" y="432691"/>
                  </a:lnTo>
                  <a:lnTo>
                    <a:pt x="224743" y="432691"/>
                  </a:lnTo>
                  <a:lnTo>
                    <a:pt x="224743" y="232095"/>
                  </a:lnTo>
                  <a:cubicBezTo>
                    <a:pt x="224343" y="204441"/>
                    <a:pt x="216316" y="182359"/>
                    <a:pt x="200663" y="165849"/>
                  </a:cubicBezTo>
                  <a:cubicBezTo>
                    <a:pt x="185011" y="149339"/>
                    <a:pt x="164133" y="140877"/>
                    <a:pt x="138029" y="140464"/>
                  </a:cubicBezTo>
                  <a:cubicBezTo>
                    <a:pt x="109215" y="141019"/>
                    <a:pt x="85549" y="149506"/>
                    <a:pt x="67032" y="165926"/>
                  </a:cubicBezTo>
                  <a:cubicBezTo>
                    <a:pt x="48515" y="182346"/>
                    <a:pt x="38941" y="203370"/>
                    <a:pt x="38309" y="228999"/>
                  </a:cubicBezTo>
                  <a:lnTo>
                    <a:pt x="38309" y="432691"/>
                  </a:lnTo>
                  <a:lnTo>
                    <a:pt x="0" y="43269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0B6A4DE9-31A3-428E-B420-424F68D79E41}"/>
                </a:ext>
              </a:extLst>
            </p:cNvPr>
            <p:cNvSpPr/>
            <p:nvPr/>
          </p:nvSpPr>
          <p:spPr>
            <a:xfrm>
              <a:off x="6685343" y="2281329"/>
              <a:ext cx="403593" cy="425261"/>
            </a:xfrm>
            <a:custGeom>
              <a:avLst/>
              <a:gdLst/>
              <a:ahLst/>
              <a:cxnLst/>
              <a:rect l="l" t="t" r="r" b="b"/>
              <a:pathLst>
                <a:path w="403593" h="425261">
                  <a:moveTo>
                    <a:pt x="0" y="0"/>
                  </a:moveTo>
                  <a:lnTo>
                    <a:pt x="39547" y="0"/>
                  </a:lnTo>
                  <a:lnTo>
                    <a:pt x="201797" y="304554"/>
                  </a:lnTo>
                  <a:lnTo>
                    <a:pt x="364046" y="0"/>
                  </a:lnTo>
                  <a:lnTo>
                    <a:pt x="403593" y="0"/>
                  </a:lnTo>
                  <a:lnTo>
                    <a:pt x="403593" y="425261"/>
                  </a:lnTo>
                  <a:lnTo>
                    <a:pt x="364046" y="425261"/>
                  </a:lnTo>
                  <a:lnTo>
                    <a:pt x="364046" y="84186"/>
                  </a:lnTo>
                  <a:lnTo>
                    <a:pt x="201797" y="388740"/>
                  </a:lnTo>
                  <a:lnTo>
                    <a:pt x="39547" y="84186"/>
                  </a:lnTo>
                  <a:lnTo>
                    <a:pt x="39547" y="425261"/>
                  </a:lnTo>
                  <a:lnTo>
                    <a:pt x="0" y="42526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9221A60B-A1D2-4D5F-ADCD-2B3BF1989BD1}"/>
                </a:ext>
              </a:extLst>
            </p:cNvPr>
            <p:cNvSpPr/>
            <p:nvPr/>
          </p:nvSpPr>
          <p:spPr>
            <a:xfrm>
              <a:off x="9980992" y="2281329"/>
              <a:ext cx="276052" cy="425261"/>
            </a:xfrm>
            <a:custGeom>
              <a:avLst/>
              <a:gdLst/>
              <a:ahLst/>
              <a:cxnLst/>
              <a:rect l="l" t="t" r="r" b="b"/>
              <a:pathLst>
                <a:path w="276052" h="425261">
                  <a:moveTo>
                    <a:pt x="0" y="0"/>
                  </a:moveTo>
                  <a:lnTo>
                    <a:pt x="39547" y="0"/>
                  </a:lnTo>
                  <a:lnTo>
                    <a:pt x="39547" y="387572"/>
                  </a:lnTo>
                  <a:lnTo>
                    <a:pt x="276052" y="387572"/>
                  </a:lnTo>
                  <a:lnTo>
                    <a:pt x="276052" y="425261"/>
                  </a:lnTo>
                  <a:lnTo>
                    <a:pt x="0" y="42526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BB738972-CA48-44E6-B7DD-E4E8B81F3D9E}"/>
                </a:ext>
              </a:extLst>
            </p:cNvPr>
            <p:cNvSpPr/>
            <p:nvPr/>
          </p:nvSpPr>
          <p:spPr>
            <a:xfrm>
              <a:off x="7532020" y="2298664"/>
              <a:ext cx="185660" cy="415356"/>
            </a:xfrm>
            <a:custGeom>
              <a:avLst/>
              <a:gdLst/>
              <a:ahLst/>
              <a:cxnLst/>
              <a:rect l="l" t="t" r="r" b="b"/>
              <a:pathLst>
                <a:path w="185660" h="415356">
                  <a:moveTo>
                    <a:pt x="52006" y="0"/>
                  </a:moveTo>
                  <a:lnTo>
                    <a:pt x="90314" y="0"/>
                  </a:lnTo>
                  <a:lnTo>
                    <a:pt x="90314" y="87916"/>
                  </a:lnTo>
                  <a:lnTo>
                    <a:pt x="170801" y="87916"/>
                  </a:lnTo>
                  <a:lnTo>
                    <a:pt x="170801" y="123129"/>
                  </a:lnTo>
                  <a:lnTo>
                    <a:pt x="90314" y="123129"/>
                  </a:lnTo>
                  <a:lnTo>
                    <a:pt x="90314" y="333695"/>
                  </a:lnTo>
                  <a:cubicBezTo>
                    <a:pt x="90598" y="347552"/>
                    <a:pt x="94365" y="358699"/>
                    <a:pt x="101613" y="367138"/>
                  </a:cubicBezTo>
                  <a:cubicBezTo>
                    <a:pt x="108862" y="375576"/>
                    <a:pt x="117891" y="379911"/>
                    <a:pt x="128700" y="380143"/>
                  </a:cubicBezTo>
                  <a:cubicBezTo>
                    <a:pt x="136207" y="380079"/>
                    <a:pt x="143172" y="378814"/>
                    <a:pt x="149596" y="376350"/>
                  </a:cubicBezTo>
                  <a:cubicBezTo>
                    <a:pt x="156019" y="373886"/>
                    <a:pt x="161436" y="370608"/>
                    <a:pt x="165848" y="366518"/>
                  </a:cubicBezTo>
                  <a:lnTo>
                    <a:pt x="185660" y="394970"/>
                  </a:lnTo>
                  <a:cubicBezTo>
                    <a:pt x="177185" y="401495"/>
                    <a:pt x="167821" y="406514"/>
                    <a:pt x="157567" y="410028"/>
                  </a:cubicBezTo>
                  <a:cubicBezTo>
                    <a:pt x="147313" y="413541"/>
                    <a:pt x="136865" y="415317"/>
                    <a:pt x="126224" y="415356"/>
                  </a:cubicBezTo>
                  <a:cubicBezTo>
                    <a:pt x="104177" y="414934"/>
                    <a:pt x="86392" y="407284"/>
                    <a:pt x="72869" y="392407"/>
                  </a:cubicBezTo>
                  <a:cubicBezTo>
                    <a:pt x="59345" y="377530"/>
                    <a:pt x="52391" y="357959"/>
                    <a:pt x="52006" y="333695"/>
                  </a:cubicBezTo>
                  <a:lnTo>
                    <a:pt x="52006" y="123129"/>
                  </a:lnTo>
                  <a:lnTo>
                    <a:pt x="0" y="123129"/>
                  </a:lnTo>
                  <a:lnTo>
                    <a:pt x="0" y="87916"/>
                  </a:lnTo>
                  <a:lnTo>
                    <a:pt x="52006" y="87916"/>
                  </a:lnTo>
                  <a:lnTo>
                    <a:pt x="52006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C0E3A6F-0249-4454-864B-04BF720A73B8}"/>
                </a:ext>
              </a:extLst>
            </p:cNvPr>
            <p:cNvSpPr/>
            <p:nvPr/>
          </p:nvSpPr>
          <p:spPr>
            <a:xfrm>
              <a:off x="11199144" y="2298664"/>
              <a:ext cx="185660" cy="415356"/>
            </a:xfrm>
            <a:custGeom>
              <a:avLst/>
              <a:gdLst/>
              <a:ahLst/>
              <a:cxnLst/>
              <a:rect l="l" t="t" r="r" b="b"/>
              <a:pathLst>
                <a:path w="185660" h="415356">
                  <a:moveTo>
                    <a:pt x="52006" y="0"/>
                  </a:moveTo>
                  <a:lnTo>
                    <a:pt x="90315" y="0"/>
                  </a:lnTo>
                  <a:lnTo>
                    <a:pt x="90315" y="87916"/>
                  </a:lnTo>
                  <a:lnTo>
                    <a:pt x="170802" y="87916"/>
                  </a:lnTo>
                  <a:lnTo>
                    <a:pt x="170802" y="123129"/>
                  </a:lnTo>
                  <a:lnTo>
                    <a:pt x="90315" y="123129"/>
                  </a:lnTo>
                  <a:lnTo>
                    <a:pt x="90315" y="333695"/>
                  </a:lnTo>
                  <a:cubicBezTo>
                    <a:pt x="90599" y="347552"/>
                    <a:pt x="94366" y="358699"/>
                    <a:pt x="101614" y="367138"/>
                  </a:cubicBezTo>
                  <a:cubicBezTo>
                    <a:pt x="108863" y="375576"/>
                    <a:pt x="117892" y="379911"/>
                    <a:pt x="128701" y="380143"/>
                  </a:cubicBezTo>
                  <a:cubicBezTo>
                    <a:pt x="136208" y="380079"/>
                    <a:pt x="143173" y="378814"/>
                    <a:pt x="149596" y="376350"/>
                  </a:cubicBezTo>
                  <a:cubicBezTo>
                    <a:pt x="156020" y="373886"/>
                    <a:pt x="161437" y="370608"/>
                    <a:pt x="165848" y="366518"/>
                  </a:cubicBezTo>
                  <a:lnTo>
                    <a:pt x="185660" y="394970"/>
                  </a:lnTo>
                  <a:cubicBezTo>
                    <a:pt x="177186" y="401495"/>
                    <a:pt x="167822" y="406514"/>
                    <a:pt x="157568" y="410028"/>
                  </a:cubicBezTo>
                  <a:cubicBezTo>
                    <a:pt x="147314" y="413541"/>
                    <a:pt x="136866" y="415317"/>
                    <a:pt x="126224" y="415356"/>
                  </a:cubicBezTo>
                  <a:cubicBezTo>
                    <a:pt x="104178" y="414934"/>
                    <a:pt x="86393" y="407284"/>
                    <a:pt x="72870" y="392407"/>
                  </a:cubicBezTo>
                  <a:cubicBezTo>
                    <a:pt x="59346" y="377530"/>
                    <a:pt x="52392" y="357959"/>
                    <a:pt x="52006" y="333695"/>
                  </a:cubicBezTo>
                  <a:lnTo>
                    <a:pt x="52006" y="123129"/>
                  </a:lnTo>
                  <a:lnTo>
                    <a:pt x="0" y="123129"/>
                  </a:lnTo>
                  <a:lnTo>
                    <a:pt x="0" y="87916"/>
                  </a:lnTo>
                  <a:lnTo>
                    <a:pt x="52006" y="87916"/>
                  </a:lnTo>
                  <a:lnTo>
                    <a:pt x="52006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BD5D52F-83DC-4C29-BFF9-C29AC76D694C}"/>
                </a:ext>
              </a:extLst>
            </p:cNvPr>
            <p:cNvSpPr/>
            <p:nvPr/>
          </p:nvSpPr>
          <p:spPr>
            <a:xfrm>
              <a:off x="7184309" y="2379151"/>
              <a:ext cx="309486" cy="334869"/>
            </a:xfrm>
            <a:custGeom>
              <a:avLst/>
              <a:gdLst/>
              <a:ahLst/>
              <a:cxnLst/>
              <a:rect l="l" t="t" r="r" b="b"/>
              <a:pathLst>
                <a:path w="309486" h="334869">
                  <a:moveTo>
                    <a:pt x="157840" y="0"/>
                  </a:moveTo>
                  <a:cubicBezTo>
                    <a:pt x="205615" y="720"/>
                    <a:pt x="242734" y="17376"/>
                    <a:pt x="269197" y="49965"/>
                  </a:cubicBezTo>
                  <a:cubicBezTo>
                    <a:pt x="295660" y="82555"/>
                    <a:pt x="309089" y="126754"/>
                    <a:pt x="309486" y="182564"/>
                  </a:cubicBezTo>
                  <a:lnTo>
                    <a:pt x="38928" y="182564"/>
                  </a:lnTo>
                  <a:cubicBezTo>
                    <a:pt x="42863" y="216445"/>
                    <a:pt x="55740" y="244247"/>
                    <a:pt x="77559" y="265969"/>
                  </a:cubicBezTo>
                  <a:cubicBezTo>
                    <a:pt x="99377" y="287692"/>
                    <a:pt x="126963" y="298921"/>
                    <a:pt x="160317" y="299656"/>
                  </a:cubicBezTo>
                  <a:cubicBezTo>
                    <a:pt x="181013" y="299488"/>
                    <a:pt x="201090" y="295797"/>
                    <a:pt x="220547" y="288582"/>
                  </a:cubicBezTo>
                  <a:cubicBezTo>
                    <a:pt x="240005" y="281367"/>
                    <a:pt x="255436" y="271635"/>
                    <a:pt x="266842" y="259387"/>
                  </a:cubicBezTo>
                  <a:lnTo>
                    <a:pt x="290950" y="285407"/>
                  </a:lnTo>
                  <a:cubicBezTo>
                    <a:pt x="276534" y="300459"/>
                    <a:pt x="257271" y="312414"/>
                    <a:pt x="233160" y="321273"/>
                  </a:cubicBezTo>
                  <a:cubicBezTo>
                    <a:pt x="209050" y="330132"/>
                    <a:pt x="184975" y="334664"/>
                    <a:pt x="160937" y="334869"/>
                  </a:cubicBezTo>
                  <a:cubicBezTo>
                    <a:pt x="132043" y="334568"/>
                    <a:pt x="105473" y="327127"/>
                    <a:pt x="81227" y="312548"/>
                  </a:cubicBezTo>
                  <a:cubicBezTo>
                    <a:pt x="56980" y="297968"/>
                    <a:pt x="37482" y="278056"/>
                    <a:pt x="22732" y="252812"/>
                  </a:cubicBezTo>
                  <a:cubicBezTo>
                    <a:pt x="7982" y="227567"/>
                    <a:pt x="405" y="198797"/>
                    <a:pt x="0" y="166502"/>
                  </a:cubicBezTo>
                  <a:cubicBezTo>
                    <a:pt x="343" y="134622"/>
                    <a:pt x="7561" y="106198"/>
                    <a:pt x="21654" y="81230"/>
                  </a:cubicBezTo>
                  <a:cubicBezTo>
                    <a:pt x="35746" y="56262"/>
                    <a:pt x="54656" y="36557"/>
                    <a:pt x="78382" y="22115"/>
                  </a:cubicBezTo>
                  <a:cubicBezTo>
                    <a:pt x="102109" y="7673"/>
                    <a:pt x="128595" y="301"/>
                    <a:pt x="157840" y="0"/>
                  </a:cubicBezTo>
                  <a:close/>
                  <a:moveTo>
                    <a:pt x="159079" y="35212"/>
                  </a:moveTo>
                  <a:cubicBezTo>
                    <a:pt x="127505" y="35742"/>
                    <a:pt x="100848" y="46145"/>
                    <a:pt x="79107" y="66423"/>
                  </a:cubicBezTo>
                  <a:cubicBezTo>
                    <a:pt x="57366" y="86700"/>
                    <a:pt x="44179" y="113676"/>
                    <a:pt x="39547" y="147351"/>
                  </a:cubicBezTo>
                  <a:lnTo>
                    <a:pt x="271796" y="147351"/>
                  </a:lnTo>
                  <a:cubicBezTo>
                    <a:pt x="268881" y="114489"/>
                    <a:pt x="257836" y="87745"/>
                    <a:pt x="238663" y="67120"/>
                  </a:cubicBezTo>
                  <a:cubicBezTo>
                    <a:pt x="219489" y="46494"/>
                    <a:pt x="192961" y="35858"/>
                    <a:pt x="159079" y="35212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8A50D27D-9134-4260-9625-A03ACB43BB75}"/>
                </a:ext>
              </a:extLst>
            </p:cNvPr>
            <p:cNvSpPr/>
            <p:nvPr/>
          </p:nvSpPr>
          <p:spPr>
            <a:xfrm>
              <a:off x="7784908" y="2379151"/>
              <a:ext cx="162134" cy="327439"/>
            </a:xfrm>
            <a:custGeom>
              <a:avLst/>
              <a:gdLst/>
              <a:ahLst/>
              <a:cxnLst/>
              <a:rect l="l" t="t" r="r" b="b"/>
              <a:pathLst>
                <a:path w="162134" h="327439">
                  <a:moveTo>
                    <a:pt x="162134" y="0"/>
                  </a:moveTo>
                  <a:lnTo>
                    <a:pt x="162134" y="35212"/>
                  </a:lnTo>
                  <a:cubicBezTo>
                    <a:pt x="125283" y="35792"/>
                    <a:pt x="95591" y="46396"/>
                    <a:pt x="73057" y="67025"/>
                  </a:cubicBezTo>
                  <a:cubicBezTo>
                    <a:pt x="50523" y="87655"/>
                    <a:pt x="38941" y="114831"/>
                    <a:pt x="38309" y="148556"/>
                  </a:cubicBezTo>
                  <a:lnTo>
                    <a:pt x="38309" y="327439"/>
                  </a:lnTo>
                  <a:lnTo>
                    <a:pt x="0" y="327439"/>
                  </a:lnTo>
                  <a:lnTo>
                    <a:pt x="0" y="7429"/>
                  </a:lnTo>
                  <a:lnTo>
                    <a:pt x="38309" y="7429"/>
                  </a:lnTo>
                  <a:lnTo>
                    <a:pt x="38309" y="74217"/>
                  </a:lnTo>
                  <a:cubicBezTo>
                    <a:pt x="47338" y="51898"/>
                    <a:pt x="62713" y="34035"/>
                    <a:pt x="84434" y="20628"/>
                  </a:cubicBezTo>
                  <a:cubicBezTo>
                    <a:pt x="106154" y="7222"/>
                    <a:pt x="132054" y="345"/>
                    <a:pt x="162134" y="0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8AD9AAAC-AEE1-41E7-98D0-8AAAA66A65F2}"/>
                </a:ext>
              </a:extLst>
            </p:cNvPr>
            <p:cNvSpPr/>
            <p:nvPr/>
          </p:nvSpPr>
          <p:spPr>
            <a:xfrm>
              <a:off x="7992696" y="2379151"/>
              <a:ext cx="330536" cy="334869"/>
            </a:xfrm>
            <a:custGeom>
              <a:avLst/>
              <a:gdLst/>
              <a:ahLst/>
              <a:cxnLst/>
              <a:rect l="l" t="t" r="r" b="b"/>
              <a:pathLst>
                <a:path w="330536" h="334869">
                  <a:moveTo>
                    <a:pt x="165267" y="0"/>
                  </a:moveTo>
                  <a:cubicBezTo>
                    <a:pt x="195773" y="366"/>
                    <a:pt x="223451" y="8019"/>
                    <a:pt x="248301" y="22960"/>
                  </a:cubicBezTo>
                  <a:cubicBezTo>
                    <a:pt x="273151" y="37901"/>
                    <a:pt x="292978" y="57935"/>
                    <a:pt x="307782" y="83060"/>
                  </a:cubicBezTo>
                  <a:cubicBezTo>
                    <a:pt x="322585" y="108185"/>
                    <a:pt x="330170" y="136207"/>
                    <a:pt x="330536" y="167125"/>
                  </a:cubicBezTo>
                  <a:cubicBezTo>
                    <a:pt x="330170" y="198051"/>
                    <a:pt x="322585" y="226126"/>
                    <a:pt x="307782" y="251351"/>
                  </a:cubicBezTo>
                  <a:cubicBezTo>
                    <a:pt x="292978" y="276575"/>
                    <a:pt x="273151" y="296708"/>
                    <a:pt x="248301" y="311748"/>
                  </a:cubicBezTo>
                  <a:cubicBezTo>
                    <a:pt x="223451" y="326788"/>
                    <a:pt x="195773" y="334495"/>
                    <a:pt x="165267" y="334869"/>
                  </a:cubicBezTo>
                  <a:cubicBezTo>
                    <a:pt x="134762" y="334495"/>
                    <a:pt x="107084" y="326788"/>
                    <a:pt x="82234" y="311748"/>
                  </a:cubicBezTo>
                  <a:cubicBezTo>
                    <a:pt x="57384" y="296708"/>
                    <a:pt x="37557" y="276575"/>
                    <a:pt x="22754" y="251351"/>
                  </a:cubicBezTo>
                  <a:cubicBezTo>
                    <a:pt x="7951" y="226126"/>
                    <a:pt x="366" y="198051"/>
                    <a:pt x="0" y="167125"/>
                  </a:cubicBezTo>
                  <a:cubicBezTo>
                    <a:pt x="366" y="136207"/>
                    <a:pt x="7951" y="108185"/>
                    <a:pt x="22754" y="83060"/>
                  </a:cubicBezTo>
                  <a:cubicBezTo>
                    <a:pt x="37557" y="57935"/>
                    <a:pt x="57384" y="37901"/>
                    <a:pt x="82234" y="22960"/>
                  </a:cubicBezTo>
                  <a:cubicBezTo>
                    <a:pt x="107084" y="8019"/>
                    <a:pt x="134762" y="366"/>
                    <a:pt x="165267" y="0"/>
                  </a:cubicBezTo>
                  <a:close/>
                  <a:moveTo>
                    <a:pt x="165267" y="35212"/>
                  </a:moveTo>
                  <a:cubicBezTo>
                    <a:pt x="129954" y="36180"/>
                    <a:pt x="100407" y="49108"/>
                    <a:pt x="76628" y="73997"/>
                  </a:cubicBezTo>
                  <a:cubicBezTo>
                    <a:pt x="52849" y="98885"/>
                    <a:pt x="40489" y="129928"/>
                    <a:pt x="39547" y="167125"/>
                  </a:cubicBezTo>
                  <a:cubicBezTo>
                    <a:pt x="40489" y="204348"/>
                    <a:pt x="52849" y="235494"/>
                    <a:pt x="76628" y="260563"/>
                  </a:cubicBezTo>
                  <a:cubicBezTo>
                    <a:pt x="100407" y="285632"/>
                    <a:pt x="129954" y="298663"/>
                    <a:pt x="165267" y="299656"/>
                  </a:cubicBezTo>
                  <a:cubicBezTo>
                    <a:pt x="200581" y="298663"/>
                    <a:pt x="230128" y="285632"/>
                    <a:pt x="253907" y="260563"/>
                  </a:cubicBezTo>
                  <a:cubicBezTo>
                    <a:pt x="277686" y="235494"/>
                    <a:pt x="290047" y="204348"/>
                    <a:pt x="290989" y="167125"/>
                  </a:cubicBezTo>
                  <a:cubicBezTo>
                    <a:pt x="290047" y="129928"/>
                    <a:pt x="277686" y="98885"/>
                    <a:pt x="253907" y="73997"/>
                  </a:cubicBezTo>
                  <a:cubicBezTo>
                    <a:pt x="230128" y="49108"/>
                    <a:pt x="200581" y="36180"/>
                    <a:pt x="165267" y="35212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05D99233-8B51-431E-B7AE-9CFD2F67C3E6}"/>
                </a:ext>
              </a:extLst>
            </p:cNvPr>
            <p:cNvSpPr/>
            <p:nvPr/>
          </p:nvSpPr>
          <p:spPr>
            <a:xfrm>
              <a:off x="8404653" y="2379151"/>
              <a:ext cx="303913" cy="433929"/>
            </a:xfrm>
            <a:custGeom>
              <a:avLst/>
              <a:gdLst/>
              <a:ahLst/>
              <a:cxnLst/>
              <a:rect l="l" t="t" r="r" b="b"/>
              <a:pathLst>
                <a:path w="303913" h="433929">
                  <a:moveTo>
                    <a:pt x="157842" y="0"/>
                  </a:moveTo>
                  <a:cubicBezTo>
                    <a:pt x="199966" y="1002"/>
                    <a:pt x="234608" y="16936"/>
                    <a:pt x="261767" y="47802"/>
                  </a:cubicBezTo>
                  <a:cubicBezTo>
                    <a:pt x="288926" y="78669"/>
                    <a:pt x="302975" y="118456"/>
                    <a:pt x="303913" y="167163"/>
                  </a:cubicBezTo>
                  <a:cubicBezTo>
                    <a:pt x="302975" y="216136"/>
                    <a:pt x="288926" y="256082"/>
                    <a:pt x="261767" y="287003"/>
                  </a:cubicBezTo>
                  <a:cubicBezTo>
                    <a:pt x="234608" y="317924"/>
                    <a:pt x="199966" y="333879"/>
                    <a:pt x="157842" y="334869"/>
                  </a:cubicBezTo>
                  <a:cubicBezTo>
                    <a:pt x="131378" y="334665"/>
                    <a:pt x="107972" y="328432"/>
                    <a:pt x="87624" y="316172"/>
                  </a:cubicBezTo>
                  <a:cubicBezTo>
                    <a:pt x="67276" y="303912"/>
                    <a:pt x="50837" y="286849"/>
                    <a:pt x="38308" y="264985"/>
                  </a:cubicBezTo>
                  <a:lnTo>
                    <a:pt x="38308" y="433929"/>
                  </a:lnTo>
                  <a:lnTo>
                    <a:pt x="0" y="433929"/>
                  </a:lnTo>
                  <a:lnTo>
                    <a:pt x="0" y="7429"/>
                  </a:lnTo>
                  <a:lnTo>
                    <a:pt x="38308" y="7429"/>
                  </a:lnTo>
                  <a:lnTo>
                    <a:pt x="38308" y="69894"/>
                  </a:lnTo>
                  <a:cubicBezTo>
                    <a:pt x="50837" y="48025"/>
                    <a:pt x="67276" y="30959"/>
                    <a:pt x="87624" y="18698"/>
                  </a:cubicBezTo>
                  <a:cubicBezTo>
                    <a:pt x="107972" y="6437"/>
                    <a:pt x="131378" y="204"/>
                    <a:pt x="157842" y="0"/>
                  </a:cubicBezTo>
                  <a:close/>
                  <a:moveTo>
                    <a:pt x="150410" y="35212"/>
                  </a:moveTo>
                  <a:cubicBezTo>
                    <a:pt x="117017" y="35870"/>
                    <a:pt x="90127" y="48179"/>
                    <a:pt x="69740" y="72139"/>
                  </a:cubicBezTo>
                  <a:cubicBezTo>
                    <a:pt x="49354" y="96098"/>
                    <a:pt x="38876" y="127760"/>
                    <a:pt x="38308" y="167125"/>
                  </a:cubicBezTo>
                  <a:cubicBezTo>
                    <a:pt x="38876" y="206515"/>
                    <a:pt x="49354" y="238281"/>
                    <a:pt x="69740" y="262421"/>
                  </a:cubicBezTo>
                  <a:cubicBezTo>
                    <a:pt x="90127" y="286561"/>
                    <a:pt x="117017" y="298972"/>
                    <a:pt x="150410" y="299656"/>
                  </a:cubicBezTo>
                  <a:cubicBezTo>
                    <a:pt x="183312" y="298856"/>
                    <a:pt x="210253" y="286212"/>
                    <a:pt x="231233" y="261724"/>
                  </a:cubicBezTo>
                  <a:cubicBezTo>
                    <a:pt x="252213" y="237235"/>
                    <a:pt x="263051" y="205703"/>
                    <a:pt x="263747" y="167125"/>
                  </a:cubicBezTo>
                  <a:cubicBezTo>
                    <a:pt x="263051" y="128573"/>
                    <a:pt x="252213" y="97143"/>
                    <a:pt x="231233" y="72836"/>
                  </a:cubicBezTo>
                  <a:cubicBezTo>
                    <a:pt x="210253" y="48528"/>
                    <a:pt x="183312" y="35987"/>
                    <a:pt x="150410" y="35212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99B1F118-34ED-4FB8-A180-737A1399C241}"/>
                </a:ext>
              </a:extLst>
            </p:cNvPr>
            <p:cNvSpPr/>
            <p:nvPr/>
          </p:nvSpPr>
          <p:spPr>
            <a:xfrm>
              <a:off x="8764222" y="2379151"/>
              <a:ext cx="330535" cy="334869"/>
            </a:xfrm>
            <a:custGeom>
              <a:avLst/>
              <a:gdLst/>
              <a:ahLst/>
              <a:cxnLst/>
              <a:rect l="l" t="t" r="r" b="b"/>
              <a:pathLst>
                <a:path w="330535" h="334869">
                  <a:moveTo>
                    <a:pt x="165267" y="0"/>
                  </a:moveTo>
                  <a:cubicBezTo>
                    <a:pt x="195773" y="366"/>
                    <a:pt x="223451" y="8019"/>
                    <a:pt x="248301" y="22960"/>
                  </a:cubicBezTo>
                  <a:cubicBezTo>
                    <a:pt x="273151" y="37901"/>
                    <a:pt x="292978" y="57935"/>
                    <a:pt x="307781" y="83060"/>
                  </a:cubicBezTo>
                  <a:cubicBezTo>
                    <a:pt x="322585" y="108185"/>
                    <a:pt x="330169" y="136207"/>
                    <a:pt x="330535" y="167125"/>
                  </a:cubicBezTo>
                  <a:cubicBezTo>
                    <a:pt x="330169" y="198051"/>
                    <a:pt x="322585" y="226126"/>
                    <a:pt x="307781" y="251351"/>
                  </a:cubicBezTo>
                  <a:cubicBezTo>
                    <a:pt x="292978" y="276575"/>
                    <a:pt x="273151" y="296708"/>
                    <a:pt x="248301" y="311748"/>
                  </a:cubicBezTo>
                  <a:cubicBezTo>
                    <a:pt x="223451" y="326788"/>
                    <a:pt x="195773" y="334495"/>
                    <a:pt x="165267" y="334869"/>
                  </a:cubicBezTo>
                  <a:cubicBezTo>
                    <a:pt x="134761" y="334495"/>
                    <a:pt x="107083" y="326788"/>
                    <a:pt x="82234" y="311748"/>
                  </a:cubicBezTo>
                  <a:cubicBezTo>
                    <a:pt x="57383" y="296708"/>
                    <a:pt x="37557" y="276575"/>
                    <a:pt x="22754" y="251351"/>
                  </a:cubicBezTo>
                  <a:cubicBezTo>
                    <a:pt x="7951" y="226126"/>
                    <a:pt x="366" y="198051"/>
                    <a:pt x="0" y="167125"/>
                  </a:cubicBezTo>
                  <a:cubicBezTo>
                    <a:pt x="366" y="136207"/>
                    <a:pt x="7951" y="108185"/>
                    <a:pt x="22754" y="83060"/>
                  </a:cubicBezTo>
                  <a:cubicBezTo>
                    <a:pt x="37557" y="57935"/>
                    <a:pt x="57383" y="37901"/>
                    <a:pt x="82234" y="22960"/>
                  </a:cubicBezTo>
                  <a:cubicBezTo>
                    <a:pt x="107083" y="8019"/>
                    <a:pt x="134761" y="366"/>
                    <a:pt x="165267" y="0"/>
                  </a:cubicBezTo>
                  <a:close/>
                  <a:moveTo>
                    <a:pt x="165267" y="35212"/>
                  </a:moveTo>
                  <a:cubicBezTo>
                    <a:pt x="129954" y="36180"/>
                    <a:pt x="100407" y="49108"/>
                    <a:pt x="76628" y="73997"/>
                  </a:cubicBezTo>
                  <a:cubicBezTo>
                    <a:pt x="52849" y="98885"/>
                    <a:pt x="40489" y="129928"/>
                    <a:pt x="39547" y="167125"/>
                  </a:cubicBezTo>
                  <a:cubicBezTo>
                    <a:pt x="40489" y="204348"/>
                    <a:pt x="52849" y="235494"/>
                    <a:pt x="76628" y="260563"/>
                  </a:cubicBezTo>
                  <a:cubicBezTo>
                    <a:pt x="100407" y="285632"/>
                    <a:pt x="129954" y="298663"/>
                    <a:pt x="165267" y="299656"/>
                  </a:cubicBezTo>
                  <a:cubicBezTo>
                    <a:pt x="200581" y="298663"/>
                    <a:pt x="230128" y="285632"/>
                    <a:pt x="253907" y="260563"/>
                  </a:cubicBezTo>
                  <a:cubicBezTo>
                    <a:pt x="277686" y="235494"/>
                    <a:pt x="290047" y="204348"/>
                    <a:pt x="290989" y="167125"/>
                  </a:cubicBezTo>
                  <a:cubicBezTo>
                    <a:pt x="290047" y="129928"/>
                    <a:pt x="277686" y="98885"/>
                    <a:pt x="253907" y="73997"/>
                  </a:cubicBezTo>
                  <a:cubicBezTo>
                    <a:pt x="230128" y="49108"/>
                    <a:pt x="200581" y="36180"/>
                    <a:pt x="165267" y="35212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99817CB1-DAD9-42CD-BEDA-3ADB122B8709}"/>
                </a:ext>
              </a:extLst>
            </p:cNvPr>
            <p:cNvSpPr/>
            <p:nvPr/>
          </p:nvSpPr>
          <p:spPr>
            <a:xfrm>
              <a:off x="9443830" y="2379151"/>
              <a:ext cx="247572" cy="334869"/>
            </a:xfrm>
            <a:custGeom>
              <a:avLst/>
              <a:gdLst/>
              <a:ahLst/>
              <a:cxnLst/>
              <a:rect l="l" t="t" r="r" b="b"/>
              <a:pathLst>
                <a:path w="247572" h="334869">
                  <a:moveTo>
                    <a:pt x="127498" y="0"/>
                  </a:moveTo>
                  <a:cubicBezTo>
                    <a:pt x="147218" y="103"/>
                    <a:pt x="166934" y="3295"/>
                    <a:pt x="186644" y="9575"/>
                  </a:cubicBezTo>
                  <a:cubicBezTo>
                    <a:pt x="206354" y="15856"/>
                    <a:pt x="224810" y="24609"/>
                    <a:pt x="242012" y="35833"/>
                  </a:cubicBezTo>
                  <a:lnTo>
                    <a:pt x="222857" y="65559"/>
                  </a:lnTo>
                  <a:cubicBezTo>
                    <a:pt x="206974" y="55624"/>
                    <a:pt x="190931" y="48089"/>
                    <a:pt x="174726" y="42954"/>
                  </a:cubicBezTo>
                  <a:cubicBezTo>
                    <a:pt x="158521" y="37819"/>
                    <a:pt x="142778" y="35238"/>
                    <a:pt x="127498" y="35212"/>
                  </a:cubicBezTo>
                  <a:cubicBezTo>
                    <a:pt x="107457" y="35367"/>
                    <a:pt x="90706" y="39857"/>
                    <a:pt x="77246" y="48683"/>
                  </a:cubicBezTo>
                  <a:cubicBezTo>
                    <a:pt x="63786" y="57508"/>
                    <a:pt x="56792" y="69739"/>
                    <a:pt x="56263" y="85377"/>
                  </a:cubicBezTo>
                  <a:cubicBezTo>
                    <a:pt x="56004" y="99440"/>
                    <a:pt x="62715" y="110949"/>
                    <a:pt x="76394" y="119903"/>
                  </a:cubicBezTo>
                  <a:cubicBezTo>
                    <a:pt x="90074" y="128857"/>
                    <a:pt x="112270" y="138198"/>
                    <a:pt x="142984" y="147927"/>
                  </a:cubicBezTo>
                  <a:cubicBezTo>
                    <a:pt x="173358" y="156519"/>
                    <a:pt x="198222" y="167667"/>
                    <a:pt x="217578" y="181369"/>
                  </a:cubicBezTo>
                  <a:cubicBezTo>
                    <a:pt x="236933" y="195071"/>
                    <a:pt x="246931" y="215508"/>
                    <a:pt x="247572" y="242680"/>
                  </a:cubicBezTo>
                  <a:cubicBezTo>
                    <a:pt x="246802" y="270365"/>
                    <a:pt x="235668" y="292542"/>
                    <a:pt x="214171" y="309212"/>
                  </a:cubicBezTo>
                  <a:cubicBezTo>
                    <a:pt x="192674" y="325881"/>
                    <a:pt x="165434" y="334434"/>
                    <a:pt x="132453" y="334869"/>
                  </a:cubicBezTo>
                  <a:cubicBezTo>
                    <a:pt x="109819" y="334780"/>
                    <a:pt x="86962" y="330634"/>
                    <a:pt x="63881" y="322433"/>
                  </a:cubicBezTo>
                  <a:cubicBezTo>
                    <a:pt x="40800" y="314231"/>
                    <a:pt x="19507" y="302510"/>
                    <a:pt x="0" y="287270"/>
                  </a:cubicBezTo>
                  <a:lnTo>
                    <a:pt x="21044" y="258782"/>
                  </a:lnTo>
                  <a:cubicBezTo>
                    <a:pt x="39390" y="272136"/>
                    <a:pt x="58025" y="282277"/>
                    <a:pt x="76948" y="289205"/>
                  </a:cubicBezTo>
                  <a:cubicBezTo>
                    <a:pt x="95870" y="296134"/>
                    <a:pt x="114372" y="299618"/>
                    <a:pt x="132453" y="299656"/>
                  </a:cubicBezTo>
                  <a:cubicBezTo>
                    <a:pt x="155166" y="299372"/>
                    <a:pt x="173543" y="294366"/>
                    <a:pt x="187584" y="284638"/>
                  </a:cubicBezTo>
                  <a:cubicBezTo>
                    <a:pt x="201624" y="274910"/>
                    <a:pt x="208851" y="262162"/>
                    <a:pt x="209264" y="246396"/>
                  </a:cubicBezTo>
                  <a:cubicBezTo>
                    <a:pt x="208942" y="229481"/>
                    <a:pt x="201224" y="216244"/>
                    <a:pt x="186112" y="206683"/>
                  </a:cubicBezTo>
                  <a:cubicBezTo>
                    <a:pt x="171000" y="197123"/>
                    <a:pt x="150430" y="188685"/>
                    <a:pt x="124401" y="181369"/>
                  </a:cubicBezTo>
                  <a:cubicBezTo>
                    <a:pt x="86371" y="170622"/>
                    <a:pt x="59031" y="158210"/>
                    <a:pt x="42382" y="144133"/>
                  </a:cubicBezTo>
                  <a:cubicBezTo>
                    <a:pt x="25733" y="130057"/>
                    <a:pt x="17590" y="111917"/>
                    <a:pt x="17954" y="89712"/>
                  </a:cubicBezTo>
                  <a:cubicBezTo>
                    <a:pt x="18686" y="62673"/>
                    <a:pt x="29278" y="41063"/>
                    <a:pt x="49729" y="24883"/>
                  </a:cubicBezTo>
                  <a:cubicBezTo>
                    <a:pt x="70181" y="8703"/>
                    <a:pt x="96104" y="409"/>
                    <a:pt x="127498" y="0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8965CEB0-3B0E-4C5D-82CE-B28C6B20C2B1}"/>
                </a:ext>
              </a:extLst>
            </p:cNvPr>
            <p:cNvSpPr/>
            <p:nvPr/>
          </p:nvSpPr>
          <p:spPr>
            <a:xfrm>
              <a:off x="10449527" y="2379151"/>
              <a:ext cx="305770" cy="433929"/>
            </a:xfrm>
            <a:custGeom>
              <a:avLst/>
              <a:gdLst/>
              <a:ahLst/>
              <a:cxnLst/>
              <a:rect l="l" t="t" r="r" b="b"/>
              <a:pathLst>
                <a:path w="305770" h="433929">
                  <a:moveTo>
                    <a:pt x="144833" y="0"/>
                  </a:moveTo>
                  <a:cubicBezTo>
                    <a:pt x="172238" y="138"/>
                    <a:pt x="196392" y="6193"/>
                    <a:pt x="217295" y="18166"/>
                  </a:cubicBezTo>
                  <a:cubicBezTo>
                    <a:pt x="238197" y="30138"/>
                    <a:pt x="254920" y="47197"/>
                    <a:pt x="267462" y="69342"/>
                  </a:cubicBezTo>
                  <a:lnTo>
                    <a:pt x="267462" y="7429"/>
                  </a:lnTo>
                  <a:lnTo>
                    <a:pt x="305770" y="7429"/>
                  </a:lnTo>
                  <a:lnTo>
                    <a:pt x="305770" y="293411"/>
                  </a:lnTo>
                  <a:cubicBezTo>
                    <a:pt x="304987" y="335306"/>
                    <a:pt x="290628" y="369024"/>
                    <a:pt x="262693" y="394562"/>
                  </a:cubicBezTo>
                  <a:cubicBezTo>
                    <a:pt x="234759" y="420100"/>
                    <a:pt x="197950" y="433223"/>
                    <a:pt x="152265" y="433929"/>
                  </a:cubicBezTo>
                  <a:cubicBezTo>
                    <a:pt x="126743" y="433698"/>
                    <a:pt x="102539" y="429681"/>
                    <a:pt x="79653" y="421880"/>
                  </a:cubicBezTo>
                  <a:cubicBezTo>
                    <a:pt x="56767" y="414078"/>
                    <a:pt x="37837" y="403878"/>
                    <a:pt x="22863" y="391281"/>
                  </a:cubicBezTo>
                  <a:lnTo>
                    <a:pt x="40165" y="360299"/>
                  </a:lnTo>
                  <a:cubicBezTo>
                    <a:pt x="53533" y="372201"/>
                    <a:pt x="69687" y="381547"/>
                    <a:pt x="88629" y="388337"/>
                  </a:cubicBezTo>
                  <a:cubicBezTo>
                    <a:pt x="107569" y="395128"/>
                    <a:pt x="127130" y="398587"/>
                    <a:pt x="147310" y="398716"/>
                  </a:cubicBezTo>
                  <a:cubicBezTo>
                    <a:pt x="184561" y="398393"/>
                    <a:pt x="213799" y="388971"/>
                    <a:pt x="235023" y="370449"/>
                  </a:cubicBezTo>
                  <a:cubicBezTo>
                    <a:pt x="256249" y="351928"/>
                    <a:pt x="267062" y="326249"/>
                    <a:pt x="267462" y="293411"/>
                  </a:cubicBezTo>
                  <a:lnTo>
                    <a:pt x="267462" y="234017"/>
                  </a:lnTo>
                  <a:cubicBezTo>
                    <a:pt x="254843" y="256428"/>
                    <a:pt x="237965" y="273648"/>
                    <a:pt x="216830" y="285678"/>
                  </a:cubicBezTo>
                  <a:cubicBezTo>
                    <a:pt x="195696" y="297707"/>
                    <a:pt x="171696" y="303786"/>
                    <a:pt x="144833" y="303913"/>
                  </a:cubicBezTo>
                  <a:cubicBezTo>
                    <a:pt x="102761" y="303026"/>
                    <a:pt x="68325" y="288564"/>
                    <a:pt x="41527" y="260527"/>
                  </a:cubicBezTo>
                  <a:cubicBezTo>
                    <a:pt x="14729" y="232489"/>
                    <a:pt x="886" y="196196"/>
                    <a:pt x="0" y="151646"/>
                  </a:cubicBezTo>
                  <a:cubicBezTo>
                    <a:pt x="886" y="107393"/>
                    <a:pt x="14729" y="71281"/>
                    <a:pt x="41527" y="43308"/>
                  </a:cubicBezTo>
                  <a:cubicBezTo>
                    <a:pt x="68325" y="15335"/>
                    <a:pt x="102761" y="899"/>
                    <a:pt x="144833" y="0"/>
                  </a:cubicBezTo>
                  <a:close/>
                  <a:moveTo>
                    <a:pt x="152265" y="35212"/>
                  </a:moveTo>
                  <a:cubicBezTo>
                    <a:pt x="119685" y="35921"/>
                    <a:pt x="93028" y="47045"/>
                    <a:pt x="72294" y="68583"/>
                  </a:cubicBezTo>
                  <a:cubicBezTo>
                    <a:pt x="51559" y="90122"/>
                    <a:pt x="40849" y="117823"/>
                    <a:pt x="40165" y="151685"/>
                  </a:cubicBezTo>
                  <a:cubicBezTo>
                    <a:pt x="40849" y="185815"/>
                    <a:pt x="51559" y="213675"/>
                    <a:pt x="72294" y="235267"/>
                  </a:cubicBezTo>
                  <a:cubicBezTo>
                    <a:pt x="93028" y="256859"/>
                    <a:pt x="119685" y="268003"/>
                    <a:pt x="152265" y="268700"/>
                  </a:cubicBezTo>
                  <a:cubicBezTo>
                    <a:pt x="186057" y="268120"/>
                    <a:pt x="213540" y="257207"/>
                    <a:pt x="234714" y="235959"/>
                  </a:cubicBezTo>
                  <a:cubicBezTo>
                    <a:pt x="255888" y="214711"/>
                    <a:pt x="266804" y="186607"/>
                    <a:pt x="267462" y="151646"/>
                  </a:cubicBezTo>
                  <a:cubicBezTo>
                    <a:pt x="266804" y="116989"/>
                    <a:pt x="255888" y="89068"/>
                    <a:pt x="234714" y="67882"/>
                  </a:cubicBezTo>
                  <a:cubicBezTo>
                    <a:pt x="213540" y="46696"/>
                    <a:pt x="186057" y="35806"/>
                    <a:pt x="152265" y="35212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2C78B23A-632F-4FF2-B1DB-D62779A331A5}"/>
                </a:ext>
              </a:extLst>
            </p:cNvPr>
            <p:cNvSpPr/>
            <p:nvPr/>
          </p:nvSpPr>
          <p:spPr>
            <a:xfrm>
              <a:off x="9327958" y="2386580"/>
              <a:ext cx="38308" cy="320010"/>
            </a:xfrm>
            <a:custGeom>
              <a:avLst/>
              <a:gdLst/>
              <a:ahLst/>
              <a:cxnLst/>
              <a:rect l="l" t="t" r="r" b="b"/>
              <a:pathLst>
                <a:path w="38308" h="320010">
                  <a:moveTo>
                    <a:pt x="0" y="0"/>
                  </a:moveTo>
                  <a:lnTo>
                    <a:pt x="38308" y="0"/>
                  </a:lnTo>
                  <a:lnTo>
                    <a:pt x="38308" y="320010"/>
                  </a:lnTo>
                  <a:lnTo>
                    <a:pt x="0" y="32001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624329D5-649B-4928-85CD-14362B04489C}"/>
                </a:ext>
              </a:extLst>
            </p:cNvPr>
            <p:cNvSpPr/>
            <p:nvPr/>
          </p:nvSpPr>
          <p:spPr>
            <a:xfrm>
              <a:off x="10328084" y="2386580"/>
              <a:ext cx="38309" cy="320010"/>
            </a:xfrm>
            <a:custGeom>
              <a:avLst/>
              <a:gdLst/>
              <a:ahLst/>
              <a:cxnLst/>
              <a:rect l="l" t="t" r="r" b="b"/>
              <a:pathLst>
                <a:path w="38309" h="320010">
                  <a:moveTo>
                    <a:pt x="0" y="0"/>
                  </a:moveTo>
                  <a:lnTo>
                    <a:pt x="38309" y="0"/>
                  </a:lnTo>
                  <a:lnTo>
                    <a:pt x="38309" y="320010"/>
                  </a:lnTo>
                  <a:lnTo>
                    <a:pt x="0" y="32001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164E83D4-30F6-4C59-8FFA-AD2FC2966221}"/>
              </a:ext>
            </a:extLst>
          </p:cNvPr>
          <p:cNvGrpSpPr/>
          <p:nvPr userDrawn="1"/>
        </p:nvGrpSpPr>
        <p:grpSpPr>
          <a:xfrm>
            <a:off x="672634" y="2225997"/>
            <a:ext cx="3022640" cy="546070"/>
            <a:chOff x="2656324" y="2163854"/>
            <a:chExt cx="3021853" cy="546070"/>
          </a:xfrm>
        </p:grpSpPr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F3051B0B-E539-41DA-BF1C-88B850B08AC1}"/>
                </a:ext>
              </a:extLst>
            </p:cNvPr>
            <p:cNvSpPr txBox="1">
              <a:spLocks/>
            </p:cNvSpPr>
            <p:nvPr/>
          </p:nvSpPr>
          <p:spPr>
            <a:xfrm>
              <a:off x="5302274" y="2163854"/>
              <a:ext cx="61293" cy="61294"/>
            </a:xfrm>
            <a:custGeom>
              <a:avLst/>
              <a:gdLst/>
              <a:ahLst/>
              <a:cxnLst/>
              <a:rect l="l" t="t" r="r" b="b"/>
              <a:pathLst>
                <a:path w="61293" h="61294">
                  <a:moveTo>
                    <a:pt x="30956" y="0"/>
                  </a:moveTo>
                  <a:cubicBezTo>
                    <a:pt x="39211" y="0"/>
                    <a:pt x="46331" y="2993"/>
                    <a:pt x="52316" y="8978"/>
                  </a:cubicBezTo>
                  <a:cubicBezTo>
                    <a:pt x="58301" y="14963"/>
                    <a:pt x="61293" y="22083"/>
                    <a:pt x="61293" y="30338"/>
                  </a:cubicBezTo>
                  <a:cubicBezTo>
                    <a:pt x="61293" y="38592"/>
                    <a:pt x="58301" y="45816"/>
                    <a:pt x="52316" y="52007"/>
                  </a:cubicBezTo>
                  <a:cubicBezTo>
                    <a:pt x="46331" y="58198"/>
                    <a:pt x="39211" y="61294"/>
                    <a:pt x="30956" y="61294"/>
                  </a:cubicBezTo>
                  <a:cubicBezTo>
                    <a:pt x="22288" y="61294"/>
                    <a:pt x="14962" y="58198"/>
                    <a:pt x="8977" y="52007"/>
                  </a:cubicBezTo>
                  <a:cubicBezTo>
                    <a:pt x="2992" y="45816"/>
                    <a:pt x="0" y="38592"/>
                    <a:pt x="0" y="30338"/>
                  </a:cubicBezTo>
                  <a:cubicBezTo>
                    <a:pt x="0" y="22083"/>
                    <a:pt x="2992" y="14963"/>
                    <a:pt x="8977" y="8978"/>
                  </a:cubicBezTo>
                  <a:cubicBezTo>
                    <a:pt x="14962" y="2993"/>
                    <a:pt x="22288" y="0"/>
                    <a:pt x="3095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4900" dirty="0"/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E869A88A-B6ED-41AF-A29B-C30FFF486BB6}"/>
                </a:ext>
              </a:extLst>
            </p:cNvPr>
            <p:cNvSpPr txBox="1">
              <a:spLocks/>
            </p:cNvSpPr>
            <p:nvPr/>
          </p:nvSpPr>
          <p:spPr>
            <a:xfrm>
              <a:off x="5157303" y="2170665"/>
              <a:ext cx="46434" cy="432768"/>
            </a:xfrm>
            <a:custGeom>
              <a:avLst/>
              <a:gdLst/>
              <a:ahLst/>
              <a:cxnLst/>
              <a:rect l="l" t="t" r="r" b="b"/>
              <a:pathLst>
                <a:path w="46434" h="432768">
                  <a:moveTo>
                    <a:pt x="0" y="0"/>
                  </a:moveTo>
                  <a:lnTo>
                    <a:pt x="46434" y="0"/>
                  </a:lnTo>
                  <a:lnTo>
                    <a:pt x="46434" y="432768"/>
                  </a:lnTo>
                  <a:lnTo>
                    <a:pt x="0" y="43276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4900" dirty="0"/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2801540C-5A6C-4A54-B0C6-6C0846EC4390}"/>
                </a:ext>
              </a:extLst>
            </p:cNvPr>
            <p:cNvSpPr txBox="1">
              <a:spLocks/>
            </p:cNvSpPr>
            <p:nvPr/>
          </p:nvSpPr>
          <p:spPr>
            <a:xfrm>
              <a:off x="2656324" y="2178095"/>
              <a:ext cx="412337" cy="425339"/>
            </a:xfrm>
            <a:custGeom>
              <a:avLst/>
              <a:gdLst/>
              <a:ahLst/>
              <a:cxnLst/>
              <a:rect l="l" t="t" r="r" b="b"/>
              <a:pathLst>
                <a:path w="412337" h="425339">
                  <a:moveTo>
                    <a:pt x="0" y="0"/>
                  </a:moveTo>
                  <a:lnTo>
                    <a:pt x="48291" y="0"/>
                  </a:lnTo>
                  <a:lnTo>
                    <a:pt x="206168" y="296561"/>
                  </a:lnTo>
                  <a:lnTo>
                    <a:pt x="364045" y="0"/>
                  </a:lnTo>
                  <a:lnTo>
                    <a:pt x="412337" y="0"/>
                  </a:lnTo>
                  <a:lnTo>
                    <a:pt x="412337" y="425339"/>
                  </a:lnTo>
                  <a:lnTo>
                    <a:pt x="364045" y="425339"/>
                  </a:lnTo>
                  <a:lnTo>
                    <a:pt x="364045" y="104013"/>
                  </a:lnTo>
                  <a:lnTo>
                    <a:pt x="206168" y="400574"/>
                  </a:lnTo>
                  <a:lnTo>
                    <a:pt x="48291" y="104013"/>
                  </a:lnTo>
                  <a:lnTo>
                    <a:pt x="48291" y="425339"/>
                  </a:lnTo>
                  <a:lnTo>
                    <a:pt x="0" y="4253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4900" dirty="0"/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B91D5C56-2A21-48F7-9A01-6B21056777FC}"/>
                </a:ext>
              </a:extLst>
            </p:cNvPr>
            <p:cNvSpPr txBox="1">
              <a:spLocks/>
            </p:cNvSpPr>
            <p:nvPr/>
          </p:nvSpPr>
          <p:spPr>
            <a:xfrm>
              <a:off x="3506716" y="2195431"/>
              <a:ext cx="187595" cy="415433"/>
            </a:xfrm>
            <a:custGeom>
              <a:avLst/>
              <a:gdLst/>
              <a:ahLst/>
              <a:cxnLst/>
              <a:rect l="l" t="t" r="r" b="b"/>
              <a:pathLst>
                <a:path w="187595" h="415433">
                  <a:moveTo>
                    <a:pt x="50149" y="0"/>
                  </a:moveTo>
                  <a:lnTo>
                    <a:pt x="96583" y="0"/>
                  </a:lnTo>
                  <a:lnTo>
                    <a:pt x="96583" y="87916"/>
                  </a:lnTo>
                  <a:lnTo>
                    <a:pt x="175212" y="87916"/>
                  </a:lnTo>
                  <a:lnTo>
                    <a:pt x="175212" y="129397"/>
                  </a:lnTo>
                  <a:lnTo>
                    <a:pt x="96583" y="129397"/>
                  </a:lnTo>
                  <a:lnTo>
                    <a:pt x="96583" y="333708"/>
                  </a:lnTo>
                  <a:cubicBezTo>
                    <a:pt x="96583" y="345265"/>
                    <a:pt x="99988" y="354862"/>
                    <a:pt x="106799" y="362497"/>
                  </a:cubicBezTo>
                  <a:cubicBezTo>
                    <a:pt x="113609" y="370133"/>
                    <a:pt x="121761" y="373951"/>
                    <a:pt x="131254" y="373951"/>
                  </a:cubicBezTo>
                  <a:cubicBezTo>
                    <a:pt x="138271" y="373951"/>
                    <a:pt x="144669" y="372713"/>
                    <a:pt x="150447" y="370237"/>
                  </a:cubicBezTo>
                  <a:cubicBezTo>
                    <a:pt x="156226" y="367760"/>
                    <a:pt x="160972" y="364664"/>
                    <a:pt x="164687" y="360950"/>
                  </a:cubicBezTo>
                  <a:lnTo>
                    <a:pt x="187595" y="395002"/>
                  </a:lnTo>
                  <a:cubicBezTo>
                    <a:pt x="170259" y="408622"/>
                    <a:pt x="150447" y="415433"/>
                    <a:pt x="128158" y="415433"/>
                  </a:cubicBezTo>
                  <a:cubicBezTo>
                    <a:pt x="105457" y="415433"/>
                    <a:pt x="86780" y="407797"/>
                    <a:pt x="72128" y="392525"/>
                  </a:cubicBezTo>
                  <a:cubicBezTo>
                    <a:pt x="57475" y="377253"/>
                    <a:pt x="50149" y="357648"/>
                    <a:pt x="50149" y="333708"/>
                  </a:cubicBezTo>
                  <a:lnTo>
                    <a:pt x="50149" y="129397"/>
                  </a:lnTo>
                  <a:lnTo>
                    <a:pt x="0" y="129397"/>
                  </a:lnTo>
                  <a:lnTo>
                    <a:pt x="0" y="87916"/>
                  </a:lnTo>
                  <a:lnTo>
                    <a:pt x="50149" y="87916"/>
                  </a:lnTo>
                  <a:lnTo>
                    <a:pt x="50149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4900" dirty="0"/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938751F7-5AB7-4F81-9DD2-C1AE3EE50FDD}"/>
                </a:ext>
              </a:extLst>
            </p:cNvPr>
            <p:cNvSpPr txBox="1">
              <a:spLocks/>
            </p:cNvSpPr>
            <p:nvPr/>
          </p:nvSpPr>
          <p:spPr>
            <a:xfrm>
              <a:off x="3159005" y="2275917"/>
              <a:ext cx="309563" cy="334947"/>
            </a:xfrm>
            <a:custGeom>
              <a:avLst/>
              <a:gdLst/>
              <a:ahLst/>
              <a:cxnLst/>
              <a:rect l="l" t="t" r="r" b="b"/>
              <a:pathLst>
                <a:path w="309563" h="334947">
                  <a:moveTo>
                    <a:pt x="157877" y="0"/>
                  </a:moveTo>
                  <a:cubicBezTo>
                    <a:pt x="205757" y="0"/>
                    <a:pt x="243007" y="16716"/>
                    <a:pt x="269629" y="50149"/>
                  </a:cubicBezTo>
                  <a:cubicBezTo>
                    <a:pt x="296252" y="83582"/>
                    <a:pt x="309563" y="128572"/>
                    <a:pt x="309563" y="185118"/>
                  </a:cubicBezTo>
                  <a:lnTo>
                    <a:pt x="47673" y="185118"/>
                  </a:lnTo>
                  <a:cubicBezTo>
                    <a:pt x="50975" y="216900"/>
                    <a:pt x="63048" y="242903"/>
                    <a:pt x="83892" y="263128"/>
                  </a:cubicBezTo>
                  <a:cubicBezTo>
                    <a:pt x="104736" y="283353"/>
                    <a:pt x="130636" y="293465"/>
                    <a:pt x="161592" y="293465"/>
                  </a:cubicBezTo>
                  <a:cubicBezTo>
                    <a:pt x="180579" y="293465"/>
                    <a:pt x="199669" y="289751"/>
                    <a:pt x="218861" y="282321"/>
                  </a:cubicBezTo>
                  <a:cubicBezTo>
                    <a:pt x="238054" y="274892"/>
                    <a:pt x="252604" y="265811"/>
                    <a:pt x="262509" y="255080"/>
                  </a:cubicBezTo>
                  <a:lnTo>
                    <a:pt x="290989" y="285417"/>
                  </a:lnTo>
                  <a:cubicBezTo>
                    <a:pt x="277368" y="300276"/>
                    <a:pt x="258279" y="312245"/>
                    <a:pt x="233720" y="321326"/>
                  </a:cubicBezTo>
                  <a:cubicBezTo>
                    <a:pt x="209162" y="330406"/>
                    <a:pt x="185326" y="334947"/>
                    <a:pt x="162211" y="334947"/>
                  </a:cubicBezTo>
                  <a:cubicBezTo>
                    <a:pt x="133732" y="334947"/>
                    <a:pt x="107109" y="327724"/>
                    <a:pt x="82344" y="313277"/>
                  </a:cubicBezTo>
                  <a:cubicBezTo>
                    <a:pt x="57579" y="298831"/>
                    <a:pt x="37664" y="278709"/>
                    <a:pt x="22599" y="252913"/>
                  </a:cubicBezTo>
                  <a:cubicBezTo>
                    <a:pt x="7533" y="227116"/>
                    <a:pt x="0" y="198326"/>
                    <a:pt x="0" y="166545"/>
                  </a:cubicBezTo>
                  <a:cubicBezTo>
                    <a:pt x="0" y="135588"/>
                    <a:pt x="7120" y="107315"/>
                    <a:pt x="21361" y="81725"/>
                  </a:cubicBezTo>
                  <a:cubicBezTo>
                    <a:pt x="35600" y="56134"/>
                    <a:pt x="54793" y="36116"/>
                    <a:pt x="78939" y="21669"/>
                  </a:cubicBezTo>
                  <a:cubicBezTo>
                    <a:pt x="103085" y="7223"/>
                    <a:pt x="129398" y="0"/>
                    <a:pt x="157877" y="0"/>
                  </a:cubicBezTo>
                  <a:close/>
                  <a:moveTo>
                    <a:pt x="159735" y="41481"/>
                  </a:moveTo>
                  <a:cubicBezTo>
                    <a:pt x="130842" y="41481"/>
                    <a:pt x="106077" y="50871"/>
                    <a:pt x="85440" y="69652"/>
                  </a:cubicBezTo>
                  <a:cubicBezTo>
                    <a:pt x="64802" y="88432"/>
                    <a:pt x="52420" y="113094"/>
                    <a:pt x="48292" y="143637"/>
                  </a:cubicBezTo>
                  <a:lnTo>
                    <a:pt x="263748" y="143637"/>
                  </a:lnTo>
                  <a:cubicBezTo>
                    <a:pt x="260446" y="113094"/>
                    <a:pt x="249921" y="88432"/>
                    <a:pt x="232172" y="69652"/>
                  </a:cubicBezTo>
                  <a:cubicBezTo>
                    <a:pt x="214424" y="50871"/>
                    <a:pt x="190278" y="41481"/>
                    <a:pt x="159735" y="4148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4900" dirty="0"/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2977B035-ADE6-4A4C-86F9-E9355E9D8122}"/>
                </a:ext>
              </a:extLst>
            </p:cNvPr>
            <p:cNvSpPr txBox="1">
              <a:spLocks/>
            </p:cNvSpPr>
            <p:nvPr/>
          </p:nvSpPr>
          <p:spPr>
            <a:xfrm>
              <a:off x="3757128" y="2275917"/>
              <a:ext cx="170259" cy="327517"/>
            </a:xfrm>
            <a:custGeom>
              <a:avLst/>
              <a:gdLst/>
              <a:ahLst/>
              <a:cxnLst/>
              <a:rect l="l" t="t" r="r" b="b"/>
              <a:pathLst>
                <a:path w="170259" h="327517">
                  <a:moveTo>
                    <a:pt x="170259" y="0"/>
                  </a:moveTo>
                  <a:lnTo>
                    <a:pt x="170259" y="41481"/>
                  </a:lnTo>
                  <a:cubicBezTo>
                    <a:pt x="146320" y="41481"/>
                    <a:pt x="124960" y="46022"/>
                    <a:pt x="106180" y="55102"/>
                  </a:cubicBezTo>
                  <a:cubicBezTo>
                    <a:pt x="87400" y="64183"/>
                    <a:pt x="72747" y="76875"/>
                    <a:pt x="62222" y="93178"/>
                  </a:cubicBezTo>
                  <a:cubicBezTo>
                    <a:pt x="51697" y="109482"/>
                    <a:pt x="46434" y="127953"/>
                    <a:pt x="46434" y="148590"/>
                  </a:cubicBezTo>
                  <a:lnTo>
                    <a:pt x="46434" y="327517"/>
                  </a:lnTo>
                  <a:lnTo>
                    <a:pt x="0" y="327517"/>
                  </a:lnTo>
                  <a:lnTo>
                    <a:pt x="0" y="7430"/>
                  </a:lnTo>
                  <a:lnTo>
                    <a:pt x="46434" y="7430"/>
                  </a:lnTo>
                  <a:lnTo>
                    <a:pt x="46434" y="69961"/>
                  </a:lnTo>
                  <a:cubicBezTo>
                    <a:pt x="55927" y="48498"/>
                    <a:pt x="71612" y="31472"/>
                    <a:pt x="93488" y="18883"/>
                  </a:cubicBezTo>
                  <a:cubicBezTo>
                    <a:pt x="115364" y="6294"/>
                    <a:pt x="140954" y="0"/>
                    <a:pt x="17025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4900" dirty="0"/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B5491C69-6B3D-4C4E-A712-AAE6470473FA}"/>
                </a:ext>
              </a:extLst>
            </p:cNvPr>
            <p:cNvSpPr txBox="1">
              <a:spLocks/>
            </p:cNvSpPr>
            <p:nvPr/>
          </p:nvSpPr>
          <p:spPr>
            <a:xfrm>
              <a:off x="3976917" y="2275917"/>
              <a:ext cx="329994" cy="334947"/>
            </a:xfrm>
            <a:custGeom>
              <a:avLst/>
              <a:gdLst/>
              <a:ahLst/>
              <a:cxnLst/>
              <a:rect l="l" t="t" r="r" b="b"/>
              <a:pathLst>
                <a:path w="329994" h="334947">
                  <a:moveTo>
                    <a:pt x="165307" y="0"/>
                  </a:moveTo>
                  <a:cubicBezTo>
                    <a:pt x="195025" y="0"/>
                    <a:pt x="222473" y="7533"/>
                    <a:pt x="247650" y="22598"/>
                  </a:cubicBezTo>
                  <a:cubicBezTo>
                    <a:pt x="272828" y="37663"/>
                    <a:pt x="292847" y="57991"/>
                    <a:pt x="307706" y="83582"/>
                  </a:cubicBezTo>
                  <a:cubicBezTo>
                    <a:pt x="322565" y="109172"/>
                    <a:pt x="329994" y="137033"/>
                    <a:pt x="329994" y="167164"/>
                  </a:cubicBezTo>
                  <a:cubicBezTo>
                    <a:pt x="329994" y="197295"/>
                    <a:pt x="322565" y="225258"/>
                    <a:pt x="307706" y="251055"/>
                  </a:cubicBezTo>
                  <a:cubicBezTo>
                    <a:pt x="292847" y="276852"/>
                    <a:pt x="272828" y="297283"/>
                    <a:pt x="247650" y="312349"/>
                  </a:cubicBezTo>
                  <a:cubicBezTo>
                    <a:pt x="222473" y="327414"/>
                    <a:pt x="195025" y="334947"/>
                    <a:pt x="165307" y="334947"/>
                  </a:cubicBezTo>
                  <a:cubicBezTo>
                    <a:pt x="135589" y="334947"/>
                    <a:pt x="108038" y="327414"/>
                    <a:pt x="82654" y="312349"/>
                  </a:cubicBezTo>
                  <a:cubicBezTo>
                    <a:pt x="57270" y="297283"/>
                    <a:pt x="37148" y="276852"/>
                    <a:pt x="22289" y="251055"/>
                  </a:cubicBezTo>
                  <a:cubicBezTo>
                    <a:pt x="7430" y="225258"/>
                    <a:pt x="0" y="197295"/>
                    <a:pt x="0" y="167164"/>
                  </a:cubicBezTo>
                  <a:cubicBezTo>
                    <a:pt x="0" y="137033"/>
                    <a:pt x="7430" y="109172"/>
                    <a:pt x="22289" y="83582"/>
                  </a:cubicBezTo>
                  <a:cubicBezTo>
                    <a:pt x="37148" y="57991"/>
                    <a:pt x="57270" y="37663"/>
                    <a:pt x="82654" y="22598"/>
                  </a:cubicBezTo>
                  <a:cubicBezTo>
                    <a:pt x="108038" y="7533"/>
                    <a:pt x="135589" y="0"/>
                    <a:pt x="165307" y="0"/>
                  </a:cubicBezTo>
                  <a:close/>
                  <a:moveTo>
                    <a:pt x="165307" y="41481"/>
                  </a:moveTo>
                  <a:cubicBezTo>
                    <a:pt x="144257" y="41481"/>
                    <a:pt x="124754" y="47157"/>
                    <a:pt x="106799" y="58507"/>
                  </a:cubicBezTo>
                  <a:cubicBezTo>
                    <a:pt x="88845" y="69858"/>
                    <a:pt x="74605" y="85130"/>
                    <a:pt x="64080" y="104323"/>
                  </a:cubicBezTo>
                  <a:cubicBezTo>
                    <a:pt x="53555" y="123515"/>
                    <a:pt x="48292" y="144463"/>
                    <a:pt x="48292" y="167164"/>
                  </a:cubicBezTo>
                  <a:cubicBezTo>
                    <a:pt x="48292" y="189865"/>
                    <a:pt x="53555" y="210915"/>
                    <a:pt x="64080" y="230314"/>
                  </a:cubicBezTo>
                  <a:cubicBezTo>
                    <a:pt x="74605" y="249714"/>
                    <a:pt x="88845" y="265089"/>
                    <a:pt x="106799" y="276439"/>
                  </a:cubicBezTo>
                  <a:cubicBezTo>
                    <a:pt x="124754" y="287790"/>
                    <a:pt x="144257" y="293465"/>
                    <a:pt x="165307" y="293465"/>
                  </a:cubicBezTo>
                  <a:cubicBezTo>
                    <a:pt x="186357" y="293465"/>
                    <a:pt x="205756" y="287790"/>
                    <a:pt x="223505" y="276439"/>
                  </a:cubicBezTo>
                  <a:cubicBezTo>
                    <a:pt x="241253" y="265089"/>
                    <a:pt x="255390" y="249714"/>
                    <a:pt x="265915" y="230314"/>
                  </a:cubicBezTo>
                  <a:cubicBezTo>
                    <a:pt x="276440" y="210915"/>
                    <a:pt x="281702" y="189865"/>
                    <a:pt x="281702" y="167164"/>
                  </a:cubicBezTo>
                  <a:cubicBezTo>
                    <a:pt x="281702" y="144463"/>
                    <a:pt x="276440" y="123515"/>
                    <a:pt x="265915" y="104323"/>
                  </a:cubicBezTo>
                  <a:cubicBezTo>
                    <a:pt x="255390" y="85130"/>
                    <a:pt x="241253" y="69858"/>
                    <a:pt x="223505" y="58507"/>
                  </a:cubicBezTo>
                  <a:cubicBezTo>
                    <a:pt x="205756" y="47157"/>
                    <a:pt x="186357" y="41481"/>
                    <a:pt x="165307" y="4148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4900" dirty="0"/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ED07AB51-93C8-42B3-BDB7-A2C7B1E8F5E3}"/>
                </a:ext>
              </a:extLst>
            </p:cNvPr>
            <p:cNvSpPr txBox="1">
              <a:spLocks/>
            </p:cNvSpPr>
            <p:nvPr/>
          </p:nvSpPr>
          <p:spPr>
            <a:xfrm>
              <a:off x="4385778" y="2275917"/>
              <a:ext cx="310182" cy="434007"/>
            </a:xfrm>
            <a:custGeom>
              <a:avLst/>
              <a:gdLst/>
              <a:ahLst/>
              <a:cxnLst/>
              <a:rect l="l" t="t" r="r" b="b"/>
              <a:pathLst>
                <a:path w="310182" h="434007">
                  <a:moveTo>
                    <a:pt x="162830" y="0"/>
                  </a:moveTo>
                  <a:cubicBezTo>
                    <a:pt x="190484" y="0"/>
                    <a:pt x="215559" y="7120"/>
                    <a:pt x="238053" y="21360"/>
                  </a:cubicBezTo>
                  <a:cubicBezTo>
                    <a:pt x="260548" y="35600"/>
                    <a:pt x="278193" y="55412"/>
                    <a:pt x="290989" y="80796"/>
                  </a:cubicBezTo>
                  <a:cubicBezTo>
                    <a:pt x="303784" y="106180"/>
                    <a:pt x="310182" y="134969"/>
                    <a:pt x="310182" y="167164"/>
                  </a:cubicBezTo>
                  <a:cubicBezTo>
                    <a:pt x="310182" y="199358"/>
                    <a:pt x="303784" y="228251"/>
                    <a:pt x="290989" y="253841"/>
                  </a:cubicBezTo>
                  <a:cubicBezTo>
                    <a:pt x="278193" y="279432"/>
                    <a:pt x="260548" y="299347"/>
                    <a:pt x="238053" y="313587"/>
                  </a:cubicBezTo>
                  <a:cubicBezTo>
                    <a:pt x="215559" y="327827"/>
                    <a:pt x="190484" y="334947"/>
                    <a:pt x="162830" y="334947"/>
                  </a:cubicBezTo>
                  <a:cubicBezTo>
                    <a:pt x="137652" y="334947"/>
                    <a:pt x="115054" y="329065"/>
                    <a:pt x="95035" y="317302"/>
                  </a:cubicBezTo>
                  <a:cubicBezTo>
                    <a:pt x="75018" y="305538"/>
                    <a:pt x="58817" y="288925"/>
                    <a:pt x="46434" y="267462"/>
                  </a:cubicBezTo>
                  <a:lnTo>
                    <a:pt x="46434" y="434007"/>
                  </a:lnTo>
                  <a:lnTo>
                    <a:pt x="0" y="434007"/>
                  </a:lnTo>
                  <a:lnTo>
                    <a:pt x="0" y="7430"/>
                  </a:lnTo>
                  <a:lnTo>
                    <a:pt x="46434" y="7430"/>
                  </a:lnTo>
                  <a:lnTo>
                    <a:pt x="46434" y="67485"/>
                  </a:lnTo>
                  <a:cubicBezTo>
                    <a:pt x="58817" y="46022"/>
                    <a:pt x="75018" y="29408"/>
                    <a:pt x="95035" y="17645"/>
                  </a:cubicBezTo>
                  <a:cubicBezTo>
                    <a:pt x="115054" y="5882"/>
                    <a:pt x="137652" y="0"/>
                    <a:pt x="162830" y="0"/>
                  </a:cubicBezTo>
                  <a:close/>
                  <a:moveTo>
                    <a:pt x="154162" y="41481"/>
                  </a:moveTo>
                  <a:cubicBezTo>
                    <a:pt x="133525" y="41481"/>
                    <a:pt x="114951" y="46847"/>
                    <a:pt x="98441" y="57579"/>
                  </a:cubicBezTo>
                  <a:cubicBezTo>
                    <a:pt x="81931" y="68310"/>
                    <a:pt x="69136" y="83169"/>
                    <a:pt x="60055" y="102156"/>
                  </a:cubicBezTo>
                  <a:cubicBezTo>
                    <a:pt x="50974" y="121142"/>
                    <a:pt x="46434" y="142812"/>
                    <a:pt x="46434" y="167164"/>
                  </a:cubicBezTo>
                  <a:cubicBezTo>
                    <a:pt x="46434" y="191516"/>
                    <a:pt x="50974" y="213289"/>
                    <a:pt x="60055" y="232481"/>
                  </a:cubicBezTo>
                  <a:cubicBezTo>
                    <a:pt x="69136" y="251674"/>
                    <a:pt x="81931" y="266637"/>
                    <a:pt x="98441" y="277368"/>
                  </a:cubicBezTo>
                  <a:cubicBezTo>
                    <a:pt x="114951" y="288100"/>
                    <a:pt x="133525" y="293465"/>
                    <a:pt x="154162" y="293465"/>
                  </a:cubicBezTo>
                  <a:cubicBezTo>
                    <a:pt x="174799" y="293465"/>
                    <a:pt x="193270" y="288100"/>
                    <a:pt x="209574" y="277368"/>
                  </a:cubicBezTo>
                  <a:cubicBezTo>
                    <a:pt x="225877" y="266637"/>
                    <a:pt x="238569" y="251674"/>
                    <a:pt x="247650" y="232481"/>
                  </a:cubicBezTo>
                  <a:cubicBezTo>
                    <a:pt x="256731" y="213289"/>
                    <a:pt x="261271" y="191516"/>
                    <a:pt x="261271" y="167164"/>
                  </a:cubicBezTo>
                  <a:cubicBezTo>
                    <a:pt x="261271" y="142812"/>
                    <a:pt x="256731" y="121142"/>
                    <a:pt x="247650" y="102156"/>
                  </a:cubicBezTo>
                  <a:cubicBezTo>
                    <a:pt x="238569" y="83169"/>
                    <a:pt x="225877" y="68310"/>
                    <a:pt x="209574" y="57579"/>
                  </a:cubicBezTo>
                  <a:cubicBezTo>
                    <a:pt x="193270" y="46847"/>
                    <a:pt x="174799" y="41481"/>
                    <a:pt x="154162" y="4148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4900" dirty="0"/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047A2D20-1802-410D-9F0E-D83DA9A2E647}"/>
                </a:ext>
              </a:extLst>
            </p:cNvPr>
            <p:cNvSpPr txBox="1">
              <a:spLocks/>
            </p:cNvSpPr>
            <p:nvPr/>
          </p:nvSpPr>
          <p:spPr>
            <a:xfrm>
              <a:off x="4748442" y="2275917"/>
              <a:ext cx="329994" cy="334947"/>
            </a:xfrm>
            <a:custGeom>
              <a:avLst/>
              <a:gdLst/>
              <a:ahLst/>
              <a:cxnLst/>
              <a:rect l="l" t="t" r="r" b="b"/>
              <a:pathLst>
                <a:path w="329994" h="334947">
                  <a:moveTo>
                    <a:pt x="165307" y="0"/>
                  </a:moveTo>
                  <a:cubicBezTo>
                    <a:pt x="195025" y="0"/>
                    <a:pt x="222472" y="7533"/>
                    <a:pt x="247651" y="22598"/>
                  </a:cubicBezTo>
                  <a:cubicBezTo>
                    <a:pt x="272828" y="37663"/>
                    <a:pt x="292847" y="57991"/>
                    <a:pt x="307706" y="83582"/>
                  </a:cubicBezTo>
                  <a:cubicBezTo>
                    <a:pt x="322565" y="109172"/>
                    <a:pt x="329994" y="137033"/>
                    <a:pt x="329994" y="167164"/>
                  </a:cubicBezTo>
                  <a:cubicBezTo>
                    <a:pt x="329994" y="197295"/>
                    <a:pt x="322565" y="225258"/>
                    <a:pt x="307706" y="251055"/>
                  </a:cubicBezTo>
                  <a:cubicBezTo>
                    <a:pt x="292847" y="276852"/>
                    <a:pt x="272828" y="297283"/>
                    <a:pt x="247651" y="312349"/>
                  </a:cubicBezTo>
                  <a:cubicBezTo>
                    <a:pt x="222472" y="327414"/>
                    <a:pt x="195025" y="334947"/>
                    <a:pt x="165307" y="334947"/>
                  </a:cubicBezTo>
                  <a:cubicBezTo>
                    <a:pt x="135589" y="334947"/>
                    <a:pt x="108038" y="327414"/>
                    <a:pt x="82654" y="312349"/>
                  </a:cubicBezTo>
                  <a:cubicBezTo>
                    <a:pt x="57269" y="297283"/>
                    <a:pt x="37148" y="276852"/>
                    <a:pt x="22289" y="251055"/>
                  </a:cubicBezTo>
                  <a:cubicBezTo>
                    <a:pt x="7430" y="225258"/>
                    <a:pt x="0" y="197295"/>
                    <a:pt x="0" y="167164"/>
                  </a:cubicBezTo>
                  <a:cubicBezTo>
                    <a:pt x="0" y="137033"/>
                    <a:pt x="7430" y="109172"/>
                    <a:pt x="22289" y="83582"/>
                  </a:cubicBezTo>
                  <a:cubicBezTo>
                    <a:pt x="37148" y="57991"/>
                    <a:pt x="57269" y="37663"/>
                    <a:pt x="82654" y="22598"/>
                  </a:cubicBezTo>
                  <a:cubicBezTo>
                    <a:pt x="108038" y="7533"/>
                    <a:pt x="135589" y="0"/>
                    <a:pt x="165307" y="0"/>
                  </a:cubicBezTo>
                  <a:close/>
                  <a:moveTo>
                    <a:pt x="165307" y="41481"/>
                  </a:moveTo>
                  <a:cubicBezTo>
                    <a:pt x="144257" y="41481"/>
                    <a:pt x="124754" y="47157"/>
                    <a:pt x="106800" y="58507"/>
                  </a:cubicBezTo>
                  <a:cubicBezTo>
                    <a:pt x="88845" y="69858"/>
                    <a:pt x="74605" y="85130"/>
                    <a:pt x="64080" y="104323"/>
                  </a:cubicBezTo>
                  <a:cubicBezTo>
                    <a:pt x="53555" y="123515"/>
                    <a:pt x="48292" y="144463"/>
                    <a:pt x="48292" y="167164"/>
                  </a:cubicBezTo>
                  <a:cubicBezTo>
                    <a:pt x="48292" y="189865"/>
                    <a:pt x="53555" y="210915"/>
                    <a:pt x="64080" y="230314"/>
                  </a:cubicBezTo>
                  <a:cubicBezTo>
                    <a:pt x="74605" y="249714"/>
                    <a:pt x="88845" y="265089"/>
                    <a:pt x="106800" y="276439"/>
                  </a:cubicBezTo>
                  <a:cubicBezTo>
                    <a:pt x="124754" y="287790"/>
                    <a:pt x="144257" y="293465"/>
                    <a:pt x="165307" y="293465"/>
                  </a:cubicBezTo>
                  <a:cubicBezTo>
                    <a:pt x="186357" y="293465"/>
                    <a:pt x="205756" y="287790"/>
                    <a:pt x="223505" y="276439"/>
                  </a:cubicBezTo>
                  <a:cubicBezTo>
                    <a:pt x="241253" y="265089"/>
                    <a:pt x="255390" y="249714"/>
                    <a:pt x="265915" y="230314"/>
                  </a:cubicBezTo>
                  <a:cubicBezTo>
                    <a:pt x="276440" y="210915"/>
                    <a:pt x="281702" y="189865"/>
                    <a:pt x="281702" y="167164"/>
                  </a:cubicBezTo>
                  <a:cubicBezTo>
                    <a:pt x="281702" y="144463"/>
                    <a:pt x="276440" y="123515"/>
                    <a:pt x="265915" y="104323"/>
                  </a:cubicBezTo>
                  <a:cubicBezTo>
                    <a:pt x="255390" y="85130"/>
                    <a:pt x="241253" y="69858"/>
                    <a:pt x="223505" y="58507"/>
                  </a:cubicBezTo>
                  <a:cubicBezTo>
                    <a:pt x="205756" y="47157"/>
                    <a:pt x="186357" y="41481"/>
                    <a:pt x="165307" y="4148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4900" dirty="0"/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C0F960C2-D281-4BC9-BACA-B4004C0AB29F}"/>
                </a:ext>
              </a:extLst>
            </p:cNvPr>
            <p:cNvSpPr txBox="1">
              <a:spLocks/>
            </p:cNvSpPr>
            <p:nvPr/>
          </p:nvSpPr>
          <p:spPr>
            <a:xfrm>
              <a:off x="5428671" y="2275917"/>
              <a:ext cx="249506" cy="334947"/>
            </a:xfrm>
            <a:custGeom>
              <a:avLst/>
              <a:gdLst/>
              <a:ahLst/>
              <a:cxnLst/>
              <a:rect l="l" t="t" r="r" b="b"/>
              <a:pathLst>
                <a:path w="249506" h="334947">
                  <a:moveTo>
                    <a:pt x="127539" y="0"/>
                  </a:moveTo>
                  <a:cubicBezTo>
                    <a:pt x="146938" y="0"/>
                    <a:pt x="166544" y="3199"/>
                    <a:pt x="186356" y="9596"/>
                  </a:cubicBezTo>
                  <a:cubicBezTo>
                    <a:pt x="206168" y="15994"/>
                    <a:pt x="224742" y="24765"/>
                    <a:pt x="242077" y="35909"/>
                  </a:cubicBezTo>
                  <a:lnTo>
                    <a:pt x="219789" y="71819"/>
                  </a:lnTo>
                  <a:cubicBezTo>
                    <a:pt x="188007" y="51594"/>
                    <a:pt x="157257" y="41481"/>
                    <a:pt x="127539" y="41481"/>
                  </a:cubicBezTo>
                  <a:cubicBezTo>
                    <a:pt x="108553" y="41481"/>
                    <a:pt x="92868" y="45609"/>
                    <a:pt x="80486" y="53864"/>
                  </a:cubicBezTo>
                  <a:cubicBezTo>
                    <a:pt x="68103" y="62119"/>
                    <a:pt x="61912" y="73676"/>
                    <a:pt x="61912" y="88535"/>
                  </a:cubicBezTo>
                  <a:cubicBezTo>
                    <a:pt x="61912" y="97615"/>
                    <a:pt x="64594" y="105045"/>
                    <a:pt x="69960" y="110823"/>
                  </a:cubicBezTo>
                  <a:cubicBezTo>
                    <a:pt x="75326" y="116602"/>
                    <a:pt x="83375" y="121761"/>
                    <a:pt x="94107" y="126302"/>
                  </a:cubicBezTo>
                  <a:cubicBezTo>
                    <a:pt x="104838" y="130842"/>
                    <a:pt x="121761" y="136827"/>
                    <a:pt x="144875" y="144256"/>
                  </a:cubicBezTo>
                  <a:cubicBezTo>
                    <a:pt x="167576" y="151273"/>
                    <a:pt x="185943" y="158083"/>
                    <a:pt x="199977" y="164687"/>
                  </a:cubicBezTo>
                  <a:cubicBezTo>
                    <a:pt x="214010" y="171291"/>
                    <a:pt x="225774" y="180475"/>
                    <a:pt x="235267" y="192238"/>
                  </a:cubicBezTo>
                  <a:cubicBezTo>
                    <a:pt x="244760" y="204002"/>
                    <a:pt x="249506" y="219377"/>
                    <a:pt x="249506" y="238363"/>
                  </a:cubicBezTo>
                  <a:cubicBezTo>
                    <a:pt x="249506" y="267256"/>
                    <a:pt x="238466" y="290576"/>
                    <a:pt x="216383" y="308324"/>
                  </a:cubicBezTo>
                  <a:cubicBezTo>
                    <a:pt x="194301" y="326073"/>
                    <a:pt x="166338" y="334947"/>
                    <a:pt x="132492" y="334947"/>
                  </a:cubicBezTo>
                  <a:cubicBezTo>
                    <a:pt x="109791" y="334947"/>
                    <a:pt x="86780" y="330819"/>
                    <a:pt x="63460" y="322564"/>
                  </a:cubicBezTo>
                  <a:cubicBezTo>
                    <a:pt x="40139" y="314309"/>
                    <a:pt x="18986" y="302546"/>
                    <a:pt x="0" y="287274"/>
                  </a:cubicBezTo>
                  <a:lnTo>
                    <a:pt x="24145" y="253222"/>
                  </a:lnTo>
                  <a:cubicBezTo>
                    <a:pt x="60880" y="280051"/>
                    <a:pt x="96995" y="293465"/>
                    <a:pt x="132492" y="293465"/>
                  </a:cubicBezTo>
                  <a:cubicBezTo>
                    <a:pt x="153543" y="293465"/>
                    <a:pt x="170568" y="288925"/>
                    <a:pt x="183570" y="279845"/>
                  </a:cubicBezTo>
                  <a:cubicBezTo>
                    <a:pt x="196572" y="270764"/>
                    <a:pt x="203073" y="258588"/>
                    <a:pt x="203073" y="243316"/>
                  </a:cubicBezTo>
                  <a:cubicBezTo>
                    <a:pt x="203073" y="232585"/>
                    <a:pt x="199564" y="223607"/>
                    <a:pt x="192547" y="216384"/>
                  </a:cubicBezTo>
                  <a:cubicBezTo>
                    <a:pt x="185531" y="209161"/>
                    <a:pt x="176760" y="203486"/>
                    <a:pt x="166235" y="199358"/>
                  </a:cubicBezTo>
                  <a:cubicBezTo>
                    <a:pt x="155709" y="195231"/>
                    <a:pt x="141160" y="190484"/>
                    <a:pt x="122586" y="185118"/>
                  </a:cubicBezTo>
                  <a:cubicBezTo>
                    <a:pt x="83375" y="173974"/>
                    <a:pt x="55721" y="161695"/>
                    <a:pt x="39624" y="148280"/>
                  </a:cubicBezTo>
                  <a:cubicBezTo>
                    <a:pt x="23526" y="134866"/>
                    <a:pt x="15478" y="116808"/>
                    <a:pt x="15478" y="94107"/>
                  </a:cubicBezTo>
                  <a:cubicBezTo>
                    <a:pt x="15478" y="65627"/>
                    <a:pt x="26003" y="42823"/>
                    <a:pt x="47053" y="25694"/>
                  </a:cubicBezTo>
                  <a:cubicBezTo>
                    <a:pt x="68103" y="8565"/>
                    <a:pt x="94932" y="0"/>
                    <a:pt x="12753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4900" dirty="0"/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EAD02CAE-EA62-46F9-AF21-428066FCE7DE}"/>
                </a:ext>
              </a:extLst>
            </p:cNvPr>
            <p:cNvSpPr txBox="1">
              <a:spLocks/>
            </p:cNvSpPr>
            <p:nvPr/>
          </p:nvSpPr>
          <p:spPr>
            <a:xfrm>
              <a:off x="5309703" y="2283347"/>
              <a:ext cx="46435" cy="320087"/>
            </a:xfrm>
            <a:custGeom>
              <a:avLst/>
              <a:gdLst/>
              <a:ahLst/>
              <a:cxnLst/>
              <a:rect l="l" t="t" r="r" b="b"/>
              <a:pathLst>
                <a:path w="46435" h="320087">
                  <a:moveTo>
                    <a:pt x="0" y="0"/>
                  </a:moveTo>
                  <a:lnTo>
                    <a:pt x="46435" y="0"/>
                  </a:lnTo>
                  <a:lnTo>
                    <a:pt x="46435" y="320087"/>
                  </a:lnTo>
                  <a:lnTo>
                    <a:pt x="0" y="32008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1">
                    <a:lumMod val="60000"/>
                    <a:lumOff val="40000"/>
                  </a:schemeClr>
                </a:buClr>
                <a:buSzPct val="90000"/>
                <a:buFont typeface="Arial" panose="020B0604020202020204" pitchFamily="34" charset="0"/>
                <a:buChar char="​"/>
                <a:defRPr sz="49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-18415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3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44538" indent="-16986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969963" indent="-1666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Char char="•"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143000" indent="-138113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Camphor Std" panose="020B0504030404020204" pitchFamily="34" charset="0"/>
                <a:buChar char="–"/>
                <a:tabLst/>
                <a:defRPr sz="2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28600" indent="-22860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rabi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512763" indent="-2286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tx2"/>
                </a:buClr>
                <a:buSzPct val="90000"/>
                <a:buFont typeface="+mj-lt"/>
                <a:buAutoNum type="alphaLcPeriod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741363" indent="-166688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SzPct val="90000"/>
                <a:buFont typeface="+mj-lt"/>
                <a:buAutoNum type="romanL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284163" indent="-284163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buClr>
                  <a:schemeClr val="tx2"/>
                </a:buClr>
                <a:buSzPct val="90000"/>
                <a:buFont typeface="+mj-lt"/>
                <a:buAutoNum type="alphaUcPeriod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4900" dirty="0"/>
            </a:p>
          </p:txBody>
        </p:sp>
      </p:grpSp>
    </p:spTree>
    <p:extLst>
      <p:ext uri="{BB962C8B-B14F-4D97-AF65-F5344CB8AC3E}">
        <p14:creationId xmlns:p14="http://schemas.microsoft.com/office/powerpoint/2010/main" val="1023372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" y="0"/>
            <a:ext cx="12192000" cy="685824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7" y="426720"/>
            <a:ext cx="9144001" cy="109728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7" y="1600200"/>
            <a:ext cx="9144001" cy="685800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8" name="Group 17"/>
          <p:cNvGrpSpPr/>
          <p:nvPr/>
        </p:nvGrpSpPr>
        <p:grpSpPr>
          <a:xfrm>
            <a:off x="10208807" y="6074851"/>
            <a:ext cx="1373445" cy="216433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19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0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1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3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4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5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9830079" y="6505956"/>
            <a:ext cx="1752163" cy="1996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4400">
              <a:lnSpc>
                <a:spcPct val="90000"/>
              </a:lnSpc>
            </a:pPr>
            <a:r>
              <a:rPr lang="en-US" sz="700" dirty="0">
                <a:solidFill>
                  <a:prstClr val="white"/>
                </a:solidFill>
                <a:latin typeface="Arial"/>
              </a:rPr>
              <a:t>© 2014 VMware Inc. All rights reserved.</a:t>
            </a:r>
          </a:p>
        </p:txBody>
      </p:sp>
    </p:spTree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" name="Group 59">
            <a:extLst>
              <a:ext uri="{FF2B5EF4-FFF2-40B4-BE49-F238E27FC236}">
                <a16:creationId xmlns:a16="http://schemas.microsoft.com/office/drawing/2014/main" id="{8442F8FF-5DB1-44B3-AF2C-1A531EA36FEA}"/>
              </a:ext>
            </a:extLst>
          </p:cNvPr>
          <p:cNvGrpSpPr/>
          <p:nvPr userDrawn="1"/>
        </p:nvGrpSpPr>
        <p:grpSpPr bwMode="gray">
          <a:xfrm>
            <a:off x="0" y="0"/>
            <a:ext cx="12192001" cy="6858004"/>
            <a:chOff x="0" y="-4"/>
            <a:chExt cx="12188826" cy="6858004"/>
          </a:xfrm>
        </p:grpSpPr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E2F285D2-B641-461F-87F0-20A9C65B2EF7}"/>
                </a:ext>
              </a:extLst>
            </p:cNvPr>
            <p:cNvGrpSpPr/>
            <p:nvPr/>
          </p:nvGrpSpPr>
          <p:grpSpPr bwMode="gray">
            <a:xfrm>
              <a:off x="609441" y="1600198"/>
              <a:ext cx="10055941" cy="4580469"/>
              <a:chOff x="609441" y="1600198"/>
              <a:chExt cx="10055941" cy="4580469"/>
            </a:xfrm>
          </p:grpSpPr>
          <p:sp>
            <p:nvSpPr>
              <p:cNvPr id="110" name="Rectangle 109">
                <a:extLst>
                  <a:ext uri="{FF2B5EF4-FFF2-40B4-BE49-F238E27FC236}">
                    <a16:creationId xmlns:a16="http://schemas.microsoft.com/office/drawing/2014/main" id="{115EE1AC-AAA1-4CAF-886B-474B1A0C95C4}"/>
                  </a:ext>
                </a:extLst>
              </p:cNvPr>
              <p:cNvSpPr/>
              <p:nvPr/>
            </p:nvSpPr>
            <p:spPr bwMode="gray">
              <a:xfrm>
                <a:off x="609441" y="1600199"/>
                <a:ext cx="914203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800" dirty="0"/>
              </a:p>
            </p:txBody>
          </p:sp>
          <p:sp>
            <p:nvSpPr>
              <p:cNvPr id="111" name="Rectangle 110">
                <a:extLst>
                  <a:ext uri="{FF2B5EF4-FFF2-40B4-BE49-F238E27FC236}">
                    <a16:creationId xmlns:a16="http://schemas.microsoft.com/office/drawing/2014/main" id="{7037B7F2-249C-4DB7-A4FF-AD7E08892A0F}"/>
                  </a:ext>
                </a:extLst>
              </p:cNvPr>
              <p:cNvSpPr/>
              <p:nvPr/>
            </p:nvSpPr>
            <p:spPr bwMode="gray">
              <a:xfrm>
                <a:off x="2436448" y="1600198"/>
                <a:ext cx="915282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800" dirty="0"/>
              </a:p>
            </p:txBody>
          </p:sp>
          <p:sp>
            <p:nvSpPr>
              <p:cNvPr id="112" name="Rectangle 111">
                <a:extLst>
                  <a:ext uri="{FF2B5EF4-FFF2-40B4-BE49-F238E27FC236}">
                    <a16:creationId xmlns:a16="http://schemas.microsoft.com/office/drawing/2014/main" id="{6B02FE08-2379-4E6C-AE27-D7D2ECAB18B8}"/>
                  </a:ext>
                </a:extLst>
              </p:cNvPr>
              <p:cNvSpPr/>
              <p:nvPr/>
            </p:nvSpPr>
            <p:spPr bwMode="gray">
              <a:xfrm>
                <a:off x="4263453" y="1600198"/>
                <a:ext cx="920909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800" dirty="0"/>
              </a:p>
            </p:txBody>
          </p:sp>
          <p:sp>
            <p:nvSpPr>
              <p:cNvPr id="113" name="Rectangle 112">
                <a:extLst>
                  <a:ext uri="{FF2B5EF4-FFF2-40B4-BE49-F238E27FC236}">
                    <a16:creationId xmlns:a16="http://schemas.microsoft.com/office/drawing/2014/main" id="{D7C17E9A-3B70-4668-8EAE-9C7D73BACCA1}"/>
                  </a:ext>
                </a:extLst>
              </p:cNvPr>
              <p:cNvSpPr/>
              <p:nvPr/>
            </p:nvSpPr>
            <p:spPr bwMode="gray">
              <a:xfrm>
                <a:off x="6090459" y="1600198"/>
                <a:ext cx="920909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800" dirty="0"/>
              </a:p>
            </p:txBody>
          </p:sp>
          <p:sp>
            <p:nvSpPr>
              <p:cNvPr id="114" name="Rectangle 113">
                <a:extLst>
                  <a:ext uri="{FF2B5EF4-FFF2-40B4-BE49-F238E27FC236}">
                    <a16:creationId xmlns:a16="http://schemas.microsoft.com/office/drawing/2014/main" id="{E02751E5-34AD-4357-BC67-2269F668FD57}"/>
                  </a:ext>
                </a:extLst>
              </p:cNvPr>
              <p:cNvSpPr/>
              <p:nvPr/>
            </p:nvSpPr>
            <p:spPr bwMode="gray">
              <a:xfrm>
                <a:off x="7921943" y="1600198"/>
                <a:ext cx="916431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800" dirty="0"/>
              </a:p>
            </p:txBody>
          </p:sp>
          <p:sp>
            <p:nvSpPr>
              <p:cNvPr id="115" name="Rectangle 114">
                <a:extLst>
                  <a:ext uri="{FF2B5EF4-FFF2-40B4-BE49-F238E27FC236}">
                    <a16:creationId xmlns:a16="http://schemas.microsoft.com/office/drawing/2014/main" id="{452A85DA-B39F-40AB-B423-9F7CCB3D0D63}"/>
                  </a:ext>
                </a:extLst>
              </p:cNvPr>
              <p:cNvSpPr/>
              <p:nvPr/>
            </p:nvSpPr>
            <p:spPr bwMode="gray">
              <a:xfrm>
                <a:off x="9750028" y="1600198"/>
                <a:ext cx="915354" cy="458046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800" dirty="0"/>
              </a:p>
            </p:txBody>
          </p: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C5C1459D-4F6E-4671-8566-3143311EA541}"/>
                </a:ext>
              </a:extLst>
            </p:cNvPr>
            <p:cNvGrpSpPr/>
            <p:nvPr userDrawn="1"/>
          </p:nvGrpSpPr>
          <p:grpSpPr bwMode="gray">
            <a:xfrm>
              <a:off x="0" y="-4"/>
              <a:ext cx="12188826" cy="6858004"/>
              <a:chOff x="0" y="-4"/>
              <a:chExt cx="12188826" cy="6858004"/>
            </a:xfrm>
          </p:grpSpPr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015AFD00-19E3-4F92-9570-1F3E8AEC3EC4}"/>
                  </a:ext>
                </a:extLst>
              </p:cNvPr>
              <p:cNvGrpSpPr/>
              <p:nvPr>
                <p:custDataLst>
                  <p:tags r:id="rId1"/>
                </p:custDataLst>
              </p:nvPr>
            </p:nvGrpSpPr>
            <p:grpSpPr bwMode="gray">
              <a:xfrm>
                <a:off x="0" y="-4"/>
                <a:ext cx="12188826" cy="6858004"/>
                <a:chOff x="0" y="1"/>
                <a:chExt cx="12188826" cy="6858004"/>
              </a:xfrm>
            </p:grpSpPr>
            <p:grpSp>
              <p:nvGrpSpPr>
                <p:cNvPr id="65" name="Group 64">
                  <a:extLst>
                    <a:ext uri="{FF2B5EF4-FFF2-40B4-BE49-F238E27FC236}">
                      <a16:creationId xmlns:a16="http://schemas.microsoft.com/office/drawing/2014/main" id="{56B51E9A-9BC0-4A23-95C7-9E14C94FDF8A}"/>
                    </a:ext>
                  </a:extLst>
                </p:cNvPr>
                <p:cNvGrpSpPr/>
                <p:nvPr/>
              </p:nvGrpSpPr>
              <p:grpSpPr bwMode="gray">
                <a:xfrm>
                  <a:off x="609601" y="2684"/>
                  <a:ext cx="10962504" cy="6855315"/>
                  <a:chOff x="0" y="0"/>
                  <a:chExt cx="10962504" cy="6858000"/>
                </a:xfrm>
              </p:grpSpPr>
              <p:cxnSp>
                <p:nvCxnSpPr>
                  <p:cNvPr id="85" name="Straight Connector 84">
                    <a:extLst>
                      <a:ext uri="{FF2B5EF4-FFF2-40B4-BE49-F238E27FC236}">
                        <a16:creationId xmlns:a16="http://schemas.microsoft.com/office/drawing/2014/main" id="{5B6B4CFD-041A-4081-89A4-C2B194E6465E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0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6" name="Straight Connector 85">
                    <a:extLst>
                      <a:ext uri="{FF2B5EF4-FFF2-40B4-BE49-F238E27FC236}">
                        <a16:creationId xmlns:a16="http://schemas.microsoft.com/office/drawing/2014/main" id="{C63B978F-4215-434A-A0BE-E77776CE37B1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914043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7" name="Straight Connector 86">
                    <a:extLst>
                      <a:ext uri="{FF2B5EF4-FFF2-40B4-BE49-F238E27FC236}">
                        <a16:creationId xmlns:a16="http://schemas.microsoft.com/office/drawing/2014/main" id="{09EEB78C-3DA9-4AD7-BFB1-207EDE403F9D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371064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8" name="Straight Connector 87">
                    <a:extLst>
                      <a:ext uri="{FF2B5EF4-FFF2-40B4-BE49-F238E27FC236}">
                        <a16:creationId xmlns:a16="http://schemas.microsoft.com/office/drawing/2014/main" id="{F062D7CE-4A4A-4C41-833F-B30B3E74AEAC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828085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9" name="Straight Connector 88">
                    <a:extLst>
                      <a:ext uri="{FF2B5EF4-FFF2-40B4-BE49-F238E27FC236}">
                        <a16:creationId xmlns:a16="http://schemas.microsoft.com/office/drawing/2014/main" id="{19C628EF-969E-4429-A992-9AD0AFECF81E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2285107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0" name="Straight Connector 89">
                    <a:extLst>
                      <a:ext uri="{FF2B5EF4-FFF2-40B4-BE49-F238E27FC236}">
                        <a16:creationId xmlns:a16="http://schemas.microsoft.com/office/drawing/2014/main" id="{8C7BD383-0D5C-4E3A-99F7-4DC5A51DF948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2742128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1" name="Straight Connector 90">
                    <a:extLst>
                      <a:ext uri="{FF2B5EF4-FFF2-40B4-BE49-F238E27FC236}">
                        <a16:creationId xmlns:a16="http://schemas.microsoft.com/office/drawing/2014/main" id="{FAA2EE63-4F24-4A26-9268-D15D92D5B068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3199149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2" name="Straight Connector 91">
                    <a:extLst>
                      <a:ext uri="{FF2B5EF4-FFF2-40B4-BE49-F238E27FC236}">
                        <a16:creationId xmlns:a16="http://schemas.microsoft.com/office/drawing/2014/main" id="{F64BB08D-864A-44D4-88F6-679DBAE518B7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3656171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3" name="Straight Connector 92">
                    <a:extLst>
                      <a:ext uri="{FF2B5EF4-FFF2-40B4-BE49-F238E27FC236}">
                        <a16:creationId xmlns:a16="http://schemas.microsoft.com/office/drawing/2014/main" id="{9FA3F8A1-60DA-47E1-92DD-967475B2DF58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4113192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4" name="Straight Connector 93">
                    <a:extLst>
                      <a:ext uri="{FF2B5EF4-FFF2-40B4-BE49-F238E27FC236}">
                        <a16:creationId xmlns:a16="http://schemas.microsoft.com/office/drawing/2014/main" id="{4DECF40D-CC60-45F8-B236-F9FAC1F3E8CF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4570213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5" name="Straight Connector 94">
                    <a:extLst>
                      <a:ext uri="{FF2B5EF4-FFF2-40B4-BE49-F238E27FC236}">
                        <a16:creationId xmlns:a16="http://schemas.microsoft.com/office/drawing/2014/main" id="{623BAEC6-A3C2-4892-9093-BD8EA8A7E0F6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5027235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6" name="Straight Connector 95">
                    <a:extLst>
                      <a:ext uri="{FF2B5EF4-FFF2-40B4-BE49-F238E27FC236}">
                        <a16:creationId xmlns:a16="http://schemas.microsoft.com/office/drawing/2014/main" id="{D4E16FB9-EDCA-4CA6-9212-0AEBFCE175D7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5484256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7" name="Straight Connector 96">
                    <a:extLst>
                      <a:ext uri="{FF2B5EF4-FFF2-40B4-BE49-F238E27FC236}">
                        <a16:creationId xmlns:a16="http://schemas.microsoft.com/office/drawing/2014/main" id="{F3AE637F-804F-4244-9AA9-FF4A629A143C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5941277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8" name="Straight Connector 97">
                    <a:extLst>
                      <a:ext uri="{FF2B5EF4-FFF2-40B4-BE49-F238E27FC236}">
                        <a16:creationId xmlns:a16="http://schemas.microsoft.com/office/drawing/2014/main" id="{5EFB8414-3949-428A-B700-7C38A44425B2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6398299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9" name="Straight Connector 98">
                    <a:extLst>
                      <a:ext uri="{FF2B5EF4-FFF2-40B4-BE49-F238E27FC236}">
                        <a16:creationId xmlns:a16="http://schemas.microsoft.com/office/drawing/2014/main" id="{BA61D1AB-B7D2-4169-B38F-56371D50E1DA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6855320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0" name="Straight Connector 99">
                    <a:extLst>
                      <a:ext uri="{FF2B5EF4-FFF2-40B4-BE49-F238E27FC236}">
                        <a16:creationId xmlns:a16="http://schemas.microsoft.com/office/drawing/2014/main" id="{D00C4593-A442-4B6C-8E9D-80BFEB1746D6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7312342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1" name="Straight Connector 100">
                    <a:extLst>
                      <a:ext uri="{FF2B5EF4-FFF2-40B4-BE49-F238E27FC236}">
                        <a16:creationId xmlns:a16="http://schemas.microsoft.com/office/drawing/2014/main" id="{95B5E413-FAFF-430F-B105-4D122D50AEE1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7769363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2" name="Straight Connector 101">
                    <a:extLst>
                      <a:ext uri="{FF2B5EF4-FFF2-40B4-BE49-F238E27FC236}">
                        <a16:creationId xmlns:a16="http://schemas.microsoft.com/office/drawing/2014/main" id="{2B845328-662D-4D12-A209-6A0B1E78DF14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8226384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3" name="Straight Connector 102">
                    <a:extLst>
                      <a:ext uri="{FF2B5EF4-FFF2-40B4-BE49-F238E27FC236}">
                        <a16:creationId xmlns:a16="http://schemas.microsoft.com/office/drawing/2014/main" id="{2AC19B5D-D919-4A48-953C-03994329E19B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9140427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4" name="Straight Connector 103">
                    <a:extLst>
                      <a:ext uri="{FF2B5EF4-FFF2-40B4-BE49-F238E27FC236}">
                        <a16:creationId xmlns:a16="http://schemas.microsoft.com/office/drawing/2014/main" id="{AC81C8DC-CB2F-445A-8F7B-5A864393B553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8683406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5" name="Straight Connector 104">
                    <a:extLst>
                      <a:ext uri="{FF2B5EF4-FFF2-40B4-BE49-F238E27FC236}">
                        <a16:creationId xmlns:a16="http://schemas.microsoft.com/office/drawing/2014/main" id="{F3CD9F68-6C35-4B43-B8E1-1ABF75D8D588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9597448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6" name="Straight Connector 105">
                    <a:extLst>
                      <a:ext uri="{FF2B5EF4-FFF2-40B4-BE49-F238E27FC236}">
                        <a16:creationId xmlns:a16="http://schemas.microsoft.com/office/drawing/2014/main" id="{BBBCE95B-721C-44A5-8B94-8F0E42FF53FE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0054470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7" name="Straight Connector 106">
                    <a:extLst>
                      <a:ext uri="{FF2B5EF4-FFF2-40B4-BE49-F238E27FC236}">
                        <a16:creationId xmlns:a16="http://schemas.microsoft.com/office/drawing/2014/main" id="{3B934F61-1ED7-4209-A1E3-04C68085B10E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0511491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8" name="Straight Connector 107">
                    <a:extLst>
                      <a:ext uri="{FF2B5EF4-FFF2-40B4-BE49-F238E27FC236}">
                        <a16:creationId xmlns:a16="http://schemas.microsoft.com/office/drawing/2014/main" id="{8F636E46-095E-439D-B78B-EBC72DB23290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457021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9" name="Straight Connector 108">
                    <a:extLst>
                      <a:ext uri="{FF2B5EF4-FFF2-40B4-BE49-F238E27FC236}">
                        <a16:creationId xmlns:a16="http://schemas.microsoft.com/office/drawing/2014/main" id="{61497272-E949-488B-B9F6-FD10BA6526BF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0962504" y="0"/>
                    <a:ext cx="0" cy="6858000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66" name="Group 65">
                  <a:extLst>
                    <a:ext uri="{FF2B5EF4-FFF2-40B4-BE49-F238E27FC236}">
                      <a16:creationId xmlns:a16="http://schemas.microsoft.com/office/drawing/2014/main" id="{B645DFBA-090A-4E89-BFE2-570C1D04D7A5}"/>
                    </a:ext>
                  </a:extLst>
                </p:cNvPr>
                <p:cNvGrpSpPr/>
                <p:nvPr/>
              </p:nvGrpSpPr>
              <p:grpSpPr bwMode="gray">
                <a:xfrm>
                  <a:off x="0" y="1"/>
                  <a:ext cx="12188826" cy="6858004"/>
                  <a:chOff x="0" y="1"/>
                  <a:chExt cx="12188826" cy="6858004"/>
                </a:xfrm>
              </p:grpSpPr>
              <p:cxnSp>
                <p:nvCxnSpPr>
                  <p:cNvPr id="67" name="Straight Connector 66">
                    <a:extLst>
                      <a:ext uri="{FF2B5EF4-FFF2-40B4-BE49-F238E27FC236}">
                        <a16:creationId xmlns:a16="http://schemas.microsoft.com/office/drawing/2014/main" id="{E34689D4-9BAE-40BF-B953-E1A0CA4F5C15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6094412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8" name="Straight Connector 67">
                    <a:extLst>
                      <a:ext uri="{FF2B5EF4-FFF2-40B4-BE49-F238E27FC236}">
                        <a16:creationId xmlns:a16="http://schemas.microsoft.com/office/drawing/2014/main" id="{674A3364-6F4C-4749-A110-B336801330E0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5637211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9" name="Straight Connector 68">
                    <a:extLst>
                      <a:ext uri="{FF2B5EF4-FFF2-40B4-BE49-F238E27FC236}">
                        <a16:creationId xmlns:a16="http://schemas.microsoft.com/office/drawing/2014/main" id="{690EC6B6-039D-4549-B1B1-8FF8A3FC2F66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5180011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0" name="Straight Connector 69">
                    <a:extLst>
                      <a:ext uri="{FF2B5EF4-FFF2-40B4-BE49-F238E27FC236}">
                        <a16:creationId xmlns:a16="http://schemas.microsoft.com/office/drawing/2014/main" id="{155F4FAC-9412-45E9-99EC-FDC351D60453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31202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1" name="Straight Connector 70">
                    <a:extLst>
                      <a:ext uri="{FF2B5EF4-FFF2-40B4-BE49-F238E27FC236}">
                        <a16:creationId xmlns:a16="http://schemas.microsoft.com/office/drawing/2014/main" id="{5A0C0A33-67B3-48C9-9B83-C39DFDEF5E0A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26630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2" name="Straight Connector 71">
                    <a:extLst>
                      <a:ext uri="{FF2B5EF4-FFF2-40B4-BE49-F238E27FC236}">
                        <a16:creationId xmlns:a16="http://schemas.microsoft.com/office/drawing/2014/main" id="{A87FF284-D960-4A05-8053-9886608C6599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22058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3" name="Straight Connector 72">
                    <a:extLst>
                      <a:ext uri="{FF2B5EF4-FFF2-40B4-BE49-F238E27FC236}">
                        <a16:creationId xmlns:a16="http://schemas.microsoft.com/office/drawing/2014/main" id="{6BA61019-342C-4EDD-97C6-EDA59774644E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17486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4" name="Straight Connector 73">
                    <a:extLst>
                      <a:ext uri="{FF2B5EF4-FFF2-40B4-BE49-F238E27FC236}">
                        <a16:creationId xmlns:a16="http://schemas.microsoft.com/office/drawing/2014/main" id="{234785CB-17D0-49DD-8DC9-3C93626DC776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1291437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5" name="Straight Connector 74">
                    <a:extLst>
                      <a:ext uri="{FF2B5EF4-FFF2-40B4-BE49-F238E27FC236}">
                        <a16:creationId xmlns:a16="http://schemas.microsoft.com/office/drawing/2014/main" id="{425DB222-E3A0-48A3-BBD5-FD2616577D2D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834237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6" name="Straight Connector 75">
                    <a:extLst>
                      <a:ext uri="{FF2B5EF4-FFF2-40B4-BE49-F238E27FC236}">
                        <a16:creationId xmlns:a16="http://schemas.microsoft.com/office/drawing/2014/main" id="{C433E4E5-A945-4652-B574-37C6580344B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gray">
                  <a:xfrm flipH="1">
                    <a:off x="1" y="5717376"/>
                    <a:ext cx="12188825" cy="0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7" name="Straight Connector 76">
                    <a:extLst>
                      <a:ext uri="{FF2B5EF4-FFF2-40B4-BE49-F238E27FC236}">
                        <a16:creationId xmlns:a16="http://schemas.microsoft.com/office/drawing/2014/main" id="{352A597B-2B35-4BD4-B07E-D8CEF25A597D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763592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8" name="Straight Connector 77">
                    <a:extLst>
                      <a:ext uri="{FF2B5EF4-FFF2-40B4-BE49-F238E27FC236}">
                        <a16:creationId xmlns:a16="http://schemas.microsoft.com/office/drawing/2014/main" id="{9351C336-9D65-42C9-A33F-6971E6322E46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5637212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9" name="Straight Connector 78">
                    <a:extLst>
                      <a:ext uri="{FF2B5EF4-FFF2-40B4-BE49-F238E27FC236}">
                        <a16:creationId xmlns:a16="http://schemas.microsoft.com/office/drawing/2014/main" id="{FCAD9518-36D4-43F7-839D-D8FE389DF1F1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4951411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0" name="Straight Connector 79">
                    <a:extLst>
                      <a:ext uri="{FF2B5EF4-FFF2-40B4-BE49-F238E27FC236}">
                        <a16:creationId xmlns:a16="http://schemas.microsoft.com/office/drawing/2014/main" id="{55575B3F-2A8B-4175-B6A5-D60652B87ED0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86257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1" name="Straight Connector 80">
                    <a:extLst>
                      <a:ext uri="{FF2B5EF4-FFF2-40B4-BE49-F238E27FC236}">
                        <a16:creationId xmlns:a16="http://schemas.microsoft.com/office/drawing/2014/main" id="{1CCC90FC-8476-4A2A-8DF1-ECAB053A24FD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30638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2" name="Straight Connector 81">
                    <a:extLst>
                      <a:ext uri="{FF2B5EF4-FFF2-40B4-BE49-F238E27FC236}">
                        <a16:creationId xmlns:a16="http://schemas.microsoft.com/office/drawing/2014/main" id="{DFB03C8E-4661-465A-B25F-147D497525A0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40346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3" name="Straight Connector 82">
                    <a:extLst>
                      <a:ext uri="{FF2B5EF4-FFF2-40B4-BE49-F238E27FC236}">
                        <a16:creationId xmlns:a16="http://schemas.microsoft.com/office/drawing/2014/main" id="{88C8E030-5491-4C40-9E10-B197BD5CD587}"/>
                      </a:ext>
                    </a:extLst>
                  </p:cNvPr>
                  <p:cNvCxnSpPr/>
                  <p:nvPr/>
                </p:nvCxnSpPr>
                <p:spPr bwMode="gray">
                  <a:xfrm rot="5400000">
                    <a:off x="6094413" y="-3577438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accent1">
                        <a:lumMod val="40000"/>
                        <a:lumOff val="60000"/>
                      </a:schemeClr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4" name="Straight Connector 83">
                    <a:extLst>
                      <a:ext uri="{FF2B5EF4-FFF2-40B4-BE49-F238E27FC236}">
                        <a16:creationId xmlns:a16="http://schemas.microsoft.com/office/drawing/2014/main" id="{E0EBA261-0409-41DC-98E2-4BF8173333E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gray">
                  <a:xfrm rot="5400000">
                    <a:off x="6094413" y="-4494211"/>
                    <a:ext cx="0" cy="12188826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B119DAC7-36FB-491E-A6EB-B78E57CAECBF}"/>
                  </a:ext>
                </a:extLst>
              </p:cNvPr>
              <p:cNvSpPr txBox="1"/>
              <p:nvPr userDrawn="1"/>
            </p:nvSpPr>
            <p:spPr bwMode="gray">
              <a:xfrm>
                <a:off x="592866" y="5723466"/>
                <a:ext cx="7329077" cy="47413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no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700" dirty="0"/>
                  <a:t>Footnote: Lorem ipsum dolor sit amet, consectetur adipiscing elit. Maecenas dui magna, sagittis at feugiat eget, viverra eu libero. Vestibulum a justo mi. Etiam blandit tempus odio. Fusce orci lectus, tincidunt eget hendrerit quis, blandit non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42550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B535B2D-9361-4E88-8BBD-C6E1EB066B37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F8981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>
              <a:solidFill>
                <a:schemeClr val="accent2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5AED08D-D489-4C23-BFE9-9C4A6A94C4DA}"/>
              </a:ext>
            </a:extLst>
          </p:cNvPr>
          <p:cNvSpPr txBox="1"/>
          <p:nvPr userDrawn="1"/>
        </p:nvSpPr>
        <p:spPr>
          <a:xfrm>
            <a:off x="606551" y="721895"/>
            <a:ext cx="10879380" cy="48800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5400" spc="300" dirty="0">
                <a:solidFill>
                  <a:schemeClr val="bg1"/>
                </a:solidFill>
              </a:rPr>
              <a:t>DO NOT USE </a:t>
            </a:r>
          </a:p>
          <a:p>
            <a:pPr algn="ctr">
              <a:lnSpc>
                <a:spcPct val="90000"/>
              </a:lnSpc>
            </a:pPr>
            <a:endParaRPr lang="en-US" sz="5400" spc="300" dirty="0">
              <a:solidFill>
                <a:schemeClr val="bg1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en-US" sz="5400" spc="300" dirty="0">
                <a:solidFill>
                  <a:schemeClr val="bg1"/>
                </a:solidFill>
              </a:rPr>
              <a:t>ALL LAYOUTS PAST THIS ARE NOT PART OF THIS TEMPLATE</a:t>
            </a:r>
          </a:p>
        </p:txBody>
      </p:sp>
    </p:spTree>
    <p:extLst>
      <p:ext uri="{BB962C8B-B14F-4D97-AF65-F5344CB8AC3E}">
        <p14:creationId xmlns:p14="http://schemas.microsoft.com/office/powerpoint/2010/main" val="2154210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B80133-7FA2-4602-BD1A-59972B4257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17BFF0-5753-43E6-A641-686D9A72E4E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3BF992-4DF5-40F9-82F4-4CC4023DA1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BBCC78-040E-426B-A7E0-3E323BB98BD6}" type="datetimeFigureOut">
              <a:rPr lang="en-US" smtClean="0"/>
              <a:t>24-Sep-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DA4F930-DD01-4530-AEA7-B0308FFF4D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F1E393-6CA7-434B-A567-1637118E61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5A5FCD-8FAA-451B-8046-CE14F24F65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63924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14" y="330200"/>
            <a:ext cx="10972801" cy="8128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111049-A980-9A4B-BDCF-935BD3D35A43}" type="datetimeFigureOut">
              <a:rPr lang="en-US" smtClean="0"/>
              <a:t>24-Sep-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9C9BFC-FCFF-7247-B387-15C2934714B0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wipe dir="r"/>
      </p:transition>
    </mc:Choice>
    <mc:Fallback xmlns="">
      <p:transition xmlns:p14="http://schemas.microsoft.com/office/powerpoint/2010/main" spd="slow">
        <p:wipe dir="r"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resenter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" y="0"/>
            <a:ext cx="12192000" cy="685824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7" y="426720"/>
            <a:ext cx="9144001" cy="109728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7" y="1600200"/>
            <a:ext cx="9144001" cy="685800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3" y="5791200"/>
            <a:ext cx="3657601" cy="2286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2pPr>
            <a:lvl3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3pPr>
            <a:lvl4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4pPr>
            <a:lvl5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5pPr>
            <a:lvl6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6pPr>
            <a:lvl7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7pPr>
            <a:lvl8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8pPr>
          </a:lstStyle>
          <a:p>
            <a:pPr lvl="0"/>
            <a:r>
              <a:rPr lang="en-US" dirty="0"/>
              <a:t>Click to add presenter’s name 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3" y="6081068"/>
            <a:ext cx="3657601" cy="2286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2pPr>
            <a:lvl3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3pPr>
            <a:lvl4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4pPr>
            <a:lvl5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5pPr>
            <a:lvl6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6pPr>
            <a:lvl7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7pPr>
            <a:lvl8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8pPr>
          </a:lstStyle>
          <a:p>
            <a:pPr lvl="0"/>
            <a:r>
              <a:rPr lang="en-US" dirty="0"/>
              <a:t>Click to add date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10208807" y="6074851"/>
            <a:ext cx="1373445" cy="216433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22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3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4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5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6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7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8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</p:grpSp>
      <p:sp>
        <p:nvSpPr>
          <p:cNvPr id="15" name="TextBox 14"/>
          <p:cNvSpPr txBox="1"/>
          <p:nvPr/>
        </p:nvSpPr>
        <p:spPr>
          <a:xfrm>
            <a:off x="9830079" y="6505956"/>
            <a:ext cx="1752163" cy="1996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4400">
              <a:lnSpc>
                <a:spcPct val="90000"/>
              </a:lnSpc>
            </a:pPr>
            <a:r>
              <a:rPr lang="en-US" sz="700" dirty="0">
                <a:solidFill>
                  <a:prstClr val="white"/>
                </a:solidFill>
                <a:latin typeface="Arial"/>
              </a:rPr>
              <a:t>© 2017 VMware Inc. All rights reserved.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11" y="330200"/>
            <a:ext cx="10972801" cy="8128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  <a:latin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717074">
                    <a:tint val="75000"/>
                  </a:srgbClr>
                </a:solidFill>
                <a:latin typeface="Arial"/>
              </a:rPr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  <a:latin typeface="Arial"/>
              </a:rPr>
              <a:pPr/>
              <a:t>‹#›</a:t>
            </a:fld>
            <a:endParaRPr lang="en-US">
              <a:solidFill>
                <a:prstClr val="white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11" y="1676400"/>
            <a:ext cx="10972801" cy="4343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  <a:latin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717074">
                    <a:tint val="75000"/>
                  </a:srgbClr>
                </a:solidFill>
                <a:latin typeface="Arial"/>
              </a:rPr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  <a:latin typeface="Arial"/>
              </a:rPr>
              <a:pPr/>
              <a:t>‹#›</a:t>
            </a:fld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09611" y="1206500"/>
            <a:ext cx="10972801" cy="304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6492463" y="0"/>
            <a:ext cx="5699547" cy="6858000"/>
          </a:xfrm>
          <a:prstGeom prst="rect">
            <a:avLst/>
          </a:prstGeom>
        </p:spPr>
      </p:pic>
      <p:grpSp>
        <p:nvGrpSpPr>
          <p:cNvPr id="17" name="Group 16"/>
          <p:cNvGrpSpPr/>
          <p:nvPr/>
        </p:nvGrpSpPr>
        <p:grpSpPr>
          <a:xfrm>
            <a:off x="618042" y="6446066"/>
            <a:ext cx="1100080" cy="173355"/>
            <a:chOff x="-84138" y="5622925"/>
            <a:chExt cx="4330701" cy="682626"/>
          </a:xfrm>
        </p:grpSpPr>
        <p:sp>
          <p:nvSpPr>
            <p:cNvPr id="18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19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1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2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3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4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4900" y="1676400"/>
            <a:ext cx="7315200" cy="1524000"/>
          </a:xfrm>
        </p:spPr>
        <p:txBody>
          <a:bodyPr anchor="b"/>
          <a:lstStyle>
            <a:lvl1pPr algn="l">
              <a:defRPr sz="3600" b="1" cap="none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6" y="3276600"/>
            <a:ext cx="7315200" cy="6096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with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/>
        </p:nvGrpSpPr>
        <p:grpSpPr>
          <a:xfrm>
            <a:off x="618042" y="6446066"/>
            <a:ext cx="1100080" cy="173355"/>
            <a:chOff x="-84138" y="5622925"/>
            <a:chExt cx="4330701" cy="682626"/>
          </a:xfrm>
        </p:grpSpPr>
        <p:sp>
          <p:nvSpPr>
            <p:cNvPr id="15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17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18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19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0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1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11" y="1676400"/>
            <a:ext cx="6096000" cy="1524000"/>
          </a:xfrm>
        </p:spPr>
        <p:txBody>
          <a:bodyPr anchor="b"/>
          <a:lstStyle>
            <a:lvl1pPr algn="l">
              <a:defRPr sz="3600" b="1" cap="none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11" y="3276600"/>
            <a:ext cx="6096000" cy="6096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/>
        </p:nvGrpSpPr>
        <p:grpSpPr>
          <a:xfrm>
            <a:off x="618042" y="6446066"/>
            <a:ext cx="1100080" cy="173355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25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6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7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8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9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30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31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</p:grpSp>
      <p:sp>
        <p:nvSpPr>
          <p:cNvPr id="12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914409" y="2593231"/>
            <a:ext cx="4813303" cy="5334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Click to add Name, Title, Compan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843281" y="457200"/>
            <a:ext cx="4876800" cy="2011680"/>
          </a:xfrm>
        </p:spPr>
        <p:txBody>
          <a:bodyPr/>
          <a:lstStyle>
            <a:lvl1pPr marL="58738" indent="-55563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etric 1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322760" y="685800"/>
            <a:ext cx="4389120" cy="1676400"/>
          </a:xfrm>
        </p:spPr>
        <p:txBody>
          <a:bodyPr anchor="b"/>
          <a:lstStyle>
            <a:lvl1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1pPr>
            <a:lvl2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2pPr>
            <a:lvl3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3pPr>
            <a:lvl4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4pPr>
            <a:lvl5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5pPr>
            <a:lvl6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6pPr>
            <a:lvl7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7pPr>
            <a:lvl8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8pPr>
            <a:lvl9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322760" y="2362200"/>
            <a:ext cx="4389120" cy="1066800"/>
          </a:xfrm>
        </p:spPr>
        <p:txBody>
          <a:bodyPr/>
          <a:lstStyle>
            <a:lvl1pPr marL="3175" indent="0">
              <a:spcBef>
                <a:spcPts val="0"/>
              </a:spcBef>
              <a:buNone/>
              <a:defRPr sz="2400" cap="none" baseline="0">
                <a:solidFill>
                  <a:schemeClr val="accent3"/>
                </a:solidFill>
              </a:defRPr>
            </a:lvl1pPr>
            <a:lvl2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2pPr>
            <a:lvl3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3pPr>
            <a:lvl4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4pPr>
            <a:lvl5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5pPr>
            <a:lvl6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6pPr>
            <a:lvl7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7pPr>
            <a:lvl8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8pPr>
            <a:lvl9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618042" y="6446066"/>
            <a:ext cx="1100080" cy="173355"/>
            <a:chOff x="-84138" y="5622925"/>
            <a:chExt cx="4330701" cy="682626"/>
          </a:xfrm>
        </p:grpSpPr>
        <p:sp>
          <p:nvSpPr>
            <p:cNvPr id="1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1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19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1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2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</p:grp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etric 2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/>
          <p:nvPr/>
        </p:nvGrpSpPr>
        <p:grpSpPr>
          <a:xfrm>
            <a:off x="618042" y="6446066"/>
            <a:ext cx="1100080" cy="173355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1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1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19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1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2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</p:grp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05603" y="2209800"/>
            <a:ext cx="4389120" cy="1676400"/>
          </a:xfrm>
        </p:spPr>
        <p:txBody>
          <a:bodyPr anchor="b"/>
          <a:lstStyle>
            <a:lvl1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1pPr>
            <a:lvl2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2pPr>
            <a:lvl3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3pPr>
            <a:lvl4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4pPr>
            <a:lvl5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5pPr>
            <a:lvl6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6pPr>
            <a:lvl7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7pPr>
            <a:lvl8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8pPr>
            <a:lvl9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705603" y="3886200"/>
            <a:ext cx="4389120" cy="1066800"/>
          </a:xfrm>
        </p:spPr>
        <p:txBody>
          <a:bodyPr/>
          <a:lstStyle>
            <a:lvl1pPr marL="3175" indent="0">
              <a:spcBef>
                <a:spcPts val="0"/>
              </a:spcBef>
              <a:buNone/>
              <a:defRPr sz="2400" cap="none" baseline="0">
                <a:solidFill>
                  <a:schemeClr val="bg1"/>
                </a:solidFill>
              </a:defRPr>
            </a:lvl1pPr>
            <a:lvl2pPr marL="3175" indent="0">
              <a:spcBef>
                <a:spcPts val="0"/>
              </a:spcBef>
              <a:buNone/>
              <a:defRPr sz="2400" cap="none" baseline="0">
                <a:solidFill>
                  <a:schemeClr val="bg1"/>
                </a:solidFill>
              </a:defRPr>
            </a:lvl2pPr>
            <a:lvl3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3pPr>
            <a:lvl4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4pPr>
            <a:lvl5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5pPr>
            <a:lvl6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6pPr>
            <a:lvl7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7pPr>
            <a:lvl8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8pPr>
            <a:lvl9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etric 3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056357" y="5213798"/>
            <a:ext cx="3734854" cy="1415602"/>
          </a:xfrm>
        </p:spPr>
        <p:txBody>
          <a:bodyPr anchor="ctr"/>
          <a:lstStyle>
            <a:lvl1pPr marL="3175" indent="0" algn="r">
              <a:spcBef>
                <a:spcPts val="0"/>
              </a:spcBef>
              <a:buNone/>
              <a:defRPr sz="88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6096011" y="5213798"/>
            <a:ext cx="4511040" cy="1415602"/>
          </a:xfrm>
        </p:spPr>
        <p:txBody>
          <a:bodyPr anchor="ctr"/>
          <a:lstStyle>
            <a:lvl1pPr marL="3175" indent="0">
              <a:spcBef>
                <a:spcPts val="0"/>
              </a:spcBef>
              <a:buNone/>
              <a:defRPr sz="24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618042" y="6446066"/>
            <a:ext cx="1100080" cy="173355"/>
            <a:chOff x="-84138" y="5622925"/>
            <a:chExt cx="4330701" cy="682626"/>
          </a:xfrm>
        </p:grpSpPr>
        <p:sp>
          <p:nvSpPr>
            <p:cNvPr id="1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1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19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1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2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</p:grp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7" y="1371600"/>
            <a:ext cx="5242561" cy="46482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39851" y="1371600"/>
            <a:ext cx="5242561" cy="46482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  <a:latin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717074">
                    <a:tint val="75000"/>
                  </a:srgbClr>
                </a:solidFill>
                <a:latin typeface="Arial"/>
              </a:rPr>
              <a:t>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  <a:latin typeface="Arial"/>
              </a:rPr>
              <a:pPr/>
              <a:t>‹#›</a:t>
            </a:fld>
            <a:endParaRPr lang="en-US">
              <a:solidFill>
                <a:prstClr val="white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14" y="1676400"/>
            <a:ext cx="10972801" cy="4343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111049-A980-9A4B-BDCF-935BD3D35A43}" type="datetimeFigureOut">
              <a:rPr lang="en-US" smtClean="0"/>
              <a:t>24-Sep-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9C9BFC-FCFF-7247-B387-15C2934714B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09614" y="1206500"/>
            <a:ext cx="10972801" cy="304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wipe dir="r"/>
      </p:transition>
    </mc:Choice>
    <mc:Fallback xmlns="">
      <p:transition xmlns:p14="http://schemas.microsoft.com/office/powerpoint/2010/main" spd="slow">
        <p:wipe dir="r"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7" y="1371600"/>
            <a:ext cx="5242561" cy="639762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7" y="2057400"/>
            <a:ext cx="5242561" cy="39624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39851" y="1371600"/>
            <a:ext cx="5242561" cy="639762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39851" y="2057400"/>
            <a:ext cx="5242561" cy="39624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  <a:latin typeface="Arial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717074">
                    <a:tint val="75000"/>
                  </a:srgbClr>
                </a:solidFill>
                <a:latin typeface="Arial"/>
              </a:rPr>
              <a:t>CONFIDENTIA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  <a:latin typeface="Arial"/>
              </a:rPr>
              <a:pPr/>
              <a:t>‹#›</a:t>
            </a:fld>
            <a:endParaRPr lang="en-US">
              <a:solidFill>
                <a:prstClr val="white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  <a:latin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717074">
                    <a:tint val="75000"/>
                  </a:srgbClr>
                </a:solidFill>
                <a:latin typeface="Arial"/>
              </a:rPr>
              <a:t>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  <a:latin typeface="Arial"/>
              </a:rPr>
              <a:pPr/>
              <a:t>‹#›</a:t>
            </a:fld>
            <a:endParaRPr lang="en-US">
              <a:solidFill>
                <a:prstClr val="white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  <a:latin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717074">
                    <a:tint val="75000"/>
                  </a:srgbClr>
                </a:solidFill>
                <a:latin typeface="Arial"/>
              </a:rPr>
              <a:t>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  <a:latin typeface="Arial"/>
              </a:rPr>
              <a:pPr/>
              <a:t>‹#›</a:t>
            </a:fld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09611" y="1219200"/>
            <a:ext cx="10972801" cy="304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  <a:latin typeface="Arial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717074">
                    <a:tint val="75000"/>
                  </a:srgbClr>
                </a:solidFill>
                <a:latin typeface="Arial"/>
              </a:rPr>
              <a:t>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  <a:latin typeface="Arial"/>
              </a:rPr>
              <a:pPr/>
              <a:t>‹#›</a:t>
            </a:fld>
            <a:endParaRPr lang="en-US">
              <a:solidFill>
                <a:prstClr val="white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371601"/>
            <a:ext cx="7924799" cy="464819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37611" y="1371601"/>
            <a:ext cx="2844800" cy="4648199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  <a:latin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717074">
                    <a:tint val="75000"/>
                  </a:srgbClr>
                </a:solidFill>
                <a:latin typeface="Arial"/>
              </a:rPr>
              <a:t>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  <a:latin typeface="Arial"/>
              </a:rPr>
              <a:pPr/>
              <a:t>‹#›</a:t>
            </a:fld>
            <a:endParaRPr lang="en-US">
              <a:solidFill>
                <a:prstClr val="white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" y="1371600"/>
            <a:ext cx="12192000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11" y="4953000"/>
            <a:ext cx="10972801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  <a:latin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717074">
                    <a:tint val="75000"/>
                  </a:srgbClr>
                </a:solidFill>
                <a:latin typeface="Arial"/>
              </a:rPr>
              <a:t>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  <a:latin typeface="Arial"/>
              </a:rPr>
              <a:pPr/>
              <a:t>‹#›</a:t>
            </a:fld>
            <a:endParaRPr lang="en-US">
              <a:solidFill>
                <a:prstClr val="white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7" y="1371600"/>
            <a:ext cx="6006497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5648" y="4953000"/>
            <a:ext cx="4775199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  <a:latin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717074">
                    <a:tint val="75000"/>
                  </a:srgbClr>
                </a:solidFill>
                <a:latin typeface="Arial"/>
              </a:rPr>
              <a:t>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  <a:latin typeface="Arial"/>
              </a:rPr>
              <a:pPr/>
              <a:t>‹#›</a:t>
            </a:fld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>
          <a:xfrm>
            <a:off x="6185504" y="1371600"/>
            <a:ext cx="6006497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>
          <a:xfrm>
            <a:off x="6807201" y="4953000"/>
            <a:ext cx="4775199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1371600"/>
            <a:ext cx="3962400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4953000"/>
            <a:ext cx="2743200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  <a:latin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717074">
                    <a:tint val="75000"/>
                  </a:srgbClr>
                </a:solidFill>
                <a:latin typeface="Arial"/>
              </a:rPr>
              <a:t>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  <a:latin typeface="Arial"/>
              </a:rPr>
              <a:pPr/>
              <a:t>‹#›</a:t>
            </a:fld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>
          <a:xfrm>
            <a:off x="4114808" y="1371600"/>
            <a:ext cx="3962400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>
          <a:xfrm>
            <a:off x="4724400" y="4953000"/>
            <a:ext cx="2743200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>
          <a:xfrm>
            <a:off x="8229608" y="1371600"/>
            <a:ext cx="3962400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>
          <a:xfrm>
            <a:off x="8839200" y="4953000"/>
            <a:ext cx="2743200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ustom Section Header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/>
        </p:nvGrpSpPr>
        <p:grpSpPr bwMode="ltGray">
          <a:xfrm>
            <a:off x="3790" y="-1"/>
            <a:ext cx="12211703" cy="6858001"/>
            <a:chOff x="3786" y="-1"/>
            <a:chExt cx="9156393" cy="5143501"/>
          </a:xfrm>
        </p:grpSpPr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3786" y="0"/>
              <a:ext cx="6983947" cy="5143500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4534899" y="-1"/>
              <a:ext cx="4625280" cy="387275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11" y="1676400"/>
            <a:ext cx="6096000" cy="1524000"/>
          </a:xfrm>
        </p:spPr>
        <p:txBody>
          <a:bodyPr anchor="b"/>
          <a:lstStyle>
            <a:lvl1pPr algn="l">
              <a:defRPr sz="3600" b="1" cap="none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11" y="3276600"/>
            <a:ext cx="6096000" cy="6096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618042" y="6446066"/>
            <a:ext cx="1100080" cy="173355"/>
            <a:chOff x="-84138" y="5622925"/>
            <a:chExt cx="4330701" cy="682626"/>
          </a:xfrm>
        </p:grpSpPr>
        <p:sp>
          <p:nvSpPr>
            <p:cNvPr id="21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2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4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5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6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7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</p:grp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Quote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-14059" y="2702464"/>
            <a:ext cx="5347871" cy="4155557"/>
          </a:xfrm>
          <a:prstGeom prst="rect">
            <a:avLst/>
          </a:prstGeom>
        </p:spPr>
      </p:pic>
      <p:grpSp>
        <p:nvGrpSpPr>
          <p:cNvPr id="15" name="Group 14"/>
          <p:cNvGrpSpPr/>
          <p:nvPr/>
        </p:nvGrpSpPr>
        <p:grpSpPr>
          <a:xfrm>
            <a:off x="618042" y="6446066"/>
            <a:ext cx="1100080" cy="173355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2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9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30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31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32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</p:grpSp>
      <p:sp>
        <p:nvSpPr>
          <p:cNvPr id="12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914409" y="2593231"/>
            <a:ext cx="4813303" cy="5334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Click to add Name, Title, Compan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843281" y="457200"/>
            <a:ext cx="4876800" cy="2011680"/>
          </a:xfrm>
        </p:spPr>
        <p:txBody>
          <a:bodyPr/>
          <a:lstStyle>
            <a:lvl1pPr marL="58738" indent="-55563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6492466" y="0"/>
            <a:ext cx="5699547" cy="6858000"/>
          </a:xfrm>
          <a:prstGeom prst="rect">
            <a:avLst/>
          </a:prstGeom>
        </p:spPr>
      </p:pic>
      <p:grpSp>
        <p:nvGrpSpPr>
          <p:cNvPr id="17" name="Group 16"/>
          <p:cNvGrpSpPr/>
          <p:nvPr/>
        </p:nvGrpSpPr>
        <p:grpSpPr>
          <a:xfrm>
            <a:off x="618039" y="6446072"/>
            <a:ext cx="1100080" cy="173355"/>
            <a:chOff x="-84138" y="5622925"/>
            <a:chExt cx="4330701" cy="682626"/>
          </a:xfrm>
        </p:grpSpPr>
        <p:sp>
          <p:nvSpPr>
            <p:cNvPr id="18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19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1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2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3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4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4903" y="1676400"/>
            <a:ext cx="7315200" cy="1524000"/>
          </a:xfrm>
        </p:spPr>
        <p:txBody>
          <a:bodyPr anchor="b"/>
          <a:lstStyle>
            <a:lvl1pPr algn="l">
              <a:defRPr sz="3600" b="1" cap="none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12" y="3276600"/>
            <a:ext cx="7315200" cy="6096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wipe dir="r"/>
      </p:transition>
    </mc:Choice>
    <mc:Fallback xmlns="">
      <p:transition xmlns:p14="http://schemas.microsoft.com/office/powerpoint/2010/main" spd="slow">
        <p:wipe dir="r"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Metric 1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6492463" y="0"/>
            <a:ext cx="5699547" cy="6858000"/>
          </a:xfrm>
          <a:prstGeom prst="rect">
            <a:avLst/>
          </a:prstGeom>
        </p:spPr>
      </p:pic>
      <p:grpSp>
        <p:nvGrpSpPr>
          <p:cNvPr id="25" name="Group 24"/>
          <p:cNvGrpSpPr/>
          <p:nvPr/>
        </p:nvGrpSpPr>
        <p:grpSpPr>
          <a:xfrm>
            <a:off x="618042" y="6446066"/>
            <a:ext cx="1100080" cy="173355"/>
            <a:chOff x="-84138" y="5622925"/>
            <a:chExt cx="4330701" cy="682626"/>
          </a:xfrm>
        </p:grpSpPr>
        <p:sp>
          <p:nvSpPr>
            <p:cNvPr id="2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9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30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31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32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</p:grp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322760" y="685800"/>
            <a:ext cx="4389120" cy="1676400"/>
          </a:xfrm>
        </p:spPr>
        <p:txBody>
          <a:bodyPr anchor="b"/>
          <a:lstStyle>
            <a:lvl1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1pPr>
            <a:lvl2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2pPr>
            <a:lvl3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3pPr>
            <a:lvl4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4pPr>
            <a:lvl5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5pPr>
            <a:lvl6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6pPr>
            <a:lvl7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7pPr>
            <a:lvl8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8pPr>
            <a:lvl9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322760" y="2362200"/>
            <a:ext cx="4389120" cy="1066800"/>
          </a:xfrm>
        </p:spPr>
        <p:txBody>
          <a:bodyPr/>
          <a:lstStyle>
            <a:lvl1pPr marL="3175" indent="0">
              <a:spcBef>
                <a:spcPts val="0"/>
              </a:spcBef>
              <a:buNone/>
              <a:defRPr sz="2400" cap="none" baseline="0">
                <a:solidFill>
                  <a:schemeClr val="accent3"/>
                </a:solidFill>
              </a:defRPr>
            </a:lvl1pPr>
            <a:lvl2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2pPr>
            <a:lvl3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3pPr>
            <a:lvl4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4pPr>
            <a:lvl5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5pPr>
            <a:lvl6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6pPr>
            <a:lvl7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7pPr>
            <a:lvl8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8pPr>
            <a:lvl9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Metric 2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2463" y="0"/>
            <a:ext cx="5699547" cy="6858000"/>
          </a:xfrm>
          <a:prstGeom prst="rect">
            <a:avLst/>
          </a:prstGeom>
        </p:spPr>
      </p:pic>
      <p:grpSp>
        <p:nvGrpSpPr>
          <p:cNvPr id="26" name="Group 25"/>
          <p:cNvGrpSpPr/>
          <p:nvPr/>
        </p:nvGrpSpPr>
        <p:grpSpPr>
          <a:xfrm>
            <a:off x="618042" y="6446066"/>
            <a:ext cx="1100080" cy="173355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27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8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9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30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31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32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33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</p:grp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05603" y="2209800"/>
            <a:ext cx="4389120" cy="1676400"/>
          </a:xfrm>
        </p:spPr>
        <p:txBody>
          <a:bodyPr anchor="b"/>
          <a:lstStyle>
            <a:lvl1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1pPr>
            <a:lvl2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2pPr>
            <a:lvl3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3pPr>
            <a:lvl4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4pPr>
            <a:lvl5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5pPr>
            <a:lvl6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6pPr>
            <a:lvl7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7pPr>
            <a:lvl8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8pPr>
            <a:lvl9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705603" y="3886200"/>
            <a:ext cx="4389120" cy="1066800"/>
          </a:xfrm>
        </p:spPr>
        <p:txBody>
          <a:bodyPr/>
          <a:lstStyle>
            <a:lvl1pPr marL="3175" indent="0">
              <a:spcBef>
                <a:spcPts val="0"/>
              </a:spcBef>
              <a:buNone/>
              <a:defRPr sz="2400" cap="none" baseline="0">
                <a:solidFill>
                  <a:schemeClr val="bg1"/>
                </a:solidFill>
              </a:defRPr>
            </a:lvl1pPr>
            <a:lvl2pPr marL="3175" indent="0">
              <a:spcBef>
                <a:spcPts val="0"/>
              </a:spcBef>
              <a:buNone/>
              <a:defRPr sz="2400" cap="none" baseline="0">
                <a:solidFill>
                  <a:schemeClr val="bg1"/>
                </a:solidFill>
              </a:defRPr>
            </a:lvl2pPr>
            <a:lvl3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3pPr>
            <a:lvl4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4pPr>
            <a:lvl5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5pPr>
            <a:lvl6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6pPr>
            <a:lvl7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7pPr>
            <a:lvl8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8pPr>
            <a:lvl9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Metric 3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" y="568505"/>
            <a:ext cx="12192127" cy="6289499"/>
          </a:xfrm>
          <a:prstGeom prst="rect">
            <a:avLst/>
          </a:prstGeom>
        </p:spPr>
      </p:pic>
      <p:grpSp>
        <p:nvGrpSpPr>
          <p:cNvPr id="24" name="Group 23"/>
          <p:cNvGrpSpPr/>
          <p:nvPr/>
        </p:nvGrpSpPr>
        <p:grpSpPr>
          <a:xfrm>
            <a:off x="618042" y="6446066"/>
            <a:ext cx="1100080" cy="173355"/>
            <a:chOff x="-84138" y="5622925"/>
            <a:chExt cx="4330701" cy="682626"/>
          </a:xfrm>
        </p:grpSpPr>
        <p:sp>
          <p:nvSpPr>
            <p:cNvPr id="25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6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7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8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9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30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31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27201" y="4740499"/>
            <a:ext cx="4064000" cy="1415602"/>
          </a:xfrm>
        </p:spPr>
        <p:txBody>
          <a:bodyPr anchor="ctr"/>
          <a:lstStyle>
            <a:lvl1pPr marL="3175" indent="0" algn="r">
              <a:spcBef>
                <a:spcPts val="0"/>
              </a:spcBef>
              <a:buNone/>
              <a:defRPr sz="88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6096011" y="4740499"/>
            <a:ext cx="4511040" cy="1415602"/>
          </a:xfrm>
        </p:spPr>
        <p:txBody>
          <a:bodyPr anchor="ctr"/>
          <a:lstStyle>
            <a:lvl1pPr marL="3175" indent="0">
              <a:spcBef>
                <a:spcPts val="0"/>
              </a:spcBef>
              <a:buNone/>
              <a:defRPr sz="24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  <a:latin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717074">
                    <a:tint val="75000"/>
                  </a:srgbClr>
                </a:solidFill>
                <a:latin typeface="Arial"/>
              </a:rPr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  <a:latin typeface="Arial"/>
              </a:rPr>
              <a:pPr/>
              <a:t>‹#›</a:t>
            </a:fld>
            <a:endParaRPr lang="en-US">
              <a:solidFill>
                <a:prstClr val="white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485121" y="342901"/>
            <a:ext cx="1097280" cy="56769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8" y="342901"/>
            <a:ext cx="9550400" cy="56769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  <a:latin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717074">
                    <a:tint val="75000"/>
                  </a:srgbClr>
                </a:solidFill>
                <a:latin typeface="Arial"/>
              </a:rPr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  <a:latin typeface="Arial"/>
              </a:rPr>
              <a:pPr/>
              <a:t>‹#›</a:t>
            </a:fld>
            <a:endParaRPr lang="en-US">
              <a:solidFill>
                <a:prstClr val="white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717074">
                    <a:tint val="75000"/>
                  </a:srgbClr>
                </a:solidFill>
              </a:rPr>
              <a:t>CONFIDENTIAL</a:t>
            </a:r>
            <a:endParaRPr lang="en-US" dirty="0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12808" y="1371600"/>
            <a:ext cx="10975658" cy="46451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2000"/>
            </a:lvl1pPr>
            <a:lvl2pPr marL="502920" indent="-228600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</a:lvl2pPr>
            <a:lvl3pPr marL="731520" indent="-182880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600"/>
            </a:lvl3pPr>
            <a:lvl4pPr marL="960120" indent="-182880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400"/>
            </a:lvl4pPr>
            <a:lvl5pPr marL="1188720" indent="-182880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/>
            </a:lvl5pPr>
            <a:lvl6pPr marL="1417320" indent="-182880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/>
            </a:lvl6pPr>
            <a:lvl7pPr marL="1645920" indent="-182880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/>
            </a:lvl7pPr>
            <a:lvl8pPr marL="1874520" indent="-182880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/>
            </a:lvl8pPr>
            <a:lvl9pPr marL="2103120" indent="-182880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/>
            </a:lvl9pPr>
          </a:lstStyle>
          <a:p>
            <a:pPr defTabSz="912388">
              <a:buClr>
                <a:srgbClr val="717074">
                  <a:lumMod val="60000"/>
                  <a:lumOff val="40000"/>
                </a:srgbClr>
              </a:buClr>
            </a:pPr>
            <a:r>
              <a:rPr lang="en-US" sz="1996" dirty="0">
                <a:solidFill>
                  <a:srgbClr val="717074"/>
                </a:solidFill>
              </a:rPr>
              <a:t>This presentation may contain product features that are currently under development.</a:t>
            </a:r>
          </a:p>
          <a:p>
            <a:pPr defTabSz="912388">
              <a:buClr>
                <a:srgbClr val="717074">
                  <a:lumMod val="60000"/>
                  <a:lumOff val="40000"/>
                </a:srgbClr>
              </a:buClr>
            </a:pPr>
            <a:r>
              <a:rPr lang="en-US" sz="1996" dirty="0">
                <a:solidFill>
                  <a:srgbClr val="717074"/>
                </a:solidFill>
              </a:rPr>
              <a:t>This overview of new technology represents no commitment from VMware to deliver these features in any generally available product.</a:t>
            </a:r>
          </a:p>
          <a:p>
            <a:pPr defTabSz="912388">
              <a:buClr>
                <a:srgbClr val="717074">
                  <a:lumMod val="60000"/>
                  <a:lumOff val="40000"/>
                </a:srgbClr>
              </a:buClr>
            </a:pPr>
            <a:r>
              <a:rPr lang="en-US" sz="1996" dirty="0">
                <a:solidFill>
                  <a:srgbClr val="717074"/>
                </a:solidFill>
              </a:rPr>
              <a:t>Features are subject to change, and must not be included in contracts, purchase orders, or sales agreements of any kind.</a:t>
            </a:r>
          </a:p>
          <a:p>
            <a:pPr defTabSz="912388">
              <a:buClr>
                <a:srgbClr val="717074">
                  <a:lumMod val="60000"/>
                  <a:lumOff val="40000"/>
                </a:srgbClr>
              </a:buClr>
            </a:pPr>
            <a:r>
              <a:rPr lang="en-US" sz="1996" dirty="0">
                <a:solidFill>
                  <a:srgbClr val="717074"/>
                </a:solidFill>
              </a:rPr>
              <a:t>Technical feasibility and market demand will affect final delivery.</a:t>
            </a:r>
          </a:p>
          <a:p>
            <a:pPr defTabSz="912388">
              <a:buClr>
                <a:srgbClr val="717074">
                  <a:lumMod val="60000"/>
                  <a:lumOff val="40000"/>
                </a:srgbClr>
              </a:buClr>
            </a:pPr>
            <a:r>
              <a:rPr lang="en-US" sz="1996" dirty="0">
                <a:solidFill>
                  <a:srgbClr val="717074"/>
                </a:solidFill>
              </a:rPr>
              <a:t>Pricing and packaging for any new technologies or features discussed or presented have not been determined. </a:t>
            </a:r>
          </a:p>
          <a:p>
            <a:pPr defTabSz="912388">
              <a:buClr>
                <a:srgbClr val="717074">
                  <a:lumMod val="60000"/>
                  <a:lumOff val="40000"/>
                </a:srgbClr>
              </a:buClr>
            </a:pPr>
            <a:endParaRPr lang="en-US" sz="1996" dirty="0">
              <a:solidFill>
                <a:srgbClr val="717074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12808" y="329184"/>
            <a:ext cx="10975658" cy="81381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800" b="1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2388"/>
            <a:r>
              <a:rPr lang="en-US" sz="2794" dirty="0">
                <a:solidFill>
                  <a:srgbClr val="387C2C"/>
                </a:solidFill>
              </a:rPr>
              <a:t>Disclaimer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330200"/>
            <a:ext cx="10972801" cy="8128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717074">
                    <a:tint val="75000"/>
                  </a:srgbClr>
                </a:solidFill>
              </a:rPr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1676400"/>
            <a:ext cx="10972801" cy="4343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1074401" y="6883401"/>
            <a:ext cx="1117600" cy="133350"/>
          </a:xfrm>
          <a:prstGeom prst="rect">
            <a:avLst/>
          </a:prstGeom>
        </p:spPr>
        <p:txBody>
          <a:bodyPr/>
          <a:lstStyle/>
          <a:p>
            <a:pPr defTabSz="912388"/>
            <a:endParaRPr lang="en-US">
              <a:solidFill>
                <a:srgbClr val="717074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717074">
                    <a:tint val="75000"/>
                  </a:srgbClr>
                </a:solidFill>
              </a:rPr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1206500"/>
            <a:ext cx="10972801" cy="304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796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1996">
                <a:solidFill>
                  <a:schemeClr val="accent4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1996">
                <a:solidFill>
                  <a:schemeClr val="accent4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1996">
                <a:solidFill>
                  <a:schemeClr val="accent4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1996">
                <a:solidFill>
                  <a:schemeClr val="accent4"/>
                </a:solidFill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buNone/>
              <a:defRPr sz="1996">
                <a:solidFill>
                  <a:schemeClr val="accent4"/>
                </a:solidFill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buNone/>
              <a:defRPr sz="1996">
                <a:solidFill>
                  <a:schemeClr val="accent4"/>
                </a:solidFill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buNone/>
              <a:defRPr sz="1996">
                <a:solidFill>
                  <a:schemeClr val="accent4"/>
                </a:solidFill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buNone/>
              <a:defRPr sz="1996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1074401" y="6883401"/>
            <a:ext cx="1117600" cy="133350"/>
          </a:xfrm>
          <a:prstGeom prst="rect">
            <a:avLst/>
          </a:prstGeom>
        </p:spPr>
        <p:txBody>
          <a:bodyPr/>
          <a:lstStyle/>
          <a:p>
            <a:pPr defTabSz="912388"/>
            <a:endParaRPr lang="en-US">
              <a:solidFill>
                <a:srgbClr val="717074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717074">
                    <a:tint val="75000"/>
                  </a:srgbClr>
                </a:solidFill>
              </a:rPr>
              <a:t>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1074401" y="6883401"/>
            <a:ext cx="1117600" cy="133350"/>
          </a:xfrm>
          <a:prstGeom prst="rect">
            <a:avLst/>
          </a:prstGeom>
        </p:spPr>
        <p:txBody>
          <a:bodyPr/>
          <a:lstStyle/>
          <a:p>
            <a:pPr defTabSz="912388"/>
            <a:endParaRPr lang="en-US">
              <a:solidFill>
                <a:srgbClr val="717074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717074">
                    <a:tint val="75000"/>
                  </a:srgbClr>
                </a:solidFill>
              </a:rPr>
              <a:t>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1219200"/>
            <a:ext cx="10972801" cy="304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796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1996">
                <a:solidFill>
                  <a:schemeClr val="accent4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1996">
                <a:solidFill>
                  <a:schemeClr val="accent4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1996">
                <a:solidFill>
                  <a:schemeClr val="accent4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1996">
                <a:solidFill>
                  <a:schemeClr val="accent4"/>
                </a:solidFill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buNone/>
              <a:defRPr sz="1996">
                <a:solidFill>
                  <a:schemeClr val="accent4"/>
                </a:solidFill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buNone/>
              <a:defRPr sz="1996">
                <a:solidFill>
                  <a:schemeClr val="accent4"/>
                </a:solidFill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buNone/>
              <a:defRPr sz="1996">
                <a:solidFill>
                  <a:schemeClr val="accent4"/>
                </a:solidFill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buNone/>
              <a:defRPr sz="1996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with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/>
        </p:nvGrpSpPr>
        <p:grpSpPr>
          <a:xfrm>
            <a:off x="618039" y="6446072"/>
            <a:ext cx="1100080" cy="173355"/>
            <a:chOff x="-84138" y="5622925"/>
            <a:chExt cx="4330701" cy="682626"/>
          </a:xfrm>
        </p:grpSpPr>
        <p:sp>
          <p:nvSpPr>
            <p:cNvPr id="15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17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18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19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0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1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14" y="1676400"/>
            <a:ext cx="6096000" cy="1524000"/>
          </a:xfrm>
        </p:spPr>
        <p:txBody>
          <a:bodyPr anchor="b"/>
          <a:lstStyle>
            <a:lvl1pPr algn="l">
              <a:defRPr sz="3600" b="1" cap="none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14" y="3276600"/>
            <a:ext cx="6096000" cy="6096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wipe dir="r"/>
      </p:transition>
    </mc:Choice>
    <mc:Fallback xmlns="">
      <p:transition xmlns:p14="http://schemas.microsoft.com/office/powerpoint/2010/main" spd="slow">
        <p:wipe dir="r"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6492453" y="0"/>
            <a:ext cx="5699547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4890" y="1676400"/>
            <a:ext cx="7315200" cy="1524000"/>
          </a:xfrm>
        </p:spPr>
        <p:txBody>
          <a:bodyPr anchor="b"/>
          <a:lstStyle>
            <a:lvl1pPr algn="l">
              <a:defRPr sz="3592" b="1" cap="none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599" y="3276600"/>
            <a:ext cx="7315200" cy="6096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996">
                <a:solidFill>
                  <a:schemeClr val="tx1"/>
                </a:solidFill>
              </a:defRPr>
            </a:lvl1pPr>
            <a:lvl2pPr marL="0" indent="0">
              <a:buNone/>
              <a:defRPr sz="1996">
                <a:solidFill>
                  <a:schemeClr val="accent4"/>
                </a:solidFill>
              </a:defRPr>
            </a:lvl2pPr>
            <a:lvl3pPr marL="0" indent="0">
              <a:buNone/>
              <a:defRPr sz="1996">
                <a:solidFill>
                  <a:schemeClr val="accent4"/>
                </a:solidFill>
              </a:defRPr>
            </a:lvl3pPr>
            <a:lvl4pPr marL="0" indent="0">
              <a:buNone/>
              <a:defRPr sz="1996">
                <a:solidFill>
                  <a:schemeClr val="accent4"/>
                </a:solidFill>
              </a:defRPr>
            </a:lvl4pPr>
            <a:lvl5pPr marL="0" indent="0">
              <a:buNone/>
              <a:defRPr sz="1996">
                <a:solidFill>
                  <a:schemeClr val="accent4"/>
                </a:solidFill>
              </a:defRPr>
            </a:lvl5pPr>
            <a:lvl6pPr marL="0" indent="0">
              <a:buNone/>
              <a:defRPr sz="1996">
                <a:solidFill>
                  <a:schemeClr val="accent4"/>
                </a:solidFill>
              </a:defRPr>
            </a:lvl6pPr>
            <a:lvl7pPr marL="0" indent="0">
              <a:buNone/>
              <a:defRPr sz="1996">
                <a:solidFill>
                  <a:schemeClr val="accent4"/>
                </a:solidFill>
              </a:defRPr>
            </a:lvl7pPr>
            <a:lvl8pPr marL="0" indent="0">
              <a:buNone/>
              <a:defRPr sz="1996">
                <a:solidFill>
                  <a:schemeClr val="accent4"/>
                </a:solidFill>
              </a:defRPr>
            </a:lvl8pPr>
            <a:lvl9pPr marL="0" indent="0">
              <a:buNone/>
              <a:defRPr sz="1996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with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1676400"/>
            <a:ext cx="6096000" cy="1524000"/>
          </a:xfrm>
        </p:spPr>
        <p:txBody>
          <a:bodyPr anchor="b"/>
          <a:lstStyle>
            <a:lvl1pPr algn="l">
              <a:defRPr sz="3592" b="1" cap="none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3276600"/>
            <a:ext cx="6096000" cy="6096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996">
                <a:solidFill>
                  <a:schemeClr val="tx1"/>
                </a:solidFill>
              </a:defRPr>
            </a:lvl1pPr>
            <a:lvl2pPr marL="0" indent="0">
              <a:buNone/>
              <a:defRPr sz="1996">
                <a:solidFill>
                  <a:schemeClr val="accent4"/>
                </a:solidFill>
              </a:defRPr>
            </a:lvl2pPr>
            <a:lvl3pPr marL="0" indent="0">
              <a:buNone/>
              <a:defRPr sz="1996">
                <a:solidFill>
                  <a:schemeClr val="accent4"/>
                </a:solidFill>
              </a:defRPr>
            </a:lvl3pPr>
            <a:lvl4pPr marL="0" indent="0">
              <a:buNone/>
              <a:defRPr sz="1996">
                <a:solidFill>
                  <a:schemeClr val="accent4"/>
                </a:solidFill>
              </a:defRPr>
            </a:lvl4pPr>
            <a:lvl5pPr marL="0" indent="0">
              <a:buNone/>
              <a:defRPr sz="1996">
                <a:solidFill>
                  <a:schemeClr val="accent4"/>
                </a:solidFill>
              </a:defRPr>
            </a:lvl5pPr>
            <a:lvl6pPr marL="0" indent="0">
              <a:buNone/>
              <a:defRPr sz="1996">
                <a:solidFill>
                  <a:schemeClr val="accent4"/>
                </a:solidFill>
              </a:defRPr>
            </a:lvl6pPr>
            <a:lvl7pPr marL="0" indent="0">
              <a:buNone/>
              <a:defRPr sz="1996">
                <a:solidFill>
                  <a:schemeClr val="accent4"/>
                </a:solidFill>
              </a:defRPr>
            </a:lvl7pPr>
            <a:lvl8pPr marL="0" indent="0">
              <a:buNone/>
              <a:defRPr sz="1996">
                <a:solidFill>
                  <a:schemeClr val="accent4"/>
                </a:solidFill>
              </a:defRPr>
            </a:lvl8pPr>
            <a:lvl9pPr marL="0" indent="0">
              <a:buNone/>
              <a:defRPr sz="1996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7" name="Group 4"/>
          <p:cNvGrpSpPr>
            <a:grpSpLocks noChangeAspect="1"/>
          </p:cNvGrpSpPr>
          <p:nvPr/>
        </p:nvGrpSpPr>
        <p:grpSpPr bwMode="auto">
          <a:xfrm>
            <a:off x="615656" y="6376993"/>
            <a:ext cx="1294203" cy="242475"/>
            <a:chOff x="-16" y="4944"/>
            <a:chExt cx="3223" cy="604"/>
          </a:xfrm>
          <a:solidFill>
            <a:schemeClr val="tx1"/>
          </a:solidFill>
        </p:grpSpPr>
        <p:sp>
          <p:nvSpPr>
            <p:cNvPr id="18" name="Freeform 5"/>
            <p:cNvSpPr>
              <a:spLocks/>
            </p:cNvSpPr>
            <p:nvPr/>
          </p:nvSpPr>
          <p:spPr bwMode="auto">
            <a:xfrm>
              <a:off x="1098" y="5116"/>
              <a:ext cx="612" cy="429"/>
            </a:xfrm>
            <a:custGeom>
              <a:avLst/>
              <a:gdLst>
                <a:gd name="T0" fmla="*/ 943 w 993"/>
                <a:gd name="T1" fmla="*/ 0 h 694"/>
                <a:gd name="T2" fmla="*/ 894 w 993"/>
                <a:gd name="T3" fmla="*/ 39 h 694"/>
                <a:gd name="T4" fmla="*/ 721 w 993"/>
                <a:gd name="T5" fmla="*/ 550 h 694"/>
                <a:gd name="T6" fmla="*/ 551 w 993"/>
                <a:gd name="T7" fmla="*/ 40 h 694"/>
                <a:gd name="T8" fmla="*/ 499 w 993"/>
                <a:gd name="T9" fmla="*/ 0 h 694"/>
                <a:gd name="T10" fmla="*/ 494 w 993"/>
                <a:gd name="T11" fmla="*/ 0 h 694"/>
                <a:gd name="T12" fmla="*/ 444 w 993"/>
                <a:gd name="T13" fmla="*/ 40 h 694"/>
                <a:gd name="T14" fmla="*/ 272 w 993"/>
                <a:gd name="T15" fmla="*/ 550 h 694"/>
                <a:gd name="T16" fmla="*/ 102 w 993"/>
                <a:gd name="T17" fmla="*/ 42 h 694"/>
                <a:gd name="T18" fmla="*/ 51 w 993"/>
                <a:gd name="T19" fmla="*/ 0 h 694"/>
                <a:gd name="T20" fmla="*/ 0 w 993"/>
                <a:gd name="T21" fmla="*/ 48 h 694"/>
                <a:gd name="T22" fmla="*/ 6 w 993"/>
                <a:gd name="T23" fmla="*/ 76 h 694"/>
                <a:gd name="T24" fmla="*/ 212 w 993"/>
                <a:gd name="T25" fmla="*/ 648 h 694"/>
                <a:gd name="T26" fmla="*/ 268 w 993"/>
                <a:gd name="T27" fmla="*/ 694 h 694"/>
                <a:gd name="T28" fmla="*/ 271 w 993"/>
                <a:gd name="T29" fmla="*/ 694 h 694"/>
                <a:gd name="T30" fmla="*/ 326 w 993"/>
                <a:gd name="T31" fmla="*/ 648 h 694"/>
                <a:gd name="T32" fmla="*/ 496 w 993"/>
                <a:gd name="T33" fmla="*/ 154 h 694"/>
                <a:gd name="T34" fmla="*/ 665 w 993"/>
                <a:gd name="T35" fmla="*/ 648 h 694"/>
                <a:gd name="T36" fmla="*/ 720 w 993"/>
                <a:gd name="T37" fmla="*/ 694 h 694"/>
                <a:gd name="T38" fmla="*/ 724 w 993"/>
                <a:gd name="T39" fmla="*/ 694 h 694"/>
                <a:gd name="T40" fmla="*/ 779 w 993"/>
                <a:gd name="T41" fmla="*/ 648 h 694"/>
                <a:gd name="T42" fmla="*/ 986 w 993"/>
                <a:gd name="T43" fmla="*/ 74 h 694"/>
                <a:gd name="T44" fmla="*/ 993 w 993"/>
                <a:gd name="T45" fmla="*/ 47 h 694"/>
                <a:gd name="T46" fmla="*/ 943 w 993"/>
                <a:gd name="T47" fmla="*/ 0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93" h="694">
                  <a:moveTo>
                    <a:pt x="943" y="0"/>
                  </a:moveTo>
                  <a:cubicBezTo>
                    <a:pt x="915" y="0"/>
                    <a:pt x="901" y="18"/>
                    <a:pt x="894" y="39"/>
                  </a:cubicBezTo>
                  <a:cubicBezTo>
                    <a:pt x="721" y="550"/>
                    <a:pt x="721" y="550"/>
                    <a:pt x="721" y="550"/>
                  </a:cubicBezTo>
                  <a:cubicBezTo>
                    <a:pt x="551" y="40"/>
                    <a:pt x="551" y="40"/>
                    <a:pt x="551" y="40"/>
                  </a:cubicBezTo>
                  <a:cubicBezTo>
                    <a:pt x="543" y="17"/>
                    <a:pt x="526" y="0"/>
                    <a:pt x="499" y="0"/>
                  </a:cubicBezTo>
                  <a:cubicBezTo>
                    <a:pt x="494" y="0"/>
                    <a:pt x="494" y="0"/>
                    <a:pt x="494" y="0"/>
                  </a:cubicBezTo>
                  <a:cubicBezTo>
                    <a:pt x="467" y="0"/>
                    <a:pt x="452" y="17"/>
                    <a:pt x="444" y="40"/>
                  </a:cubicBezTo>
                  <a:cubicBezTo>
                    <a:pt x="272" y="550"/>
                    <a:pt x="272" y="550"/>
                    <a:pt x="272" y="550"/>
                  </a:cubicBezTo>
                  <a:cubicBezTo>
                    <a:pt x="102" y="42"/>
                    <a:pt x="102" y="42"/>
                    <a:pt x="102" y="42"/>
                  </a:cubicBezTo>
                  <a:cubicBezTo>
                    <a:pt x="94" y="17"/>
                    <a:pt x="77" y="0"/>
                    <a:pt x="51" y="0"/>
                  </a:cubicBezTo>
                  <a:cubicBezTo>
                    <a:pt x="21" y="0"/>
                    <a:pt x="0" y="23"/>
                    <a:pt x="0" y="48"/>
                  </a:cubicBezTo>
                  <a:cubicBezTo>
                    <a:pt x="0" y="57"/>
                    <a:pt x="4" y="68"/>
                    <a:pt x="6" y="76"/>
                  </a:cubicBezTo>
                  <a:cubicBezTo>
                    <a:pt x="212" y="648"/>
                    <a:pt x="212" y="648"/>
                    <a:pt x="212" y="648"/>
                  </a:cubicBezTo>
                  <a:cubicBezTo>
                    <a:pt x="222" y="678"/>
                    <a:pt x="243" y="694"/>
                    <a:pt x="268" y="694"/>
                  </a:cubicBezTo>
                  <a:cubicBezTo>
                    <a:pt x="271" y="694"/>
                    <a:pt x="271" y="694"/>
                    <a:pt x="271" y="694"/>
                  </a:cubicBezTo>
                  <a:cubicBezTo>
                    <a:pt x="297" y="694"/>
                    <a:pt x="317" y="678"/>
                    <a:pt x="326" y="648"/>
                  </a:cubicBezTo>
                  <a:cubicBezTo>
                    <a:pt x="496" y="154"/>
                    <a:pt x="496" y="154"/>
                    <a:pt x="496" y="154"/>
                  </a:cubicBezTo>
                  <a:cubicBezTo>
                    <a:pt x="665" y="648"/>
                    <a:pt x="665" y="648"/>
                    <a:pt x="665" y="648"/>
                  </a:cubicBezTo>
                  <a:cubicBezTo>
                    <a:pt x="674" y="678"/>
                    <a:pt x="694" y="694"/>
                    <a:pt x="720" y="694"/>
                  </a:cubicBezTo>
                  <a:cubicBezTo>
                    <a:pt x="724" y="694"/>
                    <a:pt x="724" y="694"/>
                    <a:pt x="724" y="694"/>
                  </a:cubicBezTo>
                  <a:cubicBezTo>
                    <a:pt x="748" y="694"/>
                    <a:pt x="769" y="678"/>
                    <a:pt x="779" y="648"/>
                  </a:cubicBezTo>
                  <a:cubicBezTo>
                    <a:pt x="986" y="74"/>
                    <a:pt x="986" y="74"/>
                    <a:pt x="986" y="74"/>
                  </a:cubicBezTo>
                  <a:cubicBezTo>
                    <a:pt x="989" y="67"/>
                    <a:pt x="993" y="56"/>
                    <a:pt x="993" y="47"/>
                  </a:cubicBezTo>
                  <a:cubicBezTo>
                    <a:pt x="993" y="22"/>
                    <a:pt x="972" y="0"/>
                    <a:pt x="943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19" name="Freeform 6"/>
            <p:cNvSpPr>
              <a:spLocks noEditPoints="1"/>
            </p:cNvSpPr>
            <p:nvPr/>
          </p:nvSpPr>
          <p:spPr bwMode="auto">
            <a:xfrm>
              <a:off x="1720" y="5111"/>
              <a:ext cx="417" cy="437"/>
            </a:xfrm>
            <a:custGeom>
              <a:avLst/>
              <a:gdLst>
                <a:gd name="T0" fmla="*/ 340 w 678"/>
                <a:gd name="T1" fmla="*/ 0 h 707"/>
                <a:gd name="T2" fmla="*/ 0 w 678"/>
                <a:gd name="T3" fmla="*/ 354 h 707"/>
                <a:gd name="T4" fmla="*/ 0 w 678"/>
                <a:gd name="T5" fmla="*/ 356 h 707"/>
                <a:gd name="T6" fmla="*/ 337 w 678"/>
                <a:gd name="T7" fmla="*/ 707 h 707"/>
                <a:gd name="T8" fmla="*/ 678 w 678"/>
                <a:gd name="T9" fmla="*/ 354 h 707"/>
                <a:gd name="T10" fmla="*/ 678 w 678"/>
                <a:gd name="T11" fmla="*/ 351 h 707"/>
                <a:gd name="T12" fmla="*/ 340 w 678"/>
                <a:gd name="T13" fmla="*/ 0 h 707"/>
                <a:gd name="T14" fmla="*/ 575 w 678"/>
                <a:gd name="T15" fmla="*/ 356 h 707"/>
                <a:gd name="T16" fmla="*/ 340 w 678"/>
                <a:gd name="T17" fmla="*/ 631 h 707"/>
                <a:gd name="T18" fmla="*/ 103 w 678"/>
                <a:gd name="T19" fmla="*/ 354 h 707"/>
                <a:gd name="T20" fmla="*/ 103 w 678"/>
                <a:gd name="T21" fmla="*/ 351 h 707"/>
                <a:gd name="T22" fmla="*/ 337 w 678"/>
                <a:gd name="T23" fmla="*/ 75 h 707"/>
                <a:gd name="T24" fmla="*/ 575 w 678"/>
                <a:gd name="T25" fmla="*/ 354 h 707"/>
                <a:gd name="T26" fmla="*/ 575 w 678"/>
                <a:gd name="T27" fmla="*/ 356 h 7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78" h="707">
                  <a:moveTo>
                    <a:pt x="340" y="0"/>
                  </a:moveTo>
                  <a:cubicBezTo>
                    <a:pt x="135" y="0"/>
                    <a:pt x="0" y="162"/>
                    <a:pt x="0" y="354"/>
                  </a:cubicBezTo>
                  <a:cubicBezTo>
                    <a:pt x="0" y="356"/>
                    <a:pt x="0" y="356"/>
                    <a:pt x="0" y="356"/>
                  </a:cubicBezTo>
                  <a:cubicBezTo>
                    <a:pt x="0" y="548"/>
                    <a:pt x="134" y="707"/>
                    <a:pt x="337" y="707"/>
                  </a:cubicBezTo>
                  <a:cubicBezTo>
                    <a:pt x="541" y="707"/>
                    <a:pt x="678" y="545"/>
                    <a:pt x="678" y="354"/>
                  </a:cubicBezTo>
                  <a:cubicBezTo>
                    <a:pt x="678" y="351"/>
                    <a:pt x="678" y="351"/>
                    <a:pt x="678" y="351"/>
                  </a:cubicBezTo>
                  <a:cubicBezTo>
                    <a:pt x="678" y="160"/>
                    <a:pt x="543" y="0"/>
                    <a:pt x="340" y="0"/>
                  </a:cubicBezTo>
                  <a:moveTo>
                    <a:pt x="575" y="356"/>
                  </a:moveTo>
                  <a:cubicBezTo>
                    <a:pt x="575" y="499"/>
                    <a:pt x="486" y="631"/>
                    <a:pt x="340" y="631"/>
                  </a:cubicBezTo>
                  <a:cubicBezTo>
                    <a:pt x="197" y="631"/>
                    <a:pt x="103" y="499"/>
                    <a:pt x="103" y="354"/>
                  </a:cubicBezTo>
                  <a:cubicBezTo>
                    <a:pt x="103" y="351"/>
                    <a:pt x="103" y="351"/>
                    <a:pt x="103" y="351"/>
                  </a:cubicBezTo>
                  <a:cubicBezTo>
                    <a:pt x="103" y="208"/>
                    <a:pt x="190" y="75"/>
                    <a:pt x="337" y="75"/>
                  </a:cubicBezTo>
                  <a:cubicBezTo>
                    <a:pt x="480" y="75"/>
                    <a:pt x="575" y="208"/>
                    <a:pt x="575" y="354"/>
                  </a:cubicBezTo>
                  <a:lnTo>
                    <a:pt x="575" y="3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20" name="Freeform 7"/>
            <p:cNvSpPr>
              <a:spLocks/>
            </p:cNvSpPr>
            <p:nvPr/>
          </p:nvSpPr>
          <p:spPr bwMode="auto">
            <a:xfrm>
              <a:off x="2198" y="5115"/>
              <a:ext cx="236" cy="428"/>
            </a:xfrm>
            <a:custGeom>
              <a:avLst/>
              <a:gdLst>
                <a:gd name="T0" fmla="*/ 334 w 384"/>
                <a:gd name="T1" fmla="*/ 0 h 693"/>
                <a:gd name="T2" fmla="*/ 101 w 384"/>
                <a:gd name="T3" fmla="*/ 181 h 693"/>
                <a:gd name="T4" fmla="*/ 101 w 384"/>
                <a:gd name="T5" fmla="*/ 54 h 693"/>
                <a:gd name="T6" fmla="*/ 50 w 384"/>
                <a:gd name="T7" fmla="*/ 3 h 693"/>
                <a:gd name="T8" fmla="*/ 0 w 384"/>
                <a:gd name="T9" fmla="*/ 54 h 693"/>
                <a:gd name="T10" fmla="*/ 0 w 384"/>
                <a:gd name="T11" fmla="*/ 642 h 693"/>
                <a:gd name="T12" fmla="*/ 51 w 384"/>
                <a:gd name="T13" fmla="*/ 693 h 693"/>
                <a:gd name="T14" fmla="*/ 101 w 384"/>
                <a:gd name="T15" fmla="*/ 642 h 693"/>
                <a:gd name="T16" fmla="*/ 101 w 384"/>
                <a:gd name="T17" fmla="*/ 412 h 693"/>
                <a:gd name="T18" fmla="*/ 339 w 384"/>
                <a:gd name="T19" fmla="*/ 102 h 693"/>
                <a:gd name="T20" fmla="*/ 384 w 384"/>
                <a:gd name="T21" fmla="*/ 51 h 693"/>
                <a:gd name="T22" fmla="*/ 334 w 384"/>
                <a:gd name="T23" fmla="*/ 0 h 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4" h="693">
                  <a:moveTo>
                    <a:pt x="334" y="0"/>
                  </a:moveTo>
                  <a:cubicBezTo>
                    <a:pt x="249" y="0"/>
                    <a:pt x="151" y="68"/>
                    <a:pt x="101" y="181"/>
                  </a:cubicBezTo>
                  <a:cubicBezTo>
                    <a:pt x="101" y="54"/>
                    <a:pt x="101" y="54"/>
                    <a:pt x="101" y="54"/>
                  </a:cubicBezTo>
                  <a:cubicBezTo>
                    <a:pt x="101" y="25"/>
                    <a:pt x="79" y="3"/>
                    <a:pt x="50" y="3"/>
                  </a:cubicBezTo>
                  <a:cubicBezTo>
                    <a:pt x="22" y="3"/>
                    <a:pt x="0" y="26"/>
                    <a:pt x="0" y="54"/>
                  </a:cubicBezTo>
                  <a:cubicBezTo>
                    <a:pt x="0" y="642"/>
                    <a:pt x="0" y="642"/>
                    <a:pt x="0" y="642"/>
                  </a:cubicBezTo>
                  <a:cubicBezTo>
                    <a:pt x="0" y="671"/>
                    <a:pt x="22" y="693"/>
                    <a:pt x="51" y="693"/>
                  </a:cubicBezTo>
                  <a:cubicBezTo>
                    <a:pt x="80" y="693"/>
                    <a:pt x="101" y="670"/>
                    <a:pt x="101" y="642"/>
                  </a:cubicBezTo>
                  <a:cubicBezTo>
                    <a:pt x="101" y="412"/>
                    <a:pt x="101" y="412"/>
                    <a:pt x="101" y="412"/>
                  </a:cubicBezTo>
                  <a:cubicBezTo>
                    <a:pt x="101" y="216"/>
                    <a:pt x="208" y="118"/>
                    <a:pt x="339" y="102"/>
                  </a:cubicBezTo>
                  <a:cubicBezTo>
                    <a:pt x="365" y="98"/>
                    <a:pt x="384" y="79"/>
                    <a:pt x="384" y="51"/>
                  </a:cubicBezTo>
                  <a:cubicBezTo>
                    <a:pt x="384" y="22"/>
                    <a:pt x="364" y="0"/>
                    <a:pt x="33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auto">
            <a:xfrm>
              <a:off x="2500" y="4944"/>
              <a:ext cx="63" cy="599"/>
            </a:xfrm>
            <a:custGeom>
              <a:avLst/>
              <a:gdLst>
                <a:gd name="T0" fmla="*/ 49 w 101"/>
                <a:gd name="T1" fmla="*/ 0 h 969"/>
                <a:gd name="T2" fmla="*/ 0 w 101"/>
                <a:gd name="T3" fmla="*/ 51 h 969"/>
                <a:gd name="T4" fmla="*/ 0 w 101"/>
                <a:gd name="T5" fmla="*/ 918 h 969"/>
                <a:gd name="T6" fmla="*/ 51 w 101"/>
                <a:gd name="T7" fmla="*/ 969 h 969"/>
                <a:gd name="T8" fmla="*/ 101 w 101"/>
                <a:gd name="T9" fmla="*/ 918 h 969"/>
                <a:gd name="T10" fmla="*/ 101 w 101"/>
                <a:gd name="T11" fmla="*/ 51 h 969"/>
                <a:gd name="T12" fmla="*/ 49 w 101"/>
                <a:gd name="T13" fmla="*/ 0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" h="969">
                  <a:moveTo>
                    <a:pt x="49" y="0"/>
                  </a:moveTo>
                  <a:cubicBezTo>
                    <a:pt x="22" y="0"/>
                    <a:pt x="0" y="23"/>
                    <a:pt x="0" y="51"/>
                  </a:cubicBezTo>
                  <a:cubicBezTo>
                    <a:pt x="0" y="918"/>
                    <a:pt x="0" y="918"/>
                    <a:pt x="0" y="918"/>
                  </a:cubicBezTo>
                  <a:cubicBezTo>
                    <a:pt x="0" y="947"/>
                    <a:pt x="22" y="969"/>
                    <a:pt x="51" y="969"/>
                  </a:cubicBezTo>
                  <a:cubicBezTo>
                    <a:pt x="80" y="969"/>
                    <a:pt x="101" y="947"/>
                    <a:pt x="101" y="918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3"/>
                    <a:pt x="78" y="0"/>
                    <a:pt x="4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33" name="Freeform 9"/>
            <p:cNvSpPr>
              <a:spLocks noEditPoints="1"/>
            </p:cNvSpPr>
            <p:nvPr/>
          </p:nvSpPr>
          <p:spPr bwMode="auto">
            <a:xfrm>
              <a:off x="2626" y="4944"/>
              <a:ext cx="421" cy="604"/>
            </a:xfrm>
            <a:custGeom>
              <a:avLst/>
              <a:gdLst>
                <a:gd name="T0" fmla="*/ 633 w 684"/>
                <a:gd name="T1" fmla="*/ 0 h 977"/>
                <a:gd name="T2" fmla="*/ 583 w 684"/>
                <a:gd name="T3" fmla="*/ 51 h 977"/>
                <a:gd name="T4" fmla="*/ 583 w 684"/>
                <a:gd name="T5" fmla="*/ 415 h 977"/>
                <a:gd name="T6" fmla="*/ 324 w 684"/>
                <a:gd name="T7" fmla="*/ 271 h 977"/>
                <a:gd name="T8" fmla="*/ 0 w 684"/>
                <a:gd name="T9" fmla="*/ 623 h 977"/>
                <a:gd name="T10" fmla="*/ 0 w 684"/>
                <a:gd name="T11" fmla="*/ 626 h 977"/>
                <a:gd name="T12" fmla="*/ 324 w 684"/>
                <a:gd name="T13" fmla="*/ 977 h 977"/>
                <a:gd name="T14" fmla="*/ 583 w 684"/>
                <a:gd name="T15" fmla="*/ 826 h 977"/>
                <a:gd name="T16" fmla="*/ 583 w 684"/>
                <a:gd name="T17" fmla="*/ 918 h 977"/>
                <a:gd name="T18" fmla="*/ 634 w 684"/>
                <a:gd name="T19" fmla="*/ 969 h 977"/>
                <a:gd name="T20" fmla="*/ 684 w 684"/>
                <a:gd name="T21" fmla="*/ 918 h 977"/>
                <a:gd name="T22" fmla="*/ 684 w 684"/>
                <a:gd name="T23" fmla="*/ 51 h 977"/>
                <a:gd name="T24" fmla="*/ 633 w 684"/>
                <a:gd name="T25" fmla="*/ 0 h 977"/>
                <a:gd name="T26" fmla="*/ 587 w 684"/>
                <a:gd name="T27" fmla="*/ 625 h 977"/>
                <a:gd name="T28" fmla="*/ 342 w 684"/>
                <a:gd name="T29" fmla="*/ 887 h 977"/>
                <a:gd name="T30" fmla="*/ 104 w 684"/>
                <a:gd name="T31" fmla="*/ 625 h 977"/>
                <a:gd name="T32" fmla="*/ 104 w 684"/>
                <a:gd name="T33" fmla="*/ 622 h 977"/>
                <a:gd name="T34" fmla="*/ 342 w 684"/>
                <a:gd name="T35" fmla="*/ 361 h 977"/>
                <a:gd name="T36" fmla="*/ 587 w 684"/>
                <a:gd name="T37" fmla="*/ 622 h 977"/>
                <a:gd name="T38" fmla="*/ 587 w 684"/>
                <a:gd name="T39" fmla="*/ 625 h 9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84" h="977">
                  <a:moveTo>
                    <a:pt x="633" y="0"/>
                  </a:moveTo>
                  <a:cubicBezTo>
                    <a:pt x="604" y="0"/>
                    <a:pt x="583" y="22"/>
                    <a:pt x="583" y="51"/>
                  </a:cubicBezTo>
                  <a:cubicBezTo>
                    <a:pt x="583" y="415"/>
                    <a:pt x="583" y="415"/>
                    <a:pt x="583" y="415"/>
                  </a:cubicBezTo>
                  <a:cubicBezTo>
                    <a:pt x="531" y="339"/>
                    <a:pt x="450" y="271"/>
                    <a:pt x="324" y="271"/>
                  </a:cubicBezTo>
                  <a:cubicBezTo>
                    <a:pt x="161" y="271"/>
                    <a:pt x="0" y="402"/>
                    <a:pt x="0" y="623"/>
                  </a:cubicBezTo>
                  <a:cubicBezTo>
                    <a:pt x="0" y="626"/>
                    <a:pt x="0" y="626"/>
                    <a:pt x="0" y="626"/>
                  </a:cubicBezTo>
                  <a:cubicBezTo>
                    <a:pt x="0" y="849"/>
                    <a:pt x="161" y="977"/>
                    <a:pt x="324" y="977"/>
                  </a:cubicBezTo>
                  <a:cubicBezTo>
                    <a:pt x="448" y="977"/>
                    <a:pt x="528" y="908"/>
                    <a:pt x="583" y="826"/>
                  </a:cubicBezTo>
                  <a:cubicBezTo>
                    <a:pt x="583" y="918"/>
                    <a:pt x="583" y="918"/>
                    <a:pt x="583" y="918"/>
                  </a:cubicBezTo>
                  <a:cubicBezTo>
                    <a:pt x="583" y="947"/>
                    <a:pt x="605" y="969"/>
                    <a:pt x="634" y="969"/>
                  </a:cubicBezTo>
                  <a:cubicBezTo>
                    <a:pt x="662" y="969"/>
                    <a:pt x="684" y="947"/>
                    <a:pt x="684" y="918"/>
                  </a:cubicBezTo>
                  <a:cubicBezTo>
                    <a:pt x="684" y="51"/>
                    <a:pt x="684" y="51"/>
                    <a:pt x="684" y="51"/>
                  </a:cubicBezTo>
                  <a:cubicBezTo>
                    <a:pt x="684" y="22"/>
                    <a:pt x="662" y="0"/>
                    <a:pt x="633" y="0"/>
                  </a:cubicBezTo>
                  <a:moveTo>
                    <a:pt x="587" y="625"/>
                  </a:moveTo>
                  <a:cubicBezTo>
                    <a:pt x="587" y="780"/>
                    <a:pt x="468" y="887"/>
                    <a:pt x="342" y="887"/>
                  </a:cubicBezTo>
                  <a:cubicBezTo>
                    <a:pt x="215" y="887"/>
                    <a:pt x="104" y="784"/>
                    <a:pt x="104" y="625"/>
                  </a:cubicBezTo>
                  <a:cubicBezTo>
                    <a:pt x="104" y="622"/>
                    <a:pt x="104" y="622"/>
                    <a:pt x="104" y="622"/>
                  </a:cubicBezTo>
                  <a:cubicBezTo>
                    <a:pt x="104" y="458"/>
                    <a:pt x="211" y="361"/>
                    <a:pt x="342" y="361"/>
                  </a:cubicBezTo>
                  <a:cubicBezTo>
                    <a:pt x="468" y="361"/>
                    <a:pt x="587" y="466"/>
                    <a:pt x="587" y="622"/>
                  </a:cubicBezTo>
                  <a:lnTo>
                    <a:pt x="587" y="6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34" name="Freeform 10"/>
            <p:cNvSpPr>
              <a:spLocks/>
            </p:cNvSpPr>
            <p:nvPr/>
          </p:nvSpPr>
          <p:spPr bwMode="auto">
            <a:xfrm>
              <a:off x="-16" y="5101"/>
              <a:ext cx="1087" cy="447"/>
            </a:xfrm>
            <a:custGeom>
              <a:avLst/>
              <a:gdLst>
                <a:gd name="T0" fmla="*/ 1524 w 1764"/>
                <a:gd name="T1" fmla="*/ 13 h 724"/>
                <a:gd name="T2" fmla="*/ 1311 w 1764"/>
                <a:gd name="T3" fmla="*/ 104 h 724"/>
                <a:gd name="T4" fmla="*/ 1106 w 1764"/>
                <a:gd name="T5" fmla="*/ 13 h 724"/>
                <a:gd name="T6" fmla="*/ 904 w 1764"/>
                <a:gd name="T7" fmla="*/ 104 h 724"/>
                <a:gd name="T8" fmla="*/ 725 w 1764"/>
                <a:gd name="T9" fmla="*/ 13 h 724"/>
                <a:gd name="T10" fmla="*/ 508 w 1764"/>
                <a:gd name="T11" fmla="*/ 161 h 724"/>
                <a:gd name="T12" fmla="*/ 372 w 1764"/>
                <a:gd name="T13" fmla="*/ 482 h 724"/>
                <a:gd name="T14" fmla="*/ 197 w 1764"/>
                <a:gd name="T15" fmla="*/ 70 h 724"/>
                <a:gd name="T16" fmla="*/ 70 w 1764"/>
                <a:gd name="T17" fmla="*/ 22 h 724"/>
                <a:gd name="T18" fmla="*/ 23 w 1764"/>
                <a:gd name="T19" fmla="*/ 150 h 724"/>
                <a:gd name="T20" fmla="*/ 236 w 1764"/>
                <a:gd name="T21" fmla="*/ 613 h 724"/>
                <a:gd name="T22" fmla="*/ 372 w 1764"/>
                <a:gd name="T23" fmla="*/ 724 h 724"/>
                <a:gd name="T24" fmla="*/ 507 w 1764"/>
                <a:gd name="T25" fmla="*/ 613 h 724"/>
                <a:gd name="T26" fmla="*/ 695 w 1764"/>
                <a:gd name="T27" fmla="*/ 204 h 724"/>
                <a:gd name="T28" fmla="*/ 722 w 1764"/>
                <a:gd name="T29" fmla="*/ 187 h 724"/>
                <a:gd name="T30" fmla="*/ 751 w 1764"/>
                <a:gd name="T31" fmla="*/ 217 h 724"/>
                <a:gd name="T32" fmla="*/ 751 w 1764"/>
                <a:gd name="T33" fmla="*/ 613 h 724"/>
                <a:gd name="T34" fmla="*/ 850 w 1764"/>
                <a:gd name="T35" fmla="*/ 724 h 724"/>
                <a:gd name="T36" fmla="*/ 951 w 1764"/>
                <a:gd name="T37" fmla="*/ 613 h 724"/>
                <a:gd name="T38" fmla="*/ 951 w 1764"/>
                <a:gd name="T39" fmla="*/ 289 h 724"/>
                <a:gd name="T40" fmla="*/ 1056 w 1764"/>
                <a:gd name="T41" fmla="*/ 186 h 724"/>
                <a:gd name="T42" fmla="*/ 1158 w 1764"/>
                <a:gd name="T43" fmla="*/ 289 h 724"/>
                <a:gd name="T44" fmla="*/ 1158 w 1764"/>
                <a:gd name="T45" fmla="*/ 613 h 724"/>
                <a:gd name="T46" fmla="*/ 1257 w 1764"/>
                <a:gd name="T47" fmla="*/ 724 h 724"/>
                <a:gd name="T48" fmla="*/ 1358 w 1764"/>
                <a:gd name="T49" fmla="*/ 613 h 724"/>
                <a:gd name="T50" fmla="*/ 1358 w 1764"/>
                <a:gd name="T51" fmla="*/ 289 h 724"/>
                <a:gd name="T52" fmla="*/ 1463 w 1764"/>
                <a:gd name="T53" fmla="*/ 186 h 724"/>
                <a:gd name="T54" fmla="*/ 1565 w 1764"/>
                <a:gd name="T55" fmla="*/ 289 h 724"/>
                <a:gd name="T56" fmla="*/ 1565 w 1764"/>
                <a:gd name="T57" fmla="*/ 613 h 724"/>
                <a:gd name="T58" fmla="*/ 1664 w 1764"/>
                <a:gd name="T59" fmla="*/ 724 h 724"/>
                <a:gd name="T60" fmla="*/ 1764 w 1764"/>
                <a:gd name="T61" fmla="*/ 613 h 724"/>
                <a:gd name="T62" fmla="*/ 1764 w 1764"/>
                <a:gd name="T63" fmla="*/ 244 h 724"/>
                <a:gd name="T64" fmla="*/ 1524 w 1764"/>
                <a:gd name="T65" fmla="*/ 13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64" h="724">
                  <a:moveTo>
                    <a:pt x="1524" y="13"/>
                  </a:moveTo>
                  <a:cubicBezTo>
                    <a:pt x="1393" y="13"/>
                    <a:pt x="1311" y="104"/>
                    <a:pt x="1311" y="104"/>
                  </a:cubicBezTo>
                  <a:cubicBezTo>
                    <a:pt x="1267" y="47"/>
                    <a:pt x="1207" y="13"/>
                    <a:pt x="1106" y="13"/>
                  </a:cubicBezTo>
                  <a:cubicBezTo>
                    <a:pt x="998" y="13"/>
                    <a:pt x="904" y="104"/>
                    <a:pt x="904" y="104"/>
                  </a:cubicBezTo>
                  <a:cubicBezTo>
                    <a:pt x="861" y="47"/>
                    <a:pt x="786" y="13"/>
                    <a:pt x="725" y="13"/>
                  </a:cubicBezTo>
                  <a:cubicBezTo>
                    <a:pt x="630" y="13"/>
                    <a:pt x="554" y="55"/>
                    <a:pt x="508" y="161"/>
                  </a:cubicBezTo>
                  <a:cubicBezTo>
                    <a:pt x="372" y="482"/>
                    <a:pt x="372" y="482"/>
                    <a:pt x="372" y="482"/>
                  </a:cubicBezTo>
                  <a:cubicBezTo>
                    <a:pt x="197" y="70"/>
                    <a:pt x="197" y="70"/>
                    <a:pt x="197" y="70"/>
                  </a:cubicBezTo>
                  <a:cubicBezTo>
                    <a:pt x="175" y="22"/>
                    <a:pt x="121" y="0"/>
                    <a:pt x="70" y="22"/>
                  </a:cubicBezTo>
                  <a:cubicBezTo>
                    <a:pt x="19" y="45"/>
                    <a:pt x="0" y="101"/>
                    <a:pt x="23" y="150"/>
                  </a:cubicBezTo>
                  <a:cubicBezTo>
                    <a:pt x="236" y="613"/>
                    <a:pt x="236" y="613"/>
                    <a:pt x="236" y="613"/>
                  </a:cubicBezTo>
                  <a:cubicBezTo>
                    <a:pt x="270" y="686"/>
                    <a:pt x="305" y="724"/>
                    <a:pt x="372" y="724"/>
                  </a:cubicBezTo>
                  <a:cubicBezTo>
                    <a:pt x="443" y="724"/>
                    <a:pt x="474" y="683"/>
                    <a:pt x="507" y="613"/>
                  </a:cubicBezTo>
                  <a:cubicBezTo>
                    <a:pt x="507" y="613"/>
                    <a:pt x="693" y="208"/>
                    <a:pt x="695" y="204"/>
                  </a:cubicBezTo>
                  <a:cubicBezTo>
                    <a:pt x="697" y="200"/>
                    <a:pt x="703" y="186"/>
                    <a:pt x="722" y="187"/>
                  </a:cubicBezTo>
                  <a:cubicBezTo>
                    <a:pt x="738" y="187"/>
                    <a:pt x="751" y="199"/>
                    <a:pt x="751" y="217"/>
                  </a:cubicBezTo>
                  <a:cubicBezTo>
                    <a:pt x="751" y="613"/>
                    <a:pt x="751" y="613"/>
                    <a:pt x="751" y="613"/>
                  </a:cubicBezTo>
                  <a:cubicBezTo>
                    <a:pt x="751" y="674"/>
                    <a:pt x="785" y="724"/>
                    <a:pt x="850" y="724"/>
                  </a:cubicBezTo>
                  <a:cubicBezTo>
                    <a:pt x="915" y="724"/>
                    <a:pt x="951" y="674"/>
                    <a:pt x="951" y="613"/>
                  </a:cubicBezTo>
                  <a:cubicBezTo>
                    <a:pt x="951" y="289"/>
                    <a:pt x="951" y="289"/>
                    <a:pt x="951" y="289"/>
                  </a:cubicBezTo>
                  <a:cubicBezTo>
                    <a:pt x="951" y="226"/>
                    <a:pt x="995" y="186"/>
                    <a:pt x="1056" y="186"/>
                  </a:cubicBezTo>
                  <a:cubicBezTo>
                    <a:pt x="1118" y="186"/>
                    <a:pt x="1158" y="228"/>
                    <a:pt x="1158" y="289"/>
                  </a:cubicBezTo>
                  <a:cubicBezTo>
                    <a:pt x="1158" y="613"/>
                    <a:pt x="1158" y="613"/>
                    <a:pt x="1158" y="613"/>
                  </a:cubicBezTo>
                  <a:cubicBezTo>
                    <a:pt x="1158" y="674"/>
                    <a:pt x="1192" y="724"/>
                    <a:pt x="1257" y="724"/>
                  </a:cubicBezTo>
                  <a:cubicBezTo>
                    <a:pt x="1322" y="724"/>
                    <a:pt x="1358" y="674"/>
                    <a:pt x="1358" y="613"/>
                  </a:cubicBezTo>
                  <a:cubicBezTo>
                    <a:pt x="1358" y="289"/>
                    <a:pt x="1358" y="289"/>
                    <a:pt x="1358" y="289"/>
                  </a:cubicBezTo>
                  <a:cubicBezTo>
                    <a:pt x="1358" y="226"/>
                    <a:pt x="1402" y="186"/>
                    <a:pt x="1463" y="186"/>
                  </a:cubicBezTo>
                  <a:cubicBezTo>
                    <a:pt x="1524" y="186"/>
                    <a:pt x="1565" y="228"/>
                    <a:pt x="1565" y="289"/>
                  </a:cubicBezTo>
                  <a:cubicBezTo>
                    <a:pt x="1565" y="613"/>
                    <a:pt x="1565" y="613"/>
                    <a:pt x="1565" y="613"/>
                  </a:cubicBezTo>
                  <a:cubicBezTo>
                    <a:pt x="1565" y="674"/>
                    <a:pt x="1599" y="724"/>
                    <a:pt x="1664" y="724"/>
                  </a:cubicBezTo>
                  <a:cubicBezTo>
                    <a:pt x="1729" y="724"/>
                    <a:pt x="1764" y="674"/>
                    <a:pt x="1764" y="613"/>
                  </a:cubicBezTo>
                  <a:cubicBezTo>
                    <a:pt x="1764" y="244"/>
                    <a:pt x="1764" y="244"/>
                    <a:pt x="1764" y="244"/>
                  </a:cubicBezTo>
                  <a:cubicBezTo>
                    <a:pt x="1764" y="108"/>
                    <a:pt x="1655" y="13"/>
                    <a:pt x="1524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35" name="Freeform 11"/>
            <p:cNvSpPr>
              <a:spLocks noEditPoints="1"/>
            </p:cNvSpPr>
            <p:nvPr/>
          </p:nvSpPr>
          <p:spPr bwMode="auto">
            <a:xfrm>
              <a:off x="3104" y="4944"/>
              <a:ext cx="103" cy="103"/>
            </a:xfrm>
            <a:custGeom>
              <a:avLst/>
              <a:gdLst>
                <a:gd name="T0" fmla="*/ 0 w 167"/>
                <a:gd name="T1" fmla="*/ 84 h 167"/>
                <a:gd name="T2" fmla="*/ 0 w 167"/>
                <a:gd name="T3" fmla="*/ 83 h 167"/>
                <a:gd name="T4" fmla="*/ 84 w 167"/>
                <a:gd name="T5" fmla="*/ 0 h 167"/>
                <a:gd name="T6" fmla="*/ 167 w 167"/>
                <a:gd name="T7" fmla="*/ 83 h 167"/>
                <a:gd name="T8" fmla="*/ 167 w 167"/>
                <a:gd name="T9" fmla="*/ 83 h 167"/>
                <a:gd name="T10" fmla="*/ 84 w 167"/>
                <a:gd name="T11" fmla="*/ 167 h 167"/>
                <a:gd name="T12" fmla="*/ 0 w 167"/>
                <a:gd name="T13" fmla="*/ 84 h 167"/>
                <a:gd name="T14" fmla="*/ 151 w 167"/>
                <a:gd name="T15" fmla="*/ 83 h 167"/>
                <a:gd name="T16" fmla="*/ 151 w 167"/>
                <a:gd name="T17" fmla="*/ 83 h 167"/>
                <a:gd name="T18" fmla="*/ 84 w 167"/>
                <a:gd name="T19" fmla="*/ 15 h 167"/>
                <a:gd name="T20" fmla="*/ 16 w 167"/>
                <a:gd name="T21" fmla="*/ 83 h 167"/>
                <a:gd name="T22" fmla="*/ 16 w 167"/>
                <a:gd name="T23" fmla="*/ 84 h 167"/>
                <a:gd name="T24" fmla="*/ 84 w 167"/>
                <a:gd name="T25" fmla="*/ 152 h 167"/>
                <a:gd name="T26" fmla="*/ 151 w 167"/>
                <a:gd name="T27" fmla="*/ 83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7" h="167">
                  <a:moveTo>
                    <a:pt x="0" y="84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0" y="38"/>
                    <a:pt x="37" y="0"/>
                    <a:pt x="84" y="0"/>
                  </a:cubicBezTo>
                  <a:cubicBezTo>
                    <a:pt x="131" y="0"/>
                    <a:pt x="167" y="38"/>
                    <a:pt x="167" y="83"/>
                  </a:cubicBezTo>
                  <a:cubicBezTo>
                    <a:pt x="167" y="83"/>
                    <a:pt x="167" y="83"/>
                    <a:pt x="167" y="83"/>
                  </a:cubicBezTo>
                  <a:cubicBezTo>
                    <a:pt x="167" y="129"/>
                    <a:pt x="130" y="167"/>
                    <a:pt x="84" y="167"/>
                  </a:cubicBezTo>
                  <a:cubicBezTo>
                    <a:pt x="36" y="167"/>
                    <a:pt x="0" y="130"/>
                    <a:pt x="0" y="84"/>
                  </a:cubicBezTo>
                  <a:moveTo>
                    <a:pt x="151" y="83"/>
                  </a:moveTo>
                  <a:cubicBezTo>
                    <a:pt x="151" y="83"/>
                    <a:pt x="151" y="83"/>
                    <a:pt x="151" y="83"/>
                  </a:cubicBezTo>
                  <a:cubicBezTo>
                    <a:pt x="151" y="46"/>
                    <a:pt x="122" y="15"/>
                    <a:pt x="84" y="15"/>
                  </a:cubicBezTo>
                  <a:cubicBezTo>
                    <a:pt x="45" y="15"/>
                    <a:pt x="16" y="46"/>
                    <a:pt x="16" y="83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6" y="121"/>
                    <a:pt x="45" y="152"/>
                    <a:pt x="84" y="152"/>
                  </a:cubicBezTo>
                  <a:cubicBezTo>
                    <a:pt x="122" y="152"/>
                    <a:pt x="151" y="121"/>
                    <a:pt x="151" y="8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36" name="Freeform 12"/>
            <p:cNvSpPr>
              <a:spLocks noEditPoints="1"/>
            </p:cNvSpPr>
            <p:nvPr/>
          </p:nvSpPr>
          <p:spPr bwMode="auto">
            <a:xfrm>
              <a:off x="3136" y="4970"/>
              <a:ext cx="42" cy="50"/>
            </a:xfrm>
            <a:custGeom>
              <a:avLst/>
              <a:gdLst>
                <a:gd name="T0" fmla="*/ 0 w 67"/>
                <a:gd name="T1" fmla="*/ 9 h 81"/>
                <a:gd name="T2" fmla="*/ 9 w 67"/>
                <a:gd name="T3" fmla="*/ 0 h 81"/>
                <a:gd name="T4" fmla="*/ 36 w 67"/>
                <a:gd name="T5" fmla="*/ 0 h 81"/>
                <a:gd name="T6" fmla="*/ 60 w 67"/>
                <a:gd name="T7" fmla="*/ 8 h 81"/>
                <a:gd name="T8" fmla="*/ 67 w 67"/>
                <a:gd name="T9" fmla="*/ 26 h 81"/>
                <a:gd name="T10" fmla="*/ 67 w 67"/>
                <a:gd name="T11" fmla="*/ 27 h 81"/>
                <a:gd name="T12" fmla="*/ 51 w 67"/>
                <a:gd name="T13" fmla="*/ 51 h 81"/>
                <a:gd name="T14" fmla="*/ 63 w 67"/>
                <a:gd name="T15" fmla="*/ 66 h 81"/>
                <a:gd name="T16" fmla="*/ 66 w 67"/>
                <a:gd name="T17" fmla="*/ 73 h 81"/>
                <a:gd name="T18" fmla="*/ 58 w 67"/>
                <a:gd name="T19" fmla="*/ 81 h 81"/>
                <a:gd name="T20" fmla="*/ 49 w 67"/>
                <a:gd name="T21" fmla="*/ 76 h 81"/>
                <a:gd name="T22" fmla="*/ 32 w 67"/>
                <a:gd name="T23" fmla="*/ 55 h 81"/>
                <a:gd name="T24" fmla="*/ 17 w 67"/>
                <a:gd name="T25" fmla="*/ 55 h 81"/>
                <a:gd name="T26" fmla="*/ 17 w 67"/>
                <a:gd name="T27" fmla="*/ 72 h 81"/>
                <a:gd name="T28" fmla="*/ 9 w 67"/>
                <a:gd name="T29" fmla="*/ 81 h 81"/>
                <a:gd name="T30" fmla="*/ 0 w 67"/>
                <a:gd name="T31" fmla="*/ 72 h 81"/>
                <a:gd name="T32" fmla="*/ 0 w 67"/>
                <a:gd name="T33" fmla="*/ 9 h 81"/>
                <a:gd name="T34" fmla="*/ 35 w 67"/>
                <a:gd name="T35" fmla="*/ 39 h 81"/>
                <a:gd name="T36" fmla="*/ 49 w 67"/>
                <a:gd name="T37" fmla="*/ 27 h 81"/>
                <a:gd name="T38" fmla="*/ 49 w 67"/>
                <a:gd name="T39" fmla="*/ 27 h 81"/>
                <a:gd name="T40" fmla="*/ 35 w 67"/>
                <a:gd name="T41" fmla="*/ 16 h 81"/>
                <a:gd name="T42" fmla="*/ 17 w 67"/>
                <a:gd name="T43" fmla="*/ 16 h 81"/>
                <a:gd name="T44" fmla="*/ 17 w 67"/>
                <a:gd name="T45" fmla="*/ 39 h 81"/>
                <a:gd name="T46" fmla="*/ 35 w 67"/>
                <a:gd name="T47" fmla="*/ 39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7" h="81">
                  <a:moveTo>
                    <a:pt x="0" y="9"/>
                  </a:moveTo>
                  <a:cubicBezTo>
                    <a:pt x="0" y="4"/>
                    <a:pt x="4" y="0"/>
                    <a:pt x="9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47" y="0"/>
                    <a:pt x="55" y="3"/>
                    <a:pt x="60" y="8"/>
                  </a:cubicBezTo>
                  <a:cubicBezTo>
                    <a:pt x="65" y="12"/>
                    <a:pt x="67" y="19"/>
                    <a:pt x="67" y="26"/>
                  </a:cubicBezTo>
                  <a:cubicBezTo>
                    <a:pt x="67" y="27"/>
                    <a:pt x="67" y="27"/>
                    <a:pt x="67" y="27"/>
                  </a:cubicBezTo>
                  <a:cubicBezTo>
                    <a:pt x="67" y="39"/>
                    <a:pt x="61" y="47"/>
                    <a:pt x="51" y="51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5" y="68"/>
                    <a:pt x="66" y="70"/>
                    <a:pt x="66" y="73"/>
                  </a:cubicBezTo>
                  <a:cubicBezTo>
                    <a:pt x="66" y="78"/>
                    <a:pt x="62" y="81"/>
                    <a:pt x="58" y="81"/>
                  </a:cubicBezTo>
                  <a:cubicBezTo>
                    <a:pt x="54" y="81"/>
                    <a:pt x="51" y="79"/>
                    <a:pt x="49" y="76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17" y="55"/>
                    <a:pt x="17" y="55"/>
                    <a:pt x="17" y="55"/>
                  </a:cubicBezTo>
                  <a:cubicBezTo>
                    <a:pt x="17" y="72"/>
                    <a:pt x="17" y="72"/>
                    <a:pt x="17" y="72"/>
                  </a:cubicBezTo>
                  <a:cubicBezTo>
                    <a:pt x="17" y="77"/>
                    <a:pt x="14" y="81"/>
                    <a:pt x="9" y="81"/>
                  </a:cubicBezTo>
                  <a:cubicBezTo>
                    <a:pt x="4" y="81"/>
                    <a:pt x="0" y="77"/>
                    <a:pt x="0" y="72"/>
                  </a:cubicBezTo>
                  <a:lnTo>
                    <a:pt x="0" y="9"/>
                  </a:lnTo>
                  <a:close/>
                  <a:moveTo>
                    <a:pt x="35" y="39"/>
                  </a:moveTo>
                  <a:cubicBezTo>
                    <a:pt x="44" y="39"/>
                    <a:pt x="49" y="34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0"/>
                    <a:pt x="44" y="16"/>
                    <a:pt x="35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39"/>
                    <a:pt x="17" y="39"/>
                    <a:pt x="17" y="39"/>
                  </a:cubicBezTo>
                  <a:lnTo>
                    <a:pt x="35" y="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r="13488"/>
          <a:stretch/>
        </p:blipFill>
        <p:spPr>
          <a:xfrm>
            <a:off x="4681760" y="4167537"/>
            <a:ext cx="7227592" cy="2566638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rvey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r="20226"/>
          <a:stretch/>
        </p:blipFill>
        <p:spPr>
          <a:xfrm>
            <a:off x="3537596" y="3164049"/>
            <a:ext cx="8581361" cy="3596952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914399" y="2593231"/>
            <a:ext cx="4813303" cy="5334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596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596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None/>
              <a:defRPr sz="1596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None/>
              <a:defRPr sz="1596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None/>
              <a:defRPr sz="1596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596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None/>
              <a:defRPr sz="1596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596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596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Click to add Name, Title, Compan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843281" y="457200"/>
            <a:ext cx="4876800" cy="2011680"/>
          </a:xfrm>
        </p:spPr>
        <p:txBody>
          <a:bodyPr/>
          <a:lstStyle>
            <a:lvl1pPr marL="58609" indent="-55441">
              <a:lnSpc>
                <a:spcPct val="100000"/>
              </a:lnSpc>
              <a:spcBef>
                <a:spcPts val="0"/>
              </a:spcBef>
              <a:buNone/>
              <a:defRPr sz="2195">
                <a:solidFill>
                  <a:schemeClr val="accent3">
                    <a:lumMod val="50000"/>
                  </a:schemeClr>
                </a:solidFill>
              </a:defRPr>
            </a:lvl1pPr>
            <a:lvl2pPr marL="3168" indent="0">
              <a:lnSpc>
                <a:spcPct val="100000"/>
              </a:lnSpc>
              <a:spcBef>
                <a:spcPts val="0"/>
              </a:spcBef>
              <a:buNone/>
              <a:defRPr sz="2195">
                <a:solidFill>
                  <a:schemeClr val="accent1">
                    <a:lumMod val="50000"/>
                  </a:schemeClr>
                </a:solidFill>
              </a:defRPr>
            </a:lvl2pPr>
            <a:lvl3pPr marL="3168" indent="0">
              <a:lnSpc>
                <a:spcPct val="100000"/>
              </a:lnSpc>
              <a:spcBef>
                <a:spcPts val="0"/>
              </a:spcBef>
              <a:buNone/>
              <a:defRPr sz="2195">
                <a:solidFill>
                  <a:schemeClr val="accent1">
                    <a:lumMod val="50000"/>
                  </a:schemeClr>
                </a:solidFill>
              </a:defRPr>
            </a:lvl3pPr>
            <a:lvl4pPr marL="3168" indent="0">
              <a:lnSpc>
                <a:spcPct val="100000"/>
              </a:lnSpc>
              <a:spcBef>
                <a:spcPts val="0"/>
              </a:spcBef>
              <a:buNone/>
              <a:defRPr sz="2195">
                <a:solidFill>
                  <a:schemeClr val="accent1">
                    <a:lumMod val="50000"/>
                  </a:schemeClr>
                </a:solidFill>
              </a:defRPr>
            </a:lvl4pPr>
            <a:lvl5pPr marL="3168" indent="0">
              <a:lnSpc>
                <a:spcPct val="100000"/>
              </a:lnSpc>
              <a:spcBef>
                <a:spcPts val="0"/>
              </a:spcBef>
              <a:buNone/>
              <a:defRPr sz="2195">
                <a:solidFill>
                  <a:schemeClr val="accent1">
                    <a:lumMod val="50000"/>
                  </a:schemeClr>
                </a:solidFill>
              </a:defRPr>
            </a:lvl5pPr>
            <a:lvl6pPr marL="3168" indent="0">
              <a:lnSpc>
                <a:spcPct val="100000"/>
              </a:lnSpc>
              <a:spcBef>
                <a:spcPts val="0"/>
              </a:spcBef>
              <a:buNone/>
              <a:defRPr sz="2195">
                <a:solidFill>
                  <a:schemeClr val="accent1">
                    <a:lumMod val="50000"/>
                  </a:schemeClr>
                </a:solidFill>
              </a:defRPr>
            </a:lvl6pPr>
            <a:lvl7pPr marL="3168" indent="0">
              <a:lnSpc>
                <a:spcPct val="100000"/>
              </a:lnSpc>
              <a:spcBef>
                <a:spcPts val="0"/>
              </a:spcBef>
              <a:buNone/>
              <a:defRPr sz="2195">
                <a:solidFill>
                  <a:schemeClr val="accent1">
                    <a:lumMod val="50000"/>
                  </a:schemeClr>
                </a:solidFill>
              </a:defRPr>
            </a:lvl7pPr>
            <a:lvl8pPr marL="3168" indent="0">
              <a:lnSpc>
                <a:spcPct val="100000"/>
              </a:lnSpc>
              <a:spcBef>
                <a:spcPts val="0"/>
              </a:spcBef>
              <a:buNone/>
              <a:defRPr sz="2195">
                <a:solidFill>
                  <a:schemeClr val="accent1">
                    <a:lumMod val="50000"/>
                  </a:schemeClr>
                </a:solidFill>
              </a:defRPr>
            </a:lvl8pPr>
            <a:lvl9pPr marL="3168" indent="0">
              <a:lnSpc>
                <a:spcPct val="100000"/>
              </a:lnSpc>
              <a:spcBef>
                <a:spcPts val="0"/>
              </a:spcBef>
              <a:buNone/>
              <a:defRPr sz="2195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5" name="Group 4"/>
          <p:cNvGrpSpPr>
            <a:grpSpLocks noChangeAspect="1"/>
          </p:cNvGrpSpPr>
          <p:nvPr/>
        </p:nvGrpSpPr>
        <p:grpSpPr bwMode="auto">
          <a:xfrm>
            <a:off x="615657" y="6376993"/>
            <a:ext cx="1294204" cy="242475"/>
            <a:chOff x="-16" y="4944"/>
            <a:chExt cx="3223" cy="604"/>
          </a:xfrm>
          <a:solidFill>
            <a:schemeClr val="bg1"/>
          </a:solidFill>
        </p:grpSpPr>
        <p:sp>
          <p:nvSpPr>
            <p:cNvPr id="26" name="Freeform 5"/>
            <p:cNvSpPr>
              <a:spLocks/>
            </p:cNvSpPr>
            <p:nvPr/>
          </p:nvSpPr>
          <p:spPr bwMode="auto">
            <a:xfrm>
              <a:off x="1098" y="5116"/>
              <a:ext cx="612" cy="429"/>
            </a:xfrm>
            <a:custGeom>
              <a:avLst/>
              <a:gdLst>
                <a:gd name="T0" fmla="*/ 943 w 993"/>
                <a:gd name="T1" fmla="*/ 0 h 694"/>
                <a:gd name="T2" fmla="*/ 894 w 993"/>
                <a:gd name="T3" fmla="*/ 39 h 694"/>
                <a:gd name="T4" fmla="*/ 721 w 993"/>
                <a:gd name="T5" fmla="*/ 550 h 694"/>
                <a:gd name="T6" fmla="*/ 551 w 993"/>
                <a:gd name="T7" fmla="*/ 40 h 694"/>
                <a:gd name="T8" fmla="*/ 499 w 993"/>
                <a:gd name="T9" fmla="*/ 0 h 694"/>
                <a:gd name="T10" fmla="*/ 494 w 993"/>
                <a:gd name="T11" fmla="*/ 0 h 694"/>
                <a:gd name="T12" fmla="*/ 444 w 993"/>
                <a:gd name="T13" fmla="*/ 40 h 694"/>
                <a:gd name="T14" fmla="*/ 272 w 993"/>
                <a:gd name="T15" fmla="*/ 550 h 694"/>
                <a:gd name="T16" fmla="*/ 102 w 993"/>
                <a:gd name="T17" fmla="*/ 42 h 694"/>
                <a:gd name="T18" fmla="*/ 51 w 993"/>
                <a:gd name="T19" fmla="*/ 0 h 694"/>
                <a:gd name="T20" fmla="*/ 0 w 993"/>
                <a:gd name="T21" fmla="*/ 48 h 694"/>
                <a:gd name="T22" fmla="*/ 6 w 993"/>
                <a:gd name="T23" fmla="*/ 76 h 694"/>
                <a:gd name="T24" fmla="*/ 212 w 993"/>
                <a:gd name="T25" fmla="*/ 648 h 694"/>
                <a:gd name="T26" fmla="*/ 268 w 993"/>
                <a:gd name="T27" fmla="*/ 694 h 694"/>
                <a:gd name="T28" fmla="*/ 271 w 993"/>
                <a:gd name="T29" fmla="*/ 694 h 694"/>
                <a:gd name="T30" fmla="*/ 326 w 993"/>
                <a:gd name="T31" fmla="*/ 648 h 694"/>
                <a:gd name="T32" fmla="*/ 496 w 993"/>
                <a:gd name="T33" fmla="*/ 154 h 694"/>
                <a:gd name="T34" fmla="*/ 665 w 993"/>
                <a:gd name="T35" fmla="*/ 648 h 694"/>
                <a:gd name="T36" fmla="*/ 720 w 993"/>
                <a:gd name="T37" fmla="*/ 694 h 694"/>
                <a:gd name="T38" fmla="*/ 724 w 993"/>
                <a:gd name="T39" fmla="*/ 694 h 694"/>
                <a:gd name="T40" fmla="*/ 779 w 993"/>
                <a:gd name="T41" fmla="*/ 648 h 694"/>
                <a:gd name="T42" fmla="*/ 986 w 993"/>
                <a:gd name="T43" fmla="*/ 74 h 694"/>
                <a:gd name="T44" fmla="*/ 993 w 993"/>
                <a:gd name="T45" fmla="*/ 47 h 694"/>
                <a:gd name="T46" fmla="*/ 943 w 993"/>
                <a:gd name="T47" fmla="*/ 0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93" h="694">
                  <a:moveTo>
                    <a:pt x="943" y="0"/>
                  </a:moveTo>
                  <a:cubicBezTo>
                    <a:pt x="915" y="0"/>
                    <a:pt x="901" y="18"/>
                    <a:pt x="894" y="39"/>
                  </a:cubicBezTo>
                  <a:cubicBezTo>
                    <a:pt x="721" y="550"/>
                    <a:pt x="721" y="550"/>
                    <a:pt x="721" y="550"/>
                  </a:cubicBezTo>
                  <a:cubicBezTo>
                    <a:pt x="551" y="40"/>
                    <a:pt x="551" y="40"/>
                    <a:pt x="551" y="40"/>
                  </a:cubicBezTo>
                  <a:cubicBezTo>
                    <a:pt x="543" y="17"/>
                    <a:pt x="526" y="0"/>
                    <a:pt x="499" y="0"/>
                  </a:cubicBezTo>
                  <a:cubicBezTo>
                    <a:pt x="494" y="0"/>
                    <a:pt x="494" y="0"/>
                    <a:pt x="494" y="0"/>
                  </a:cubicBezTo>
                  <a:cubicBezTo>
                    <a:pt x="467" y="0"/>
                    <a:pt x="452" y="17"/>
                    <a:pt x="444" y="40"/>
                  </a:cubicBezTo>
                  <a:cubicBezTo>
                    <a:pt x="272" y="550"/>
                    <a:pt x="272" y="550"/>
                    <a:pt x="272" y="550"/>
                  </a:cubicBezTo>
                  <a:cubicBezTo>
                    <a:pt x="102" y="42"/>
                    <a:pt x="102" y="42"/>
                    <a:pt x="102" y="42"/>
                  </a:cubicBezTo>
                  <a:cubicBezTo>
                    <a:pt x="94" y="17"/>
                    <a:pt x="77" y="0"/>
                    <a:pt x="51" y="0"/>
                  </a:cubicBezTo>
                  <a:cubicBezTo>
                    <a:pt x="21" y="0"/>
                    <a:pt x="0" y="23"/>
                    <a:pt x="0" y="48"/>
                  </a:cubicBezTo>
                  <a:cubicBezTo>
                    <a:pt x="0" y="57"/>
                    <a:pt x="4" y="68"/>
                    <a:pt x="6" y="76"/>
                  </a:cubicBezTo>
                  <a:cubicBezTo>
                    <a:pt x="212" y="648"/>
                    <a:pt x="212" y="648"/>
                    <a:pt x="212" y="648"/>
                  </a:cubicBezTo>
                  <a:cubicBezTo>
                    <a:pt x="222" y="678"/>
                    <a:pt x="243" y="694"/>
                    <a:pt x="268" y="694"/>
                  </a:cubicBezTo>
                  <a:cubicBezTo>
                    <a:pt x="271" y="694"/>
                    <a:pt x="271" y="694"/>
                    <a:pt x="271" y="694"/>
                  </a:cubicBezTo>
                  <a:cubicBezTo>
                    <a:pt x="297" y="694"/>
                    <a:pt x="317" y="678"/>
                    <a:pt x="326" y="648"/>
                  </a:cubicBezTo>
                  <a:cubicBezTo>
                    <a:pt x="496" y="154"/>
                    <a:pt x="496" y="154"/>
                    <a:pt x="496" y="154"/>
                  </a:cubicBezTo>
                  <a:cubicBezTo>
                    <a:pt x="665" y="648"/>
                    <a:pt x="665" y="648"/>
                    <a:pt x="665" y="648"/>
                  </a:cubicBezTo>
                  <a:cubicBezTo>
                    <a:pt x="674" y="678"/>
                    <a:pt x="694" y="694"/>
                    <a:pt x="720" y="694"/>
                  </a:cubicBezTo>
                  <a:cubicBezTo>
                    <a:pt x="724" y="694"/>
                    <a:pt x="724" y="694"/>
                    <a:pt x="724" y="694"/>
                  </a:cubicBezTo>
                  <a:cubicBezTo>
                    <a:pt x="748" y="694"/>
                    <a:pt x="769" y="678"/>
                    <a:pt x="779" y="648"/>
                  </a:cubicBezTo>
                  <a:cubicBezTo>
                    <a:pt x="986" y="74"/>
                    <a:pt x="986" y="74"/>
                    <a:pt x="986" y="74"/>
                  </a:cubicBezTo>
                  <a:cubicBezTo>
                    <a:pt x="989" y="67"/>
                    <a:pt x="993" y="56"/>
                    <a:pt x="993" y="47"/>
                  </a:cubicBezTo>
                  <a:cubicBezTo>
                    <a:pt x="993" y="22"/>
                    <a:pt x="972" y="0"/>
                    <a:pt x="943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27" name="Freeform 6"/>
            <p:cNvSpPr>
              <a:spLocks noEditPoints="1"/>
            </p:cNvSpPr>
            <p:nvPr/>
          </p:nvSpPr>
          <p:spPr bwMode="auto">
            <a:xfrm>
              <a:off x="1720" y="5111"/>
              <a:ext cx="417" cy="437"/>
            </a:xfrm>
            <a:custGeom>
              <a:avLst/>
              <a:gdLst>
                <a:gd name="T0" fmla="*/ 340 w 678"/>
                <a:gd name="T1" fmla="*/ 0 h 707"/>
                <a:gd name="T2" fmla="*/ 0 w 678"/>
                <a:gd name="T3" fmla="*/ 354 h 707"/>
                <a:gd name="T4" fmla="*/ 0 w 678"/>
                <a:gd name="T5" fmla="*/ 356 h 707"/>
                <a:gd name="T6" fmla="*/ 337 w 678"/>
                <a:gd name="T7" fmla="*/ 707 h 707"/>
                <a:gd name="T8" fmla="*/ 678 w 678"/>
                <a:gd name="T9" fmla="*/ 354 h 707"/>
                <a:gd name="T10" fmla="*/ 678 w 678"/>
                <a:gd name="T11" fmla="*/ 351 h 707"/>
                <a:gd name="T12" fmla="*/ 340 w 678"/>
                <a:gd name="T13" fmla="*/ 0 h 707"/>
                <a:gd name="T14" fmla="*/ 575 w 678"/>
                <a:gd name="T15" fmla="*/ 356 h 707"/>
                <a:gd name="T16" fmla="*/ 340 w 678"/>
                <a:gd name="T17" fmla="*/ 631 h 707"/>
                <a:gd name="T18" fmla="*/ 103 w 678"/>
                <a:gd name="T19" fmla="*/ 354 h 707"/>
                <a:gd name="T20" fmla="*/ 103 w 678"/>
                <a:gd name="T21" fmla="*/ 351 h 707"/>
                <a:gd name="T22" fmla="*/ 337 w 678"/>
                <a:gd name="T23" fmla="*/ 75 h 707"/>
                <a:gd name="T24" fmla="*/ 575 w 678"/>
                <a:gd name="T25" fmla="*/ 354 h 707"/>
                <a:gd name="T26" fmla="*/ 575 w 678"/>
                <a:gd name="T27" fmla="*/ 356 h 7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78" h="707">
                  <a:moveTo>
                    <a:pt x="340" y="0"/>
                  </a:moveTo>
                  <a:cubicBezTo>
                    <a:pt x="135" y="0"/>
                    <a:pt x="0" y="162"/>
                    <a:pt x="0" y="354"/>
                  </a:cubicBezTo>
                  <a:cubicBezTo>
                    <a:pt x="0" y="356"/>
                    <a:pt x="0" y="356"/>
                    <a:pt x="0" y="356"/>
                  </a:cubicBezTo>
                  <a:cubicBezTo>
                    <a:pt x="0" y="548"/>
                    <a:pt x="134" y="707"/>
                    <a:pt x="337" y="707"/>
                  </a:cubicBezTo>
                  <a:cubicBezTo>
                    <a:pt x="541" y="707"/>
                    <a:pt x="678" y="545"/>
                    <a:pt x="678" y="354"/>
                  </a:cubicBezTo>
                  <a:cubicBezTo>
                    <a:pt x="678" y="351"/>
                    <a:pt x="678" y="351"/>
                    <a:pt x="678" y="351"/>
                  </a:cubicBezTo>
                  <a:cubicBezTo>
                    <a:pt x="678" y="160"/>
                    <a:pt x="543" y="0"/>
                    <a:pt x="340" y="0"/>
                  </a:cubicBezTo>
                  <a:moveTo>
                    <a:pt x="575" y="356"/>
                  </a:moveTo>
                  <a:cubicBezTo>
                    <a:pt x="575" y="499"/>
                    <a:pt x="486" y="631"/>
                    <a:pt x="340" y="631"/>
                  </a:cubicBezTo>
                  <a:cubicBezTo>
                    <a:pt x="197" y="631"/>
                    <a:pt x="103" y="499"/>
                    <a:pt x="103" y="354"/>
                  </a:cubicBezTo>
                  <a:cubicBezTo>
                    <a:pt x="103" y="351"/>
                    <a:pt x="103" y="351"/>
                    <a:pt x="103" y="351"/>
                  </a:cubicBezTo>
                  <a:cubicBezTo>
                    <a:pt x="103" y="208"/>
                    <a:pt x="190" y="75"/>
                    <a:pt x="337" y="75"/>
                  </a:cubicBezTo>
                  <a:cubicBezTo>
                    <a:pt x="480" y="75"/>
                    <a:pt x="575" y="208"/>
                    <a:pt x="575" y="354"/>
                  </a:cubicBezTo>
                  <a:lnTo>
                    <a:pt x="575" y="3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28" name="Freeform 7"/>
            <p:cNvSpPr>
              <a:spLocks/>
            </p:cNvSpPr>
            <p:nvPr/>
          </p:nvSpPr>
          <p:spPr bwMode="auto">
            <a:xfrm>
              <a:off x="2198" y="5115"/>
              <a:ext cx="236" cy="428"/>
            </a:xfrm>
            <a:custGeom>
              <a:avLst/>
              <a:gdLst>
                <a:gd name="T0" fmla="*/ 334 w 384"/>
                <a:gd name="T1" fmla="*/ 0 h 693"/>
                <a:gd name="T2" fmla="*/ 101 w 384"/>
                <a:gd name="T3" fmla="*/ 181 h 693"/>
                <a:gd name="T4" fmla="*/ 101 w 384"/>
                <a:gd name="T5" fmla="*/ 54 h 693"/>
                <a:gd name="T6" fmla="*/ 50 w 384"/>
                <a:gd name="T7" fmla="*/ 3 h 693"/>
                <a:gd name="T8" fmla="*/ 0 w 384"/>
                <a:gd name="T9" fmla="*/ 54 h 693"/>
                <a:gd name="T10" fmla="*/ 0 w 384"/>
                <a:gd name="T11" fmla="*/ 642 h 693"/>
                <a:gd name="T12" fmla="*/ 51 w 384"/>
                <a:gd name="T13" fmla="*/ 693 h 693"/>
                <a:gd name="T14" fmla="*/ 101 w 384"/>
                <a:gd name="T15" fmla="*/ 642 h 693"/>
                <a:gd name="T16" fmla="*/ 101 w 384"/>
                <a:gd name="T17" fmla="*/ 412 h 693"/>
                <a:gd name="T18" fmla="*/ 339 w 384"/>
                <a:gd name="T19" fmla="*/ 102 h 693"/>
                <a:gd name="T20" fmla="*/ 384 w 384"/>
                <a:gd name="T21" fmla="*/ 51 h 693"/>
                <a:gd name="T22" fmla="*/ 334 w 384"/>
                <a:gd name="T23" fmla="*/ 0 h 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4" h="693">
                  <a:moveTo>
                    <a:pt x="334" y="0"/>
                  </a:moveTo>
                  <a:cubicBezTo>
                    <a:pt x="249" y="0"/>
                    <a:pt x="151" y="68"/>
                    <a:pt x="101" y="181"/>
                  </a:cubicBezTo>
                  <a:cubicBezTo>
                    <a:pt x="101" y="54"/>
                    <a:pt x="101" y="54"/>
                    <a:pt x="101" y="54"/>
                  </a:cubicBezTo>
                  <a:cubicBezTo>
                    <a:pt x="101" y="25"/>
                    <a:pt x="79" y="3"/>
                    <a:pt x="50" y="3"/>
                  </a:cubicBezTo>
                  <a:cubicBezTo>
                    <a:pt x="22" y="3"/>
                    <a:pt x="0" y="26"/>
                    <a:pt x="0" y="54"/>
                  </a:cubicBezTo>
                  <a:cubicBezTo>
                    <a:pt x="0" y="642"/>
                    <a:pt x="0" y="642"/>
                    <a:pt x="0" y="642"/>
                  </a:cubicBezTo>
                  <a:cubicBezTo>
                    <a:pt x="0" y="671"/>
                    <a:pt x="22" y="693"/>
                    <a:pt x="51" y="693"/>
                  </a:cubicBezTo>
                  <a:cubicBezTo>
                    <a:pt x="80" y="693"/>
                    <a:pt x="101" y="670"/>
                    <a:pt x="101" y="642"/>
                  </a:cubicBezTo>
                  <a:cubicBezTo>
                    <a:pt x="101" y="412"/>
                    <a:pt x="101" y="412"/>
                    <a:pt x="101" y="412"/>
                  </a:cubicBezTo>
                  <a:cubicBezTo>
                    <a:pt x="101" y="216"/>
                    <a:pt x="208" y="118"/>
                    <a:pt x="339" y="102"/>
                  </a:cubicBezTo>
                  <a:cubicBezTo>
                    <a:pt x="365" y="98"/>
                    <a:pt x="384" y="79"/>
                    <a:pt x="384" y="51"/>
                  </a:cubicBezTo>
                  <a:cubicBezTo>
                    <a:pt x="384" y="22"/>
                    <a:pt x="364" y="0"/>
                    <a:pt x="33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29" name="Freeform 8"/>
            <p:cNvSpPr>
              <a:spLocks/>
            </p:cNvSpPr>
            <p:nvPr/>
          </p:nvSpPr>
          <p:spPr bwMode="auto">
            <a:xfrm>
              <a:off x="2500" y="4944"/>
              <a:ext cx="63" cy="599"/>
            </a:xfrm>
            <a:custGeom>
              <a:avLst/>
              <a:gdLst>
                <a:gd name="T0" fmla="*/ 49 w 101"/>
                <a:gd name="T1" fmla="*/ 0 h 969"/>
                <a:gd name="T2" fmla="*/ 0 w 101"/>
                <a:gd name="T3" fmla="*/ 51 h 969"/>
                <a:gd name="T4" fmla="*/ 0 w 101"/>
                <a:gd name="T5" fmla="*/ 918 h 969"/>
                <a:gd name="T6" fmla="*/ 51 w 101"/>
                <a:gd name="T7" fmla="*/ 969 h 969"/>
                <a:gd name="T8" fmla="*/ 101 w 101"/>
                <a:gd name="T9" fmla="*/ 918 h 969"/>
                <a:gd name="T10" fmla="*/ 101 w 101"/>
                <a:gd name="T11" fmla="*/ 51 h 969"/>
                <a:gd name="T12" fmla="*/ 49 w 101"/>
                <a:gd name="T13" fmla="*/ 0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" h="969">
                  <a:moveTo>
                    <a:pt x="49" y="0"/>
                  </a:moveTo>
                  <a:cubicBezTo>
                    <a:pt x="22" y="0"/>
                    <a:pt x="0" y="23"/>
                    <a:pt x="0" y="51"/>
                  </a:cubicBezTo>
                  <a:cubicBezTo>
                    <a:pt x="0" y="918"/>
                    <a:pt x="0" y="918"/>
                    <a:pt x="0" y="918"/>
                  </a:cubicBezTo>
                  <a:cubicBezTo>
                    <a:pt x="0" y="947"/>
                    <a:pt x="22" y="969"/>
                    <a:pt x="51" y="969"/>
                  </a:cubicBezTo>
                  <a:cubicBezTo>
                    <a:pt x="80" y="969"/>
                    <a:pt x="101" y="947"/>
                    <a:pt x="101" y="918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3"/>
                    <a:pt x="78" y="0"/>
                    <a:pt x="4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30" name="Freeform 9"/>
            <p:cNvSpPr>
              <a:spLocks noEditPoints="1"/>
            </p:cNvSpPr>
            <p:nvPr/>
          </p:nvSpPr>
          <p:spPr bwMode="auto">
            <a:xfrm>
              <a:off x="2626" y="4944"/>
              <a:ext cx="421" cy="604"/>
            </a:xfrm>
            <a:custGeom>
              <a:avLst/>
              <a:gdLst>
                <a:gd name="T0" fmla="*/ 633 w 684"/>
                <a:gd name="T1" fmla="*/ 0 h 977"/>
                <a:gd name="T2" fmla="*/ 583 w 684"/>
                <a:gd name="T3" fmla="*/ 51 h 977"/>
                <a:gd name="T4" fmla="*/ 583 w 684"/>
                <a:gd name="T5" fmla="*/ 415 h 977"/>
                <a:gd name="T6" fmla="*/ 324 w 684"/>
                <a:gd name="T7" fmla="*/ 271 h 977"/>
                <a:gd name="T8" fmla="*/ 0 w 684"/>
                <a:gd name="T9" fmla="*/ 623 h 977"/>
                <a:gd name="T10" fmla="*/ 0 w 684"/>
                <a:gd name="T11" fmla="*/ 626 h 977"/>
                <a:gd name="T12" fmla="*/ 324 w 684"/>
                <a:gd name="T13" fmla="*/ 977 h 977"/>
                <a:gd name="T14" fmla="*/ 583 w 684"/>
                <a:gd name="T15" fmla="*/ 826 h 977"/>
                <a:gd name="T16" fmla="*/ 583 w 684"/>
                <a:gd name="T17" fmla="*/ 918 h 977"/>
                <a:gd name="T18" fmla="*/ 634 w 684"/>
                <a:gd name="T19" fmla="*/ 969 h 977"/>
                <a:gd name="T20" fmla="*/ 684 w 684"/>
                <a:gd name="T21" fmla="*/ 918 h 977"/>
                <a:gd name="T22" fmla="*/ 684 w 684"/>
                <a:gd name="T23" fmla="*/ 51 h 977"/>
                <a:gd name="T24" fmla="*/ 633 w 684"/>
                <a:gd name="T25" fmla="*/ 0 h 977"/>
                <a:gd name="T26" fmla="*/ 587 w 684"/>
                <a:gd name="T27" fmla="*/ 625 h 977"/>
                <a:gd name="T28" fmla="*/ 342 w 684"/>
                <a:gd name="T29" fmla="*/ 887 h 977"/>
                <a:gd name="T30" fmla="*/ 104 w 684"/>
                <a:gd name="T31" fmla="*/ 625 h 977"/>
                <a:gd name="T32" fmla="*/ 104 w 684"/>
                <a:gd name="T33" fmla="*/ 622 h 977"/>
                <a:gd name="T34" fmla="*/ 342 w 684"/>
                <a:gd name="T35" fmla="*/ 361 h 977"/>
                <a:gd name="T36" fmla="*/ 587 w 684"/>
                <a:gd name="T37" fmla="*/ 622 h 977"/>
                <a:gd name="T38" fmla="*/ 587 w 684"/>
                <a:gd name="T39" fmla="*/ 625 h 9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84" h="977">
                  <a:moveTo>
                    <a:pt x="633" y="0"/>
                  </a:moveTo>
                  <a:cubicBezTo>
                    <a:pt x="604" y="0"/>
                    <a:pt x="583" y="22"/>
                    <a:pt x="583" y="51"/>
                  </a:cubicBezTo>
                  <a:cubicBezTo>
                    <a:pt x="583" y="415"/>
                    <a:pt x="583" y="415"/>
                    <a:pt x="583" y="415"/>
                  </a:cubicBezTo>
                  <a:cubicBezTo>
                    <a:pt x="531" y="339"/>
                    <a:pt x="450" y="271"/>
                    <a:pt x="324" y="271"/>
                  </a:cubicBezTo>
                  <a:cubicBezTo>
                    <a:pt x="161" y="271"/>
                    <a:pt x="0" y="402"/>
                    <a:pt x="0" y="623"/>
                  </a:cubicBezTo>
                  <a:cubicBezTo>
                    <a:pt x="0" y="626"/>
                    <a:pt x="0" y="626"/>
                    <a:pt x="0" y="626"/>
                  </a:cubicBezTo>
                  <a:cubicBezTo>
                    <a:pt x="0" y="849"/>
                    <a:pt x="161" y="977"/>
                    <a:pt x="324" y="977"/>
                  </a:cubicBezTo>
                  <a:cubicBezTo>
                    <a:pt x="448" y="977"/>
                    <a:pt x="528" y="908"/>
                    <a:pt x="583" y="826"/>
                  </a:cubicBezTo>
                  <a:cubicBezTo>
                    <a:pt x="583" y="918"/>
                    <a:pt x="583" y="918"/>
                    <a:pt x="583" y="918"/>
                  </a:cubicBezTo>
                  <a:cubicBezTo>
                    <a:pt x="583" y="947"/>
                    <a:pt x="605" y="969"/>
                    <a:pt x="634" y="969"/>
                  </a:cubicBezTo>
                  <a:cubicBezTo>
                    <a:pt x="662" y="969"/>
                    <a:pt x="684" y="947"/>
                    <a:pt x="684" y="918"/>
                  </a:cubicBezTo>
                  <a:cubicBezTo>
                    <a:pt x="684" y="51"/>
                    <a:pt x="684" y="51"/>
                    <a:pt x="684" y="51"/>
                  </a:cubicBezTo>
                  <a:cubicBezTo>
                    <a:pt x="684" y="22"/>
                    <a:pt x="662" y="0"/>
                    <a:pt x="633" y="0"/>
                  </a:cubicBezTo>
                  <a:moveTo>
                    <a:pt x="587" y="625"/>
                  </a:moveTo>
                  <a:cubicBezTo>
                    <a:pt x="587" y="780"/>
                    <a:pt x="468" y="887"/>
                    <a:pt x="342" y="887"/>
                  </a:cubicBezTo>
                  <a:cubicBezTo>
                    <a:pt x="215" y="887"/>
                    <a:pt x="104" y="784"/>
                    <a:pt x="104" y="625"/>
                  </a:cubicBezTo>
                  <a:cubicBezTo>
                    <a:pt x="104" y="622"/>
                    <a:pt x="104" y="622"/>
                    <a:pt x="104" y="622"/>
                  </a:cubicBezTo>
                  <a:cubicBezTo>
                    <a:pt x="104" y="458"/>
                    <a:pt x="211" y="361"/>
                    <a:pt x="342" y="361"/>
                  </a:cubicBezTo>
                  <a:cubicBezTo>
                    <a:pt x="468" y="361"/>
                    <a:pt x="587" y="466"/>
                    <a:pt x="587" y="622"/>
                  </a:cubicBezTo>
                  <a:lnTo>
                    <a:pt x="587" y="6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31" name="Freeform 10"/>
            <p:cNvSpPr>
              <a:spLocks/>
            </p:cNvSpPr>
            <p:nvPr/>
          </p:nvSpPr>
          <p:spPr bwMode="auto">
            <a:xfrm>
              <a:off x="-16" y="5101"/>
              <a:ext cx="1087" cy="447"/>
            </a:xfrm>
            <a:custGeom>
              <a:avLst/>
              <a:gdLst>
                <a:gd name="T0" fmla="*/ 1524 w 1764"/>
                <a:gd name="T1" fmla="*/ 13 h 724"/>
                <a:gd name="T2" fmla="*/ 1311 w 1764"/>
                <a:gd name="T3" fmla="*/ 104 h 724"/>
                <a:gd name="T4" fmla="*/ 1106 w 1764"/>
                <a:gd name="T5" fmla="*/ 13 h 724"/>
                <a:gd name="T6" fmla="*/ 904 w 1764"/>
                <a:gd name="T7" fmla="*/ 104 h 724"/>
                <a:gd name="T8" fmla="*/ 725 w 1764"/>
                <a:gd name="T9" fmla="*/ 13 h 724"/>
                <a:gd name="T10" fmla="*/ 508 w 1764"/>
                <a:gd name="T11" fmla="*/ 161 h 724"/>
                <a:gd name="T12" fmla="*/ 372 w 1764"/>
                <a:gd name="T13" fmla="*/ 482 h 724"/>
                <a:gd name="T14" fmla="*/ 197 w 1764"/>
                <a:gd name="T15" fmla="*/ 70 h 724"/>
                <a:gd name="T16" fmla="*/ 70 w 1764"/>
                <a:gd name="T17" fmla="*/ 22 h 724"/>
                <a:gd name="T18" fmla="*/ 23 w 1764"/>
                <a:gd name="T19" fmla="*/ 150 h 724"/>
                <a:gd name="T20" fmla="*/ 236 w 1764"/>
                <a:gd name="T21" fmla="*/ 613 h 724"/>
                <a:gd name="T22" fmla="*/ 372 w 1764"/>
                <a:gd name="T23" fmla="*/ 724 h 724"/>
                <a:gd name="T24" fmla="*/ 507 w 1764"/>
                <a:gd name="T25" fmla="*/ 613 h 724"/>
                <a:gd name="T26" fmla="*/ 695 w 1764"/>
                <a:gd name="T27" fmla="*/ 204 h 724"/>
                <a:gd name="T28" fmla="*/ 722 w 1764"/>
                <a:gd name="T29" fmla="*/ 187 h 724"/>
                <a:gd name="T30" fmla="*/ 751 w 1764"/>
                <a:gd name="T31" fmla="*/ 217 h 724"/>
                <a:gd name="T32" fmla="*/ 751 w 1764"/>
                <a:gd name="T33" fmla="*/ 613 h 724"/>
                <a:gd name="T34" fmla="*/ 850 w 1764"/>
                <a:gd name="T35" fmla="*/ 724 h 724"/>
                <a:gd name="T36" fmla="*/ 951 w 1764"/>
                <a:gd name="T37" fmla="*/ 613 h 724"/>
                <a:gd name="T38" fmla="*/ 951 w 1764"/>
                <a:gd name="T39" fmla="*/ 289 h 724"/>
                <a:gd name="T40" fmla="*/ 1056 w 1764"/>
                <a:gd name="T41" fmla="*/ 186 h 724"/>
                <a:gd name="T42" fmla="*/ 1158 w 1764"/>
                <a:gd name="T43" fmla="*/ 289 h 724"/>
                <a:gd name="T44" fmla="*/ 1158 w 1764"/>
                <a:gd name="T45" fmla="*/ 613 h 724"/>
                <a:gd name="T46" fmla="*/ 1257 w 1764"/>
                <a:gd name="T47" fmla="*/ 724 h 724"/>
                <a:gd name="T48" fmla="*/ 1358 w 1764"/>
                <a:gd name="T49" fmla="*/ 613 h 724"/>
                <a:gd name="T50" fmla="*/ 1358 w 1764"/>
                <a:gd name="T51" fmla="*/ 289 h 724"/>
                <a:gd name="T52" fmla="*/ 1463 w 1764"/>
                <a:gd name="T53" fmla="*/ 186 h 724"/>
                <a:gd name="T54" fmla="*/ 1565 w 1764"/>
                <a:gd name="T55" fmla="*/ 289 h 724"/>
                <a:gd name="T56" fmla="*/ 1565 w 1764"/>
                <a:gd name="T57" fmla="*/ 613 h 724"/>
                <a:gd name="T58" fmla="*/ 1664 w 1764"/>
                <a:gd name="T59" fmla="*/ 724 h 724"/>
                <a:gd name="T60" fmla="*/ 1764 w 1764"/>
                <a:gd name="T61" fmla="*/ 613 h 724"/>
                <a:gd name="T62" fmla="*/ 1764 w 1764"/>
                <a:gd name="T63" fmla="*/ 244 h 724"/>
                <a:gd name="T64" fmla="*/ 1524 w 1764"/>
                <a:gd name="T65" fmla="*/ 13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64" h="724">
                  <a:moveTo>
                    <a:pt x="1524" y="13"/>
                  </a:moveTo>
                  <a:cubicBezTo>
                    <a:pt x="1393" y="13"/>
                    <a:pt x="1311" y="104"/>
                    <a:pt x="1311" y="104"/>
                  </a:cubicBezTo>
                  <a:cubicBezTo>
                    <a:pt x="1267" y="47"/>
                    <a:pt x="1207" y="13"/>
                    <a:pt x="1106" y="13"/>
                  </a:cubicBezTo>
                  <a:cubicBezTo>
                    <a:pt x="998" y="13"/>
                    <a:pt x="904" y="104"/>
                    <a:pt x="904" y="104"/>
                  </a:cubicBezTo>
                  <a:cubicBezTo>
                    <a:pt x="861" y="47"/>
                    <a:pt x="786" y="13"/>
                    <a:pt x="725" y="13"/>
                  </a:cubicBezTo>
                  <a:cubicBezTo>
                    <a:pt x="630" y="13"/>
                    <a:pt x="554" y="55"/>
                    <a:pt x="508" y="161"/>
                  </a:cubicBezTo>
                  <a:cubicBezTo>
                    <a:pt x="372" y="482"/>
                    <a:pt x="372" y="482"/>
                    <a:pt x="372" y="482"/>
                  </a:cubicBezTo>
                  <a:cubicBezTo>
                    <a:pt x="197" y="70"/>
                    <a:pt x="197" y="70"/>
                    <a:pt x="197" y="70"/>
                  </a:cubicBezTo>
                  <a:cubicBezTo>
                    <a:pt x="175" y="22"/>
                    <a:pt x="121" y="0"/>
                    <a:pt x="70" y="22"/>
                  </a:cubicBezTo>
                  <a:cubicBezTo>
                    <a:pt x="19" y="45"/>
                    <a:pt x="0" y="101"/>
                    <a:pt x="23" y="150"/>
                  </a:cubicBezTo>
                  <a:cubicBezTo>
                    <a:pt x="236" y="613"/>
                    <a:pt x="236" y="613"/>
                    <a:pt x="236" y="613"/>
                  </a:cubicBezTo>
                  <a:cubicBezTo>
                    <a:pt x="270" y="686"/>
                    <a:pt x="305" y="724"/>
                    <a:pt x="372" y="724"/>
                  </a:cubicBezTo>
                  <a:cubicBezTo>
                    <a:pt x="443" y="724"/>
                    <a:pt x="474" y="683"/>
                    <a:pt x="507" y="613"/>
                  </a:cubicBezTo>
                  <a:cubicBezTo>
                    <a:pt x="507" y="613"/>
                    <a:pt x="693" y="208"/>
                    <a:pt x="695" y="204"/>
                  </a:cubicBezTo>
                  <a:cubicBezTo>
                    <a:pt x="697" y="200"/>
                    <a:pt x="703" y="186"/>
                    <a:pt x="722" y="187"/>
                  </a:cubicBezTo>
                  <a:cubicBezTo>
                    <a:pt x="738" y="187"/>
                    <a:pt x="751" y="199"/>
                    <a:pt x="751" y="217"/>
                  </a:cubicBezTo>
                  <a:cubicBezTo>
                    <a:pt x="751" y="613"/>
                    <a:pt x="751" y="613"/>
                    <a:pt x="751" y="613"/>
                  </a:cubicBezTo>
                  <a:cubicBezTo>
                    <a:pt x="751" y="674"/>
                    <a:pt x="785" y="724"/>
                    <a:pt x="850" y="724"/>
                  </a:cubicBezTo>
                  <a:cubicBezTo>
                    <a:pt x="915" y="724"/>
                    <a:pt x="951" y="674"/>
                    <a:pt x="951" y="613"/>
                  </a:cubicBezTo>
                  <a:cubicBezTo>
                    <a:pt x="951" y="289"/>
                    <a:pt x="951" y="289"/>
                    <a:pt x="951" y="289"/>
                  </a:cubicBezTo>
                  <a:cubicBezTo>
                    <a:pt x="951" y="226"/>
                    <a:pt x="995" y="186"/>
                    <a:pt x="1056" y="186"/>
                  </a:cubicBezTo>
                  <a:cubicBezTo>
                    <a:pt x="1118" y="186"/>
                    <a:pt x="1158" y="228"/>
                    <a:pt x="1158" y="289"/>
                  </a:cubicBezTo>
                  <a:cubicBezTo>
                    <a:pt x="1158" y="613"/>
                    <a:pt x="1158" y="613"/>
                    <a:pt x="1158" y="613"/>
                  </a:cubicBezTo>
                  <a:cubicBezTo>
                    <a:pt x="1158" y="674"/>
                    <a:pt x="1192" y="724"/>
                    <a:pt x="1257" y="724"/>
                  </a:cubicBezTo>
                  <a:cubicBezTo>
                    <a:pt x="1322" y="724"/>
                    <a:pt x="1358" y="674"/>
                    <a:pt x="1358" y="613"/>
                  </a:cubicBezTo>
                  <a:cubicBezTo>
                    <a:pt x="1358" y="289"/>
                    <a:pt x="1358" y="289"/>
                    <a:pt x="1358" y="289"/>
                  </a:cubicBezTo>
                  <a:cubicBezTo>
                    <a:pt x="1358" y="226"/>
                    <a:pt x="1402" y="186"/>
                    <a:pt x="1463" y="186"/>
                  </a:cubicBezTo>
                  <a:cubicBezTo>
                    <a:pt x="1524" y="186"/>
                    <a:pt x="1565" y="228"/>
                    <a:pt x="1565" y="289"/>
                  </a:cubicBezTo>
                  <a:cubicBezTo>
                    <a:pt x="1565" y="613"/>
                    <a:pt x="1565" y="613"/>
                    <a:pt x="1565" y="613"/>
                  </a:cubicBezTo>
                  <a:cubicBezTo>
                    <a:pt x="1565" y="674"/>
                    <a:pt x="1599" y="724"/>
                    <a:pt x="1664" y="724"/>
                  </a:cubicBezTo>
                  <a:cubicBezTo>
                    <a:pt x="1729" y="724"/>
                    <a:pt x="1764" y="674"/>
                    <a:pt x="1764" y="613"/>
                  </a:cubicBezTo>
                  <a:cubicBezTo>
                    <a:pt x="1764" y="244"/>
                    <a:pt x="1764" y="244"/>
                    <a:pt x="1764" y="244"/>
                  </a:cubicBezTo>
                  <a:cubicBezTo>
                    <a:pt x="1764" y="108"/>
                    <a:pt x="1655" y="13"/>
                    <a:pt x="1524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34" name="Freeform 11"/>
            <p:cNvSpPr>
              <a:spLocks noEditPoints="1"/>
            </p:cNvSpPr>
            <p:nvPr/>
          </p:nvSpPr>
          <p:spPr bwMode="auto">
            <a:xfrm>
              <a:off x="3104" y="4944"/>
              <a:ext cx="103" cy="103"/>
            </a:xfrm>
            <a:custGeom>
              <a:avLst/>
              <a:gdLst>
                <a:gd name="T0" fmla="*/ 0 w 167"/>
                <a:gd name="T1" fmla="*/ 84 h 167"/>
                <a:gd name="T2" fmla="*/ 0 w 167"/>
                <a:gd name="T3" fmla="*/ 83 h 167"/>
                <a:gd name="T4" fmla="*/ 84 w 167"/>
                <a:gd name="T5" fmla="*/ 0 h 167"/>
                <a:gd name="T6" fmla="*/ 167 w 167"/>
                <a:gd name="T7" fmla="*/ 83 h 167"/>
                <a:gd name="T8" fmla="*/ 167 w 167"/>
                <a:gd name="T9" fmla="*/ 83 h 167"/>
                <a:gd name="T10" fmla="*/ 84 w 167"/>
                <a:gd name="T11" fmla="*/ 167 h 167"/>
                <a:gd name="T12" fmla="*/ 0 w 167"/>
                <a:gd name="T13" fmla="*/ 84 h 167"/>
                <a:gd name="T14" fmla="*/ 151 w 167"/>
                <a:gd name="T15" fmla="*/ 83 h 167"/>
                <a:gd name="T16" fmla="*/ 151 w 167"/>
                <a:gd name="T17" fmla="*/ 83 h 167"/>
                <a:gd name="T18" fmla="*/ 84 w 167"/>
                <a:gd name="T19" fmla="*/ 15 h 167"/>
                <a:gd name="T20" fmla="*/ 16 w 167"/>
                <a:gd name="T21" fmla="*/ 83 h 167"/>
                <a:gd name="T22" fmla="*/ 16 w 167"/>
                <a:gd name="T23" fmla="*/ 84 h 167"/>
                <a:gd name="T24" fmla="*/ 84 w 167"/>
                <a:gd name="T25" fmla="*/ 152 h 167"/>
                <a:gd name="T26" fmla="*/ 151 w 167"/>
                <a:gd name="T27" fmla="*/ 83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7" h="167">
                  <a:moveTo>
                    <a:pt x="0" y="84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0" y="38"/>
                    <a:pt x="37" y="0"/>
                    <a:pt x="84" y="0"/>
                  </a:cubicBezTo>
                  <a:cubicBezTo>
                    <a:pt x="131" y="0"/>
                    <a:pt x="167" y="38"/>
                    <a:pt x="167" y="83"/>
                  </a:cubicBezTo>
                  <a:cubicBezTo>
                    <a:pt x="167" y="83"/>
                    <a:pt x="167" y="83"/>
                    <a:pt x="167" y="83"/>
                  </a:cubicBezTo>
                  <a:cubicBezTo>
                    <a:pt x="167" y="129"/>
                    <a:pt x="130" y="167"/>
                    <a:pt x="84" y="167"/>
                  </a:cubicBezTo>
                  <a:cubicBezTo>
                    <a:pt x="36" y="167"/>
                    <a:pt x="0" y="130"/>
                    <a:pt x="0" y="84"/>
                  </a:cubicBezTo>
                  <a:moveTo>
                    <a:pt x="151" y="83"/>
                  </a:moveTo>
                  <a:cubicBezTo>
                    <a:pt x="151" y="83"/>
                    <a:pt x="151" y="83"/>
                    <a:pt x="151" y="83"/>
                  </a:cubicBezTo>
                  <a:cubicBezTo>
                    <a:pt x="151" y="46"/>
                    <a:pt x="122" y="15"/>
                    <a:pt x="84" y="15"/>
                  </a:cubicBezTo>
                  <a:cubicBezTo>
                    <a:pt x="45" y="15"/>
                    <a:pt x="16" y="46"/>
                    <a:pt x="16" y="83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6" y="121"/>
                    <a:pt x="45" y="152"/>
                    <a:pt x="84" y="152"/>
                  </a:cubicBezTo>
                  <a:cubicBezTo>
                    <a:pt x="122" y="152"/>
                    <a:pt x="151" y="121"/>
                    <a:pt x="151" y="8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35" name="Freeform 12"/>
            <p:cNvSpPr>
              <a:spLocks noEditPoints="1"/>
            </p:cNvSpPr>
            <p:nvPr/>
          </p:nvSpPr>
          <p:spPr bwMode="auto">
            <a:xfrm>
              <a:off x="3136" y="4970"/>
              <a:ext cx="42" cy="50"/>
            </a:xfrm>
            <a:custGeom>
              <a:avLst/>
              <a:gdLst>
                <a:gd name="T0" fmla="*/ 0 w 67"/>
                <a:gd name="T1" fmla="*/ 9 h 81"/>
                <a:gd name="T2" fmla="*/ 9 w 67"/>
                <a:gd name="T3" fmla="*/ 0 h 81"/>
                <a:gd name="T4" fmla="*/ 36 w 67"/>
                <a:gd name="T5" fmla="*/ 0 h 81"/>
                <a:gd name="T6" fmla="*/ 60 w 67"/>
                <a:gd name="T7" fmla="*/ 8 h 81"/>
                <a:gd name="T8" fmla="*/ 67 w 67"/>
                <a:gd name="T9" fmla="*/ 26 h 81"/>
                <a:gd name="T10" fmla="*/ 67 w 67"/>
                <a:gd name="T11" fmla="*/ 27 h 81"/>
                <a:gd name="T12" fmla="*/ 51 w 67"/>
                <a:gd name="T13" fmla="*/ 51 h 81"/>
                <a:gd name="T14" fmla="*/ 63 w 67"/>
                <a:gd name="T15" fmla="*/ 66 h 81"/>
                <a:gd name="T16" fmla="*/ 66 w 67"/>
                <a:gd name="T17" fmla="*/ 73 h 81"/>
                <a:gd name="T18" fmla="*/ 58 w 67"/>
                <a:gd name="T19" fmla="*/ 81 h 81"/>
                <a:gd name="T20" fmla="*/ 49 w 67"/>
                <a:gd name="T21" fmla="*/ 76 h 81"/>
                <a:gd name="T22" fmla="*/ 32 w 67"/>
                <a:gd name="T23" fmla="*/ 55 h 81"/>
                <a:gd name="T24" fmla="*/ 17 w 67"/>
                <a:gd name="T25" fmla="*/ 55 h 81"/>
                <a:gd name="T26" fmla="*/ 17 w 67"/>
                <a:gd name="T27" fmla="*/ 72 h 81"/>
                <a:gd name="T28" fmla="*/ 9 w 67"/>
                <a:gd name="T29" fmla="*/ 81 h 81"/>
                <a:gd name="T30" fmla="*/ 0 w 67"/>
                <a:gd name="T31" fmla="*/ 72 h 81"/>
                <a:gd name="T32" fmla="*/ 0 w 67"/>
                <a:gd name="T33" fmla="*/ 9 h 81"/>
                <a:gd name="T34" fmla="*/ 35 w 67"/>
                <a:gd name="T35" fmla="*/ 39 h 81"/>
                <a:gd name="T36" fmla="*/ 49 w 67"/>
                <a:gd name="T37" fmla="*/ 27 h 81"/>
                <a:gd name="T38" fmla="*/ 49 w 67"/>
                <a:gd name="T39" fmla="*/ 27 h 81"/>
                <a:gd name="T40" fmla="*/ 35 w 67"/>
                <a:gd name="T41" fmla="*/ 16 h 81"/>
                <a:gd name="T42" fmla="*/ 17 w 67"/>
                <a:gd name="T43" fmla="*/ 16 h 81"/>
                <a:gd name="T44" fmla="*/ 17 w 67"/>
                <a:gd name="T45" fmla="*/ 39 h 81"/>
                <a:gd name="T46" fmla="*/ 35 w 67"/>
                <a:gd name="T47" fmla="*/ 39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7" h="81">
                  <a:moveTo>
                    <a:pt x="0" y="9"/>
                  </a:moveTo>
                  <a:cubicBezTo>
                    <a:pt x="0" y="4"/>
                    <a:pt x="4" y="0"/>
                    <a:pt x="9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47" y="0"/>
                    <a:pt x="55" y="3"/>
                    <a:pt x="60" y="8"/>
                  </a:cubicBezTo>
                  <a:cubicBezTo>
                    <a:pt x="65" y="12"/>
                    <a:pt x="67" y="19"/>
                    <a:pt x="67" y="26"/>
                  </a:cubicBezTo>
                  <a:cubicBezTo>
                    <a:pt x="67" y="27"/>
                    <a:pt x="67" y="27"/>
                    <a:pt x="67" y="27"/>
                  </a:cubicBezTo>
                  <a:cubicBezTo>
                    <a:pt x="67" y="39"/>
                    <a:pt x="61" y="47"/>
                    <a:pt x="51" y="51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5" y="68"/>
                    <a:pt x="66" y="70"/>
                    <a:pt x="66" y="73"/>
                  </a:cubicBezTo>
                  <a:cubicBezTo>
                    <a:pt x="66" y="78"/>
                    <a:pt x="62" y="81"/>
                    <a:pt x="58" y="81"/>
                  </a:cubicBezTo>
                  <a:cubicBezTo>
                    <a:pt x="54" y="81"/>
                    <a:pt x="51" y="79"/>
                    <a:pt x="49" y="76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17" y="55"/>
                    <a:pt x="17" y="55"/>
                    <a:pt x="17" y="55"/>
                  </a:cubicBezTo>
                  <a:cubicBezTo>
                    <a:pt x="17" y="72"/>
                    <a:pt x="17" y="72"/>
                    <a:pt x="17" y="72"/>
                  </a:cubicBezTo>
                  <a:cubicBezTo>
                    <a:pt x="17" y="77"/>
                    <a:pt x="14" y="81"/>
                    <a:pt x="9" y="81"/>
                  </a:cubicBezTo>
                  <a:cubicBezTo>
                    <a:pt x="4" y="81"/>
                    <a:pt x="0" y="77"/>
                    <a:pt x="0" y="72"/>
                  </a:cubicBezTo>
                  <a:lnTo>
                    <a:pt x="0" y="9"/>
                  </a:lnTo>
                  <a:close/>
                  <a:moveTo>
                    <a:pt x="35" y="39"/>
                  </a:moveTo>
                  <a:cubicBezTo>
                    <a:pt x="44" y="39"/>
                    <a:pt x="49" y="34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0"/>
                    <a:pt x="44" y="16"/>
                    <a:pt x="35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39"/>
                    <a:pt x="17" y="39"/>
                    <a:pt x="17" y="39"/>
                  </a:cubicBezTo>
                  <a:lnTo>
                    <a:pt x="35" y="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etric 1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322757" y="685800"/>
            <a:ext cx="4389120" cy="1676400"/>
          </a:xfrm>
        </p:spPr>
        <p:txBody>
          <a:bodyPr anchor="b"/>
          <a:lstStyle>
            <a:lvl1pPr marL="3168" indent="0">
              <a:spcBef>
                <a:spcPts val="0"/>
              </a:spcBef>
              <a:buNone/>
              <a:defRPr sz="10976">
                <a:solidFill>
                  <a:schemeClr val="accent3"/>
                </a:solidFill>
              </a:defRPr>
            </a:lvl1pPr>
            <a:lvl2pPr marL="3168" indent="0">
              <a:spcBef>
                <a:spcPts val="0"/>
              </a:spcBef>
              <a:buNone/>
              <a:defRPr sz="10976">
                <a:solidFill>
                  <a:schemeClr val="accent3"/>
                </a:solidFill>
              </a:defRPr>
            </a:lvl2pPr>
            <a:lvl3pPr marL="3168" indent="0">
              <a:spcBef>
                <a:spcPts val="0"/>
              </a:spcBef>
              <a:buNone/>
              <a:defRPr sz="10976">
                <a:solidFill>
                  <a:schemeClr val="accent3"/>
                </a:solidFill>
              </a:defRPr>
            </a:lvl3pPr>
            <a:lvl4pPr marL="3168" indent="0">
              <a:spcBef>
                <a:spcPts val="0"/>
              </a:spcBef>
              <a:buNone/>
              <a:defRPr sz="10976">
                <a:solidFill>
                  <a:schemeClr val="accent3"/>
                </a:solidFill>
              </a:defRPr>
            </a:lvl4pPr>
            <a:lvl5pPr marL="3168" indent="0">
              <a:spcBef>
                <a:spcPts val="0"/>
              </a:spcBef>
              <a:buNone/>
              <a:defRPr sz="10976">
                <a:solidFill>
                  <a:schemeClr val="accent3"/>
                </a:solidFill>
              </a:defRPr>
            </a:lvl5pPr>
            <a:lvl6pPr marL="3168" indent="0">
              <a:spcBef>
                <a:spcPts val="0"/>
              </a:spcBef>
              <a:buNone/>
              <a:defRPr sz="10976">
                <a:solidFill>
                  <a:schemeClr val="accent3"/>
                </a:solidFill>
              </a:defRPr>
            </a:lvl6pPr>
            <a:lvl7pPr marL="3168" indent="0">
              <a:spcBef>
                <a:spcPts val="0"/>
              </a:spcBef>
              <a:buNone/>
              <a:defRPr sz="10976">
                <a:solidFill>
                  <a:schemeClr val="accent3"/>
                </a:solidFill>
              </a:defRPr>
            </a:lvl7pPr>
            <a:lvl8pPr marL="3168" indent="0">
              <a:spcBef>
                <a:spcPts val="0"/>
              </a:spcBef>
              <a:buNone/>
              <a:defRPr sz="10976">
                <a:solidFill>
                  <a:schemeClr val="accent3"/>
                </a:solidFill>
              </a:defRPr>
            </a:lvl8pPr>
            <a:lvl9pPr marL="3168" indent="0">
              <a:spcBef>
                <a:spcPts val="0"/>
              </a:spcBef>
              <a:buNone/>
              <a:defRPr sz="10976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322757" y="2362200"/>
            <a:ext cx="4389120" cy="1066800"/>
          </a:xfrm>
        </p:spPr>
        <p:txBody>
          <a:bodyPr/>
          <a:lstStyle>
            <a:lvl1pPr marL="3168" indent="0">
              <a:spcBef>
                <a:spcPts val="0"/>
              </a:spcBef>
              <a:buNone/>
              <a:defRPr sz="2395" cap="none" baseline="0">
                <a:solidFill>
                  <a:schemeClr val="accent3"/>
                </a:solidFill>
              </a:defRPr>
            </a:lvl1pPr>
            <a:lvl2pPr marL="3168" indent="0">
              <a:spcBef>
                <a:spcPts val="0"/>
              </a:spcBef>
              <a:buNone/>
              <a:defRPr sz="1996" cap="all" baseline="0">
                <a:solidFill>
                  <a:schemeClr val="accent3"/>
                </a:solidFill>
              </a:defRPr>
            </a:lvl2pPr>
            <a:lvl3pPr marL="3168" indent="0">
              <a:spcBef>
                <a:spcPts val="0"/>
              </a:spcBef>
              <a:buNone/>
              <a:defRPr sz="1996" cap="all" baseline="0">
                <a:solidFill>
                  <a:schemeClr val="accent3"/>
                </a:solidFill>
              </a:defRPr>
            </a:lvl3pPr>
            <a:lvl4pPr marL="3168" indent="0">
              <a:spcBef>
                <a:spcPts val="0"/>
              </a:spcBef>
              <a:buNone/>
              <a:defRPr sz="1996" cap="all" baseline="0">
                <a:solidFill>
                  <a:schemeClr val="accent3"/>
                </a:solidFill>
              </a:defRPr>
            </a:lvl4pPr>
            <a:lvl5pPr marL="3168" indent="0">
              <a:spcBef>
                <a:spcPts val="0"/>
              </a:spcBef>
              <a:buNone/>
              <a:defRPr sz="1996" cap="all" baseline="0">
                <a:solidFill>
                  <a:schemeClr val="accent3"/>
                </a:solidFill>
              </a:defRPr>
            </a:lvl5pPr>
            <a:lvl6pPr marL="3168" indent="0">
              <a:spcBef>
                <a:spcPts val="0"/>
              </a:spcBef>
              <a:buNone/>
              <a:defRPr sz="1996" cap="all" baseline="0">
                <a:solidFill>
                  <a:schemeClr val="accent3"/>
                </a:solidFill>
              </a:defRPr>
            </a:lvl6pPr>
            <a:lvl7pPr marL="3168" indent="0">
              <a:spcBef>
                <a:spcPts val="0"/>
              </a:spcBef>
              <a:buNone/>
              <a:defRPr sz="1996" cap="all" baseline="0">
                <a:solidFill>
                  <a:schemeClr val="accent3"/>
                </a:solidFill>
              </a:defRPr>
            </a:lvl7pPr>
            <a:lvl8pPr marL="3168" indent="0">
              <a:spcBef>
                <a:spcPts val="0"/>
              </a:spcBef>
              <a:buNone/>
              <a:defRPr sz="1996" cap="all" baseline="0">
                <a:solidFill>
                  <a:schemeClr val="accent3"/>
                </a:solidFill>
              </a:defRPr>
            </a:lvl8pPr>
            <a:lvl9pPr marL="3168" indent="0">
              <a:spcBef>
                <a:spcPts val="0"/>
              </a:spcBef>
              <a:buNone/>
              <a:defRPr sz="1996" cap="all" baseline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7" name="Group 4"/>
          <p:cNvGrpSpPr>
            <a:grpSpLocks noChangeAspect="1"/>
          </p:cNvGrpSpPr>
          <p:nvPr/>
        </p:nvGrpSpPr>
        <p:grpSpPr bwMode="auto">
          <a:xfrm>
            <a:off x="615656" y="6376993"/>
            <a:ext cx="1294203" cy="242475"/>
            <a:chOff x="-16" y="4944"/>
            <a:chExt cx="3223" cy="604"/>
          </a:xfrm>
          <a:solidFill>
            <a:schemeClr val="tx1"/>
          </a:solidFill>
        </p:grpSpPr>
        <p:sp>
          <p:nvSpPr>
            <p:cNvPr id="18" name="Freeform 5"/>
            <p:cNvSpPr>
              <a:spLocks/>
            </p:cNvSpPr>
            <p:nvPr/>
          </p:nvSpPr>
          <p:spPr bwMode="auto">
            <a:xfrm>
              <a:off x="1098" y="5116"/>
              <a:ext cx="612" cy="429"/>
            </a:xfrm>
            <a:custGeom>
              <a:avLst/>
              <a:gdLst>
                <a:gd name="T0" fmla="*/ 943 w 993"/>
                <a:gd name="T1" fmla="*/ 0 h 694"/>
                <a:gd name="T2" fmla="*/ 894 w 993"/>
                <a:gd name="T3" fmla="*/ 39 h 694"/>
                <a:gd name="T4" fmla="*/ 721 w 993"/>
                <a:gd name="T5" fmla="*/ 550 h 694"/>
                <a:gd name="T6" fmla="*/ 551 w 993"/>
                <a:gd name="T7" fmla="*/ 40 h 694"/>
                <a:gd name="T8" fmla="*/ 499 w 993"/>
                <a:gd name="T9" fmla="*/ 0 h 694"/>
                <a:gd name="T10" fmla="*/ 494 w 993"/>
                <a:gd name="T11" fmla="*/ 0 h 694"/>
                <a:gd name="T12" fmla="*/ 444 w 993"/>
                <a:gd name="T13" fmla="*/ 40 h 694"/>
                <a:gd name="T14" fmla="*/ 272 w 993"/>
                <a:gd name="T15" fmla="*/ 550 h 694"/>
                <a:gd name="T16" fmla="*/ 102 w 993"/>
                <a:gd name="T17" fmla="*/ 42 h 694"/>
                <a:gd name="T18" fmla="*/ 51 w 993"/>
                <a:gd name="T19" fmla="*/ 0 h 694"/>
                <a:gd name="T20" fmla="*/ 0 w 993"/>
                <a:gd name="T21" fmla="*/ 48 h 694"/>
                <a:gd name="T22" fmla="*/ 6 w 993"/>
                <a:gd name="T23" fmla="*/ 76 h 694"/>
                <a:gd name="T24" fmla="*/ 212 w 993"/>
                <a:gd name="T25" fmla="*/ 648 h 694"/>
                <a:gd name="T26" fmla="*/ 268 w 993"/>
                <a:gd name="T27" fmla="*/ 694 h 694"/>
                <a:gd name="T28" fmla="*/ 271 w 993"/>
                <a:gd name="T29" fmla="*/ 694 h 694"/>
                <a:gd name="T30" fmla="*/ 326 w 993"/>
                <a:gd name="T31" fmla="*/ 648 h 694"/>
                <a:gd name="T32" fmla="*/ 496 w 993"/>
                <a:gd name="T33" fmla="*/ 154 h 694"/>
                <a:gd name="T34" fmla="*/ 665 w 993"/>
                <a:gd name="T35" fmla="*/ 648 h 694"/>
                <a:gd name="T36" fmla="*/ 720 w 993"/>
                <a:gd name="T37" fmla="*/ 694 h 694"/>
                <a:gd name="T38" fmla="*/ 724 w 993"/>
                <a:gd name="T39" fmla="*/ 694 h 694"/>
                <a:gd name="T40" fmla="*/ 779 w 993"/>
                <a:gd name="T41" fmla="*/ 648 h 694"/>
                <a:gd name="T42" fmla="*/ 986 w 993"/>
                <a:gd name="T43" fmla="*/ 74 h 694"/>
                <a:gd name="T44" fmla="*/ 993 w 993"/>
                <a:gd name="T45" fmla="*/ 47 h 694"/>
                <a:gd name="T46" fmla="*/ 943 w 993"/>
                <a:gd name="T47" fmla="*/ 0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93" h="694">
                  <a:moveTo>
                    <a:pt x="943" y="0"/>
                  </a:moveTo>
                  <a:cubicBezTo>
                    <a:pt x="915" y="0"/>
                    <a:pt x="901" y="18"/>
                    <a:pt x="894" y="39"/>
                  </a:cubicBezTo>
                  <a:cubicBezTo>
                    <a:pt x="721" y="550"/>
                    <a:pt x="721" y="550"/>
                    <a:pt x="721" y="550"/>
                  </a:cubicBezTo>
                  <a:cubicBezTo>
                    <a:pt x="551" y="40"/>
                    <a:pt x="551" y="40"/>
                    <a:pt x="551" y="40"/>
                  </a:cubicBezTo>
                  <a:cubicBezTo>
                    <a:pt x="543" y="17"/>
                    <a:pt x="526" y="0"/>
                    <a:pt x="499" y="0"/>
                  </a:cubicBezTo>
                  <a:cubicBezTo>
                    <a:pt x="494" y="0"/>
                    <a:pt x="494" y="0"/>
                    <a:pt x="494" y="0"/>
                  </a:cubicBezTo>
                  <a:cubicBezTo>
                    <a:pt x="467" y="0"/>
                    <a:pt x="452" y="17"/>
                    <a:pt x="444" y="40"/>
                  </a:cubicBezTo>
                  <a:cubicBezTo>
                    <a:pt x="272" y="550"/>
                    <a:pt x="272" y="550"/>
                    <a:pt x="272" y="550"/>
                  </a:cubicBezTo>
                  <a:cubicBezTo>
                    <a:pt x="102" y="42"/>
                    <a:pt x="102" y="42"/>
                    <a:pt x="102" y="42"/>
                  </a:cubicBezTo>
                  <a:cubicBezTo>
                    <a:pt x="94" y="17"/>
                    <a:pt x="77" y="0"/>
                    <a:pt x="51" y="0"/>
                  </a:cubicBezTo>
                  <a:cubicBezTo>
                    <a:pt x="21" y="0"/>
                    <a:pt x="0" y="23"/>
                    <a:pt x="0" y="48"/>
                  </a:cubicBezTo>
                  <a:cubicBezTo>
                    <a:pt x="0" y="57"/>
                    <a:pt x="4" y="68"/>
                    <a:pt x="6" y="76"/>
                  </a:cubicBezTo>
                  <a:cubicBezTo>
                    <a:pt x="212" y="648"/>
                    <a:pt x="212" y="648"/>
                    <a:pt x="212" y="648"/>
                  </a:cubicBezTo>
                  <a:cubicBezTo>
                    <a:pt x="222" y="678"/>
                    <a:pt x="243" y="694"/>
                    <a:pt x="268" y="694"/>
                  </a:cubicBezTo>
                  <a:cubicBezTo>
                    <a:pt x="271" y="694"/>
                    <a:pt x="271" y="694"/>
                    <a:pt x="271" y="694"/>
                  </a:cubicBezTo>
                  <a:cubicBezTo>
                    <a:pt x="297" y="694"/>
                    <a:pt x="317" y="678"/>
                    <a:pt x="326" y="648"/>
                  </a:cubicBezTo>
                  <a:cubicBezTo>
                    <a:pt x="496" y="154"/>
                    <a:pt x="496" y="154"/>
                    <a:pt x="496" y="154"/>
                  </a:cubicBezTo>
                  <a:cubicBezTo>
                    <a:pt x="665" y="648"/>
                    <a:pt x="665" y="648"/>
                    <a:pt x="665" y="648"/>
                  </a:cubicBezTo>
                  <a:cubicBezTo>
                    <a:pt x="674" y="678"/>
                    <a:pt x="694" y="694"/>
                    <a:pt x="720" y="694"/>
                  </a:cubicBezTo>
                  <a:cubicBezTo>
                    <a:pt x="724" y="694"/>
                    <a:pt x="724" y="694"/>
                    <a:pt x="724" y="694"/>
                  </a:cubicBezTo>
                  <a:cubicBezTo>
                    <a:pt x="748" y="694"/>
                    <a:pt x="769" y="678"/>
                    <a:pt x="779" y="648"/>
                  </a:cubicBezTo>
                  <a:cubicBezTo>
                    <a:pt x="986" y="74"/>
                    <a:pt x="986" y="74"/>
                    <a:pt x="986" y="74"/>
                  </a:cubicBezTo>
                  <a:cubicBezTo>
                    <a:pt x="989" y="67"/>
                    <a:pt x="993" y="56"/>
                    <a:pt x="993" y="47"/>
                  </a:cubicBezTo>
                  <a:cubicBezTo>
                    <a:pt x="993" y="22"/>
                    <a:pt x="972" y="0"/>
                    <a:pt x="943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19" name="Freeform 6"/>
            <p:cNvSpPr>
              <a:spLocks noEditPoints="1"/>
            </p:cNvSpPr>
            <p:nvPr/>
          </p:nvSpPr>
          <p:spPr bwMode="auto">
            <a:xfrm>
              <a:off x="1720" y="5111"/>
              <a:ext cx="417" cy="437"/>
            </a:xfrm>
            <a:custGeom>
              <a:avLst/>
              <a:gdLst>
                <a:gd name="T0" fmla="*/ 340 w 678"/>
                <a:gd name="T1" fmla="*/ 0 h 707"/>
                <a:gd name="T2" fmla="*/ 0 w 678"/>
                <a:gd name="T3" fmla="*/ 354 h 707"/>
                <a:gd name="T4" fmla="*/ 0 w 678"/>
                <a:gd name="T5" fmla="*/ 356 h 707"/>
                <a:gd name="T6" fmla="*/ 337 w 678"/>
                <a:gd name="T7" fmla="*/ 707 h 707"/>
                <a:gd name="T8" fmla="*/ 678 w 678"/>
                <a:gd name="T9" fmla="*/ 354 h 707"/>
                <a:gd name="T10" fmla="*/ 678 w 678"/>
                <a:gd name="T11" fmla="*/ 351 h 707"/>
                <a:gd name="T12" fmla="*/ 340 w 678"/>
                <a:gd name="T13" fmla="*/ 0 h 707"/>
                <a:gd name="T14" fmla="*/ 575 w 678"/>
                <a:gd name="T15" fmla="*/ 356 h 707"/>
                <a:gd name="T16" fmla="*/ 340 w 678"/>
                <a:gd name="T17" fmla="*/ 631 h 707"/>
                <a:gd name="T18" fmla="*/ 103 w 678"/>
                <a:gd name="T19" fmla="*/ 354 h 707"/>
                <a:gd name="T20" fmla="*/ 103 w 678"/>
                <a:gd name="T21" fmla="*/ 351 h 707"/>
                <a:gd name="T22" fmla="*/ 337 w 678"/>
                <a:gd name="T23" fmla="*/ 75 h 707"/>
                <a:gd name="T24" fmla="*/ 575 w 678"/>
                <a:gd name="T25" fmla="*/ 354 h 707"/>
                <a:gd name="T26" fmla="*/ 575 w 678"/>
                <a:gd name="T27" fmla="*/ 356 h 7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78" h="707">
                  <a:moveTo>
                    <a:pt x="340" y="0"/>
                  </a:moveTo>
                  <a:cubicBezTo>
                    <a:pt x="135" y="0"/>
                    <a:pt x="0" y="162"/>
                    <a:pt x="0" y="354"/>
                  </a:cubicBezTo>
                  <a:cubicBezTo>
                    <a:pt x="0" y="356"/>
                    <a:pt x="0" y="356"/>
                    <a:pt x="0" y="356"/>
                  </a:cubicBezTo>
                  <a:cubicBezTo>
                    <a:pt x="0" y="548"/>
                    <a:pt x="134" y="707"/>
                    <a:pt x="337" y="707"/>
                  </a:cubicBezTo>
                  <a:cubicBezTo>
                    <a:pt x="541" y="707"/>
                    <a:pt x="678" y="545"/>
                    <a:pt x="678" y="354"/>
                  </a:cubicBezTo>
                  <a:cubicBezTo>
                    <a:pt x="678" y="351"/>
                    <a:pt x="678" y="351"/>
                    <a:pt x="678" y="351"/>
                  </a:cubicBezTo>
                  <a:cubicBezTo>
                    <a:pt x="678" y="160"/>
                    <a:pt x="543" y="0"/>
                    <a:pt x="340" y="0"/>
                  </a:cubicBezTo>
                  <a:moveTo>
                    <a:pt x="575" y="356"/>
                  </a:moveTo>
                  <a:cubicBezTo>
                    <a:pt x="575" y="499"/>
                    <a:pt x="486" y="631"/>
                    <a:pt x="340" y="631"/>
                  </a:cubicBezTo>
                  <a:cubicBezTo>
                    <a:pt x="197" y="631"/>
                    <a:pt x="103" y="499"/>
                    <a:pt x="103" y="354"/>
                  </a:cubicBezTo>
                  <a:cubicBezTo>
                    <a:pt x="103" y="351"/>
                    <a:pt x="103" y="351"/>
                    <a:pt x="103" y="351"/>
                  </a:cubicBezTo>
                  <a:cubicBezTo>
                    <a:pt x="103" y="208"/>
                    <a:pt x="190" y="75"/>
                    <a:pt x="337" y="75"/>
                  </a:cubicBezTo>
                  <a:cubicBezTo>
                    <a:pt x="480" y="75"/>
                    <a:pt x="575" y="208"/>
                    <a:pt x="575" y="354"/>
                  </a:cubicBezTo>
                  <a:lnTo>
                    <a:pt x="575" y="3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20" name="Freeform 7"/>
            <p:cNvSpPr>
              <a:spLocks/>
            </p:cNvSpPr>
            <p:nvPr/>
          </p:nvSpPr>
          <p:spPr bwMode="auto">
            <a:xfrm>
              <a:off x="2198" y="5115"/>
              <a:ext cx="236" cy="428"/>
            </a:xfrm>
            <a:custGeom>
              <a:avLst/>
              <a:gdLst>
                <a:gd name="T0" fmla="*/ 334 w 384"/>
                <a:gd name="T1" fmla="*/ 0 h 693"/>
                <a:gd name="T2" fmla="*/ 101 w 384"/>
                <a:gd name="T3" fmla="*/ 181 h 693"/>
                <a:gd name="T4" fmla="*/ 101 w 384"/>
                <a:gd name="T5" fmla="*/ 54 h 693"/>
                <a:gd name="T6" fmla="*/ 50 w 384"/>
                <a:gd name="T7" fmla="*/ 3 h 693"/>
                <a:gd name="T8" fmla="*/ 0 w 384"/>
                <a:gd name="T9" fmla="*/ 54 h 693"/>
                <a:gd name="T10" fmla="*/ 0 w 384"/>
                <a:gd name="T11" fmla="*/ 642 h 693"/>
                <a:gd name="T12" fmla="*/ 51 w 384"/>
                <a:gd name="T13" fmla="*/ 693 h 693"/>
                <a:gd name="T14" fmla="*/ 101 w 384"/>
                <a:gd name="T15" fmla="*/ 642 h 693"/>
                <a:gd name="T16" fmla="*/ 101 w 384"/>
                <a:gd name="T17" fmla="*/ 412 h 693"/>
                <a:gd name="T18" fmla="*/ 339 w 384"/>
                <a:gd name="T19" fmla="*/ 102 h 693"/>
                <a:gd name="T20" fmla="*/ 384 w 384"/>
                <a:gd name="T21" fmla="*/ 51 h 693"/>
                <a:gd name="T22" fmla="*/ 334 w 384"/>
                <a:gd name="T23" fmla="*/ 0 h 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4" h="693">
                  <a:moveTo>
                    <a:pt x="334" y="0"/>
                  </a:moveTo>
                  <a:cubicBezTo>
                    <a:pt x="249" y="0"/>
                    <a:pt x="151" y="68"/>
                    <a:pt x="101" y="181"/>
                  </a:cubicBezTo>
                  <a:cubicBezTo>
                    <a:pt x="101" y="54"/>
                    <a:pt x="101" y="54"/>
                    <a:pt x="101" y="54"/>
                  </a:cubicBezTo>
                  <a:cubicBezTo>
                    <a:pt x="101" y="25"/>
                    <a:pt x="79" y="3"/>
                    <a:pt x="50" y="3"/>
                  </a:cubicBezTo>
                  <a:cubicBezTo>
                    <a:pt x="22" y="3"/>
                    <a:pt x="0" y="26"/>
                    <a:pt x="0" y="54"/>
                  </a:cubicBezTo>
                  <a:cubicBezTo>
                    <a:pt x="0" y="642"/>
                    <a:pt x="0" y="642"/>
                    <a:pt x="0" y="642"/>
                  </a:cubicBezTo>
                  <a:cubicBezTo>
                    <a:pt x="0" y="671"/>
                    <a:pt x="22" y="693"/>
                    <a:pt x="51" y="693"/>
                  </a:cubicBezTo>
                  <a:cubicBezTo>
                    <a:pt x="80" y="693"/>
                    <a:pt x="101" y="670"/>
                    <a:pt x="101" y="642"/>
                  </a:cubicBezTo>
                  <a:cubicBezTo>
                    <a:pt x="101" y="412"/>
                    <a:pt x="101" y="412"/>
                    <a:pt x="101" y="412"/>
                  </a:cubicBezTo>
                  <a:cubicBezTo>
                    <a:pt x="101" y="216"/>
                    <a:pt x="208" y="118"/>
                    <a:pt x="339" y="102"/>
                  </a:cubicBezTo>
                  <a:cubicBezTo>
                    <a:pt x="365" y="98"/>
                    <a:pt x="384" y="79"/>
                    <a:pt x="384" y="51"/>
                  </a:cubicBezTo>
                  <a:cubicBezTo>
                    <a:pt x="384" y="22"/>
                    <a:pt x="364" y="0"/>
                    <a:pt x="33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auto">
            <a:xfrm>
              <a:off x="2500" y="4944"/>
              <a:ext cx="63" cy="599"/>
            </a:xfrm>
            <a:custGeom>
              <a:avLst/>
              <a:gdLst>
                <a:gd name="T0" fmla="*/ 49 w 101"/>
                <a:gd name="T1" fmla="*/ 0 h 969"/>
                <a:gd name="T2" fmla="*/ 0 w 101"/>
                <a:gd name="T3" fmla="*/ 51 h 969"/>
                <a:gd name="T4" fmla="*/ 0 w 101"/>
                <a:gd name="T5" fmla="*/ 918 h 969"/>
                <a:gd name="T6" fmla="*/ 51 w 101"/>
                <a:gd name="T7" fmla="*/ 969 h 969"/>
                <a:gd name="T8" fmla="*/ 101 w 101"/>
                <a:gd name="T9" fmla="*/ 918 h 969"/>
                <a:gd name="T10" fmla="*/ 101 w 101"/>
                <a:gd name="T11" fmla="*/ 51 h 969"/>
                <a:gd name="T12" fmla="*/ 49 w 101"/>
                <a:gd name="T13" fmla="*/ 0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" h="969">
                  <a:moveTo>
                    <a:pt x="49" y="0"/>
                  </a:moveTo>
                  <a:cubicBezTo>
                    <a:pt x="22" y="0"/>
                    <a:pt x="0" y="23"/>
                    <a:pt x="0" y="51"/>
                  </a:cubicBezTo>
                  <a:cubicBezTo>
                    <a:pt x="0" y="918"/>
                    <a:pt x="0" y="918"/>
                    <a:pt x="0" y="918"/>
                  </a:cubicBezTo>
                  <a:cubicBezTo>
                    <a:pt x="0" y="947"/>
                    <a:pt x="22" y="969"/>
                    <a:pt x="51" y="969"/>
                  </a:cubicBezTo>
                  <a:cubicBezTo>
                    <a:pt x="80" y="969"/>
                    <a:pt x="101" y="947"/>
                    <a:pt x="101" y="918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3"/>
                    <a:pt x="78" y="0"/>
                    <a:pt x="4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/>
          </p:nvSpPr>
          <p:spPr bwMode="auto">
            <a:xfrm>
              <a:off x="2626" y="4944"/>
              <a:ext cx="421" cy="604"/>
            </a:xfrm>
            <a:custGeom>
              <a:avLst/>
              <a:gdLst>
                <a:gd name="T0" fmla="*/ 633 w 684"/>
                <a:gd name="T1" fmla="*/ 0 h 977"/>
                <a:gd name="T2" fmla="*/ 583 w 684"/>
                <a:gd name="T3" fmla="*/ 51 h 977"/>
                <a:gd name="T4" fmla="*/ 583 w 684"/>
                <a:gd name="T5" fmla="*/ 415 h 977"/>
                <a:gd name="T6" fmla="*/ 324 w 684"/>
                <a:gd name="T7" fmla="*/ 271 h 977"/>
                <a:gd name="T8" fmla="*/ 0 w 684"/>
                <a:gd name="T9" fmla="*/ 623 h 977"/>
                <a:gd name="T10" fmla="*/ 0 w 684"/>
                <a:gd name="T11" fmla="*/ 626 h 977"/>
                <a:gd name="T12" fmla="*/ 324 w 684"/>
                <a:gd name="T13" fmla="*/ 977 h 977"/>
                <a:gd name="T14" fmla="*/ 583 w 684"/>
                <a:gd name="T15" fmla="*/ 826 h 977"/>
                <a:gd name="T16" fmla="*/ 583 w 684"/>
                <a:gd name="T17" fmla="*/ 918 h 977"/>
                <a:gd name="T18" fmla="*/ 634 w 684"/>
                <a:gd name="T19" fmla="*/ 969 h 977"/>
                <a:gd name="T20" fmla="*/ 684 w 684"/>
                <a:gd name="T21" fmla="*/ 918 h 977"/>
                <a:gd name="T22" fmla="*/ 684 w 684"/>
                <a:gd name="T23" fmla="*/ 51 h 977"/>
                <a:gd name="T24" fmla="*/ 633 w 684"/>
                <a:gd name="T25" fmla="*/ 0 h 977"/>
                <a:gd name="T26" fmla="*/ 587 w 684"/>
                <a:gd name="T27" fmla="*/ 625 h 977"/>
                <a:gd name="T28" fmla="*/ 342 w 684"/>
                <a:gd name="T29" fmla="*/ 887 h 977"/>
                <a:gd name="T30" fmla="*/ 104 w 684"/>
                <a:gd name="T31" fmla="*/ 625 h 977"/>
                <a:gd name="T32" fmla="*/ 104 w 684"/>
                <a:gd name="T33" fmla="*/ 622 h 977"/>
                <a:gd name="T34" fmla="*/ 342 w 684"/>
                <a:gd name="T35" fmla="*/ 361 h 977"/>
                <a:gd name="T36" fmla="*/ 587 w 684"/>
                <a:gd name="T37" fmla="*/ 622 h 977"/>
                <a:gd name="T38" fmla="*/ 587 w 684"/>
                <a:gd name="T39" fmla="*/ 625 h 9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84" h="977">
                  <a:moveTo>
                    <a:pt x="633" y="0"/>
                  </a:moveTo>
                  <a:cubicBezTo>
                    <a:pt x="604" y="0"/>
                    <a:pt x="583" y="22"/>
                    <a:pt x="583" y="51"/>
                  </a:cubicBezTo>
                  <a:cubicBezTo>
                    <a:pt x="583" y="415"/>
                    <a:pt x="583" y="415"/>
                    <a:pt x="583" y="415"/>
                  </a:cubicBezTo>
                  <a:cubicBezTo>
                    <a:pt x="531" y="339"/>
                    <a:pt x="450" y="271"/>
                    <a:pt x="324" y="271"/>
                  </a:cubicBezTo>
                  <a:cubicBezTo>
                    <a:pt x="161" y="271"/>
                    <a:pt x="0" y="402"/>
                    <a:pt x="0" y="623"/>
                  </a:cubicBezTo>
                  <a:cubicBezTo>
                    <a:pt x="0" y="626"/>
                    <a:pt x="0" y="626"/>
                    <a:pt x="0" y="626"/>
                  </a:cubicBezTo>
                  <a:cubicBezTo>
                    <a:pt x="0" y="849"/>
                    <a:pt x="161" y="977"/>
                    <a:pt x="324" y="977"/>
                  </a:cubicBezTo>
                  <a:cubicBezTo>
                    <a:pt x="448" y="977"/>
                    <a:pt x="528" y="908"/>
                    <a:pt x="583" y="826"/>
                  </a:cubicBezTo>
                  <a:cubicBezTo>
                    <a:pt x="583" y="918"/>
                    <a:pt x="583" y="918"/>
                    <a:pt x="583" y="918"/>
                  </a:cubicBezTo>
                  <a:cubicBezTo>
                    <a:pt x="583" y="947"/>
                    <a:pt x="605" y="969"/>
                    <a:pt x="634" y="969"/>
                  </a:cubicBezTo>
                  <a:cubicBezTo>
                    <a:pt x="662" y="969"/>
                    <a:pt x="684" y="947"/>
                    <a:pt x="684" y="918"/>
                  </a:cubicBezTo>
                  <a:cubicBezTo>
                    <a:pt x="684" y="51"/>
                    <a:pt x="684" y="51"/>
                    <a:pt x="684" y="51"/>
                  </a:cubicBezTo>
                  <a:cubicBezTo>
                    <a:pt x="684" y="22"/>
                    <a:pt x="662" y="0"/>
                    <a:pt x="633" y="0"/>
                  </a:cubicBezTo>
                  <a:moveTo>
                    <a:pt x="587" y="625"/>
                  </a:moveTo>
                  <a:cubicBezTo>
                    <a:pt x="587" y="780"/>
                    <a:pt x="468" y="887"/>
                    <a:pt x="342" y="887"/>
                  </a:cubicBezTo>
                  <a:cubicBezTo>
                    <a:pt x="215" y="887"/>
                    <a:pt x="104" y="784"/>
                    <a:pt x="104" y="625"/>
                  </a:cubicBezTo>
                  <a:cubicBezTo>
                    <a:pt x="104" y="622"/>
                    <a:pt x="104" y="622"/>
                    <a:pt x="104" y="622"/>
                  </a:cubicBezTo>
                  <a:cubicBezTo>
                    <a:pt x="104" y="458"/>
                    <a:pt x="211" y="361"/>
                    <a:pt x="342" y="361"/>
                  </a:cubicBezTo>
                  <a:cubicBezTo>
                    <a:pt x="468" y="361"/>
                    <a:pt x="587" y="466"/>
                    <a:pt x="587" y="622"/>
                  </a:cubicBezTo>
                  <a:lnTo>
                    <a:pt x="587" y="6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34" name="Freeform 10"/>
            <p:cNvSpPr>
              <a:spLocks/>
            </p:cNvSpPr>
            <p:nvPr/>
          </p:nvSpPr>
          <p:spPr bwMode="auto">
            <a:xfrm>
              <a:off x="-16" y="5101"/>
              <a:ext cx="1087" cy="447"/>
            </a:xfrm>
            <a:custGeom>
              <a:avLst/>
              <a:gdLst>
                <a:gd name="T0" fmla="*/ 1524 w 1764"/>
                <a:gd name="T1" fmla="*/ 13 h 724"/>
                <a:gd name="T2" fmla="*/ 1311 w 1764"/>
                <a:gd name="T3" fmla="*/ 104 h 724"/>
                <a:gd name="T4" fmla="*/ 1106 w 1764"/>
                <a:gd name="T5" fmla="*/ 13 h 724"/>
                <a:gd name="T6" fmla="*/ 904 w 1764"/>
                <a:gd name="T7" fmla="*/ 104 h 724"/>
                <a:gd name="T8" fmla="*/ 725 w 1764"/>
                <a:gd name="T9" fmla="*/ 13 h 724"/>
                <a:gd name="T10" fmla="*/ 508 w 1764"/>
                <a:gd name="T11" fmla="*/ 161 h 724"/>
                <a:gd name="T12" fmla="*/ 372 w 1764"/>
                <a:gd name="T13" fmla="*/ 482 h 724"/>
                <a:gd name="T14" fmla="*/ 197 w 1764"/>
                <a:gd name="T15" fmla="*/ 70 h 724"/>
                <a:gd name="T16" fmla="*/ 70 w 1764"/>
                <a:gd name="T17" fmla="*/ 22 h 724"/>
                <a:gd name="T18" fmla="*/ 23 w 1764"/>
                <a:gd name="T19" fmla="*/ 150 h 724"/>
                <a:gd name="T20" fmla="*/ 236 w 1764"/>
                <a:gd name="T21" fmla="*/ 613 h 724"/>
                <a:gd name="T22" fmla="*/ 372 w 1764"/>
                <a:gd name="T23" fmla="*/ 724 h 724"/>
                <a:gd name="T24" fmla="*/ 507 w 1764"/>
                <a:gd name="T25" fmla="*/ 613 h 724"/>
                <a:gd name="T26" fmla="*/ 695 w 1764"/>
                <a:gd name="T27" fmla="*/ 204 h 724"/>
                <a:gd name="T28" fmla="*/ 722 w 1764"/>
                <a:gd name="T29" fmla="*/ 187 h 724"/>
                <a:gd name="T30" fmla="*/ 751 w 1764"/>
                <a:gd name="T31" fmla="*/ 217 h 724"/>
                <a:gd name="T32" fmla="*/ 751 w 1764"/>
                <a:gd name="T33" fmla="*/ 613 h 724"/>
                <a:gd name="T34" fmla="*/ 850 w 1764"/>
                <a:gd name="T35" fmla="*/ 724 h 724"/>
                <a:gd name="T36" fmla="*/ 951 w 1764"/>
                <a:gd name="T37" fmla="*/ 613 h 724"/>
                <a:gd name="T38" fmla="*/ 951 w 1764"/>
                <a:gd name="T39" fmla="*/ 289 h 724"/>
                <a:gd name="T40" fmla="*/ 1056 w 1764"/>
                <a:gd name="T41" fmla="*/ 186 h 724"/>
                <a:gd name="T42" fmla="*/ 1158 w 1764"/>
                <a:gd name="T43" fmla="*/ 289 h 724"/>
                <a:gd name="T44" fmla="*/ 1158 w 1764"/>
                <a:gd name="T45" fmla="*/ 613 h 724"/>
                <a:gd name="T46" fmla="*/ 1257 w 1764"/>
                <a:gd name="T47" fmla="*/ 724 h 724"/>
                <a:gd name="T48" fmla="*/ 1358 w 1764"/>
                <a:gd name="T49" fmla="*/ 613 h 724"/>
                <a:gd name="T50" fmla="*/ 1358 w 1764"/>
                <a:gd name="T51" fmla="*/ 289 h 724"/>
                <a:gd name="T52" fmla="*/ 1463 w 1764"/>
                <a:gd name="T53" fmla="*/ 186 h 724"/>
                <a:gd name="T54" fmla="*/ 1565 w 1764"/>
                <a:gd name="T55" fmla="*/ 289 h 724"/>
                <a:gd name="T56" fmla="*/ 1565 w 1764"/>
                <a:gd name="T57" fmla="*/ 613 h 724"/>
                <a:gd name="T58" fmla="*/ 1664 w 1764"/>
                <a:gd name="T59" fmla="*/ 724 h 724"/>
                <a:gd name="T60" fmla="*/ 1764 w 1764"/>
                <a:gd name="T61" fmla="*/ 613 h 724"/>
                <a:gd name="T62" fmla="*/ 1764 w 1764"/>
                <a:gd name="T63" fmla="*/ 244 h 724"/>
                <a:gd name="T64" fmla="*/ 1524 w 1764"/>
                <a:gd name="T65" fmla="*/ 13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64" h="724">
                  <a:moveTo>
                    <a:pt x="1524" y="13"/>
                  </a:moveTo>
                  <a:cubicBezTo>
                    <a:pt x="1393" y="13"/>
                    <a:pt x="1311" y="104"/>
                    <a:pt x="1311" y="104"/>
                  </a:cubicBezTo>
                  <a:cubicBezTo>
                    <a:pt x="1267" y="47"/>
                    <a:pt x="1207" y="13"/>
                    <a:pt x="1106" y="13"/>
                  </a:cubicBezTo>
                  <a:cubicBezTo>
                    <a:pt x="998" y="13"/>
                    <a:pt x="904" y="104"/>
                    <a:pt x="904" y="104"/>
                  </a:cubicBezTo>
                  <a:cubicBezTo>
                    <a:pt x="861" y="47"/>
                    <a:pt x="786" y="13"/>
                    <a:pt x="725" y="13"/>
                  </a:cubicBezTo>
                  <a:cubicBezTo>
                    <a:pt x="630" y="13"/>
                    <a:pt x="554" y="55"/>
                    <a:pt x="508" y="161"/>
                  </a:cubicBezTo>
                  <a:cubicBezTo>
                    <a:pt x="372" y="482"/>
                    <a:pt x="372" y="482"/>
                    <a:pt x="372" y="482"/>
                  </a:cubicBezTo>
                  <a:cubicBezTo>
                    <a:pt x="197" y="70"/>
                    <a:pt x="197" y="70"/>
                    <a:pt x="197" y="70"/>
                  </a:cubicBezTo>
                  <a:cubicBezTo>
                    <a:pt x="175" y="22"/>
                    <a:pt x="121" y="0"/>
                    <a:pt x="70" y="22"/>
                  </a:cubicBezTo>
                  <a:cubicBezTo>
                    <a:pt x="19" y="45"/>
                    <a:pt x="0" y="101"/>
                    <a:pt x="23" y="150"/>
                  </a:cubicBezTo>
                  <a:cubicBezTo>
                    <a:pt x="236" y="613"/>
                    <a:pt x="236" y="613"/>
                    <a:pt x="236" y="613"/>
                  </a:cubicBezTo>
                  <a:cubicBezTo>
                    <a:pt x="270" y="686"/>
                    <a:pt x="305" y="724"/>
                    <a:pt x="372" y="724"/>
                  </a:cubicBezTo>
                  <a:cubicBezTo>
                    <a:pt x="443" y="724"/>
                    <a:pt x="474" y="683"/>
                    <a:pt x="507" y="613"/>
                  </a:cubicBezTo>
                  <a:cubicBezTo>
                    <a:pt x="507" y="613"/>
                    <a:pt x="693" y="208"/>
                    <a:pt x="695" y="204"/>
                  </a:cubicBezTo>
                  <a:cubicBezTo>
                    <a:pt x="697" y="200"/>
                    <a:pt x="703" y="186"/>
                    <a:pt x="722" y="187"/>
                  </a:cubicBezTo>
                  <a:cubicBezTo>
                    <a:pt x="738" y="187"/>
                    <a:pt x="751" y="199"/>
                    <a:pt x="751" y="217"/>
                  </a:cubicBezTo>
                  <a:cubicBezTo>
                    <a:pt x="751" y="613"/>
                    <a:pt x="751" y="613"/>
                    <a:pt x="751" y="613"/>
                  </a:cubicBezTo>
                  <a:cubicBezTo>
                    <a:pt x="751" y="674"/>
                    <a:pt x="785" y="724"/>
                    <a:pt x="850" y="724"/>
                  </a:cubicBezTo>
                  <a:cubicBezTo>
                    <a:pt x="915" y="724"/>
                    <a:pt x="951" y="674"/>
                    <a:pt x="951" y="613"/>
                  </a:cubicBezTo>
                  <a:cubicBezTo>
                    <a:pt x="951" y="289"/>
                    <a:pt x="951" y="289"/>
                    <a:pt x="951" y="289"/>
                  </a:cubicBezTo>
                  <a:cubicBezTo>
                    <a:pt x="951" y="226"/>
                    <a:pt x="995" y="186"/>
                    <a:pt x="1056" y="186"/>
                  </a:cubicBezTo>
                  <a:cubicBezTo>
                    <a:pt x="1118" y="186"/>
                    <a:pt x="1158" y="228"/>
                    <a:pt x="1158" y="289"/>
                  </a:cubicBezTo>
                  <a:cubicBezTo>
                    <a:pt x="1158" y="613"/>
                    <a:pt x="1158" y="613"/>
                    <a:pt x="1158" y="613"/>
                  </a:cubicBezTo>
                  <a:cubicBezTo>
                    <a:pt x="1158" y="674"/>
                    <a:pt x="1192" y="724"/>
                    <a:pt x="1257" y="724"/>
                  </a:cubicBezTo>
                  <a:cubicBezTo>
                    <a:pt x="1322" y="724"/>
                    <a:pt x="1358" y="674"/>
                    <a:pt x="1358" y="613"/>
                  </a:cubicBezTo>
                  <a:cubicBezTo>
                    <a:pt x="1358" y="289"/>
                    <a:pt x="1358" y="289"/>
                    <a:pt x="1358" y="289"/>
                  </a:cubicBezTo>
                  <a:cubicBezTo>
                    <a:pt x="1358" y="226"/>
                    <a:pt x="1402" y="186"/>
                    <a:pt x="1463" y="186"/>
                  </a:cubicBezTo>
                  <a:cubicBezTo>
                    <a:pt x="1524" y="186"/>
                    <a:pt x="1565" y="228"/>
                    <a:pt x="1565" y="289"/>
                  </a:cubicBezTo>
                  <a:cubicBezTo>
                    <a:pt x="1565" y="613"/>
                    <a:pt x="1565" y="613"/>
                    <a:pt x="1565" y="613"/>
                  </a:cubicBezTo>
                  <a:cubicBezTo>
                    <a:pt x="1565" y="674"/>
                    <a:pt x="1599" y="724"/>
                    <a:pt x="1664" y="724"/>
                  </a:cubicBezTo>
                  <a:cubicBezTo>
                    <a:pt x="1729" y="724"/>
                    <a:pt x="1764" y="674"/>
                    <a:pt x="1764" y="613"/>
                  </a:cubicBezTo>
                  <a:cubicBezTo>
                    <a:pt x="1764" y="244"/>
                    <a:pt x="1764" y="244"/>
                    <a:pt x="1764" y="244"/>
                  </a:cubicBezTo>
                  <a:cubicBezTo>
                    <a:pt x="1764" y="108"/>
                    <a:pt x="1655" y="13"/>
                    <a:pt x="1524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35" name="Freeform 11"/>
            <p:cNvSpPr>
              <a:spLocks noEditPoints="1"/>
            </p:cNvSpPr>
            <p:nvPr/>
          </p:nvSpPr>
          <p:spPr bwMode="auto">
            <a:xfrm>
              <a:off x="3104" y="4944"/>
              <a:ext cx="103" cy="103"/>
            </a:xfrm>
            <a:custGeom>
              <a:avLst/>
              <a:gdLst>
                <a:gd name="T0" fmla="*/ 0 w 167"/>
                <a:gd name="T1" fmla="*/ 84 h 167"/>
                <a:gd name="T2" fmla="*/ 0 w 167"/>
                <a:gd name="T3" fmla="*/ 83 h 167"/>
                <a:gd name="T4" fmla="*/ 84 w 167"/>
                <a:gd name="T5" fmla="*/ 0 h 167"/>
                <a:gd name="T6" fmla="*/ 167 w 167"/>
                <a:gd name="T7" fmla="*/ 83 h 167"/>
                <a:gd name="T8" fmla="*/ 167 w 167"/>
                <a:gd name="T9" fmla="*/ 83 h 167"/>
                <a:gd name="T10" fmla="*/ 84 w 167"/>
                <a:gd name="T11" fmla="*/ 167 h 167"/>
                <a:gd name="T12" fmla="*/ 0 w 167"/>
                <a:gd name="T13" fmla="*/ 84 h 167"/>
                <a:gd name="T14" fmla="*/ 151 w 167"/>
                <a:gd name="T15" fmla="*/ 83 h 167"/>
                <a:gd name="T16" fmla="*/ 151 w 167"/>
                <a:gd name="T17" fmla="*/ 83 h 167"/>
                <a:gd name="T18" fmla="*/ 84 w 167"/>
                <a:gd name="T19" fmla="*/ 15 h 167"/>
                <a:gd name="T20" fmla="*/ 16 w 167"/>
                <a:gd name="T21" fmla="*/ 83 h 167"/>
                <a:gd name="T22" fmla="*/ 16 w 167"/>
                <a:gd name="T23" fmla="*/ 84 h 167"/>
                <a:gd name="T24" fmla="*/ 84 w 167"/>
                <a:gd name="T25" fmla="*/ 152 h 167"/>
                <a:gd name="T26" fmla="*/ 151 w 167"/>
                <a:gd name="T27" fmla="*/ 83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7" h="167">
                  <a:moveTo>
                    <a:pt x="0" y="84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0" y="38"/>
                    <a:pt x="37" y="0"/>
                    <a:pt x="84" y="0"/>
                  </a:cubicBezTo>
                  <a:cubicBezTo>
                    <a:pt x="131" y="0"/>
                    <a:pt x="167" y="38"/>
                    <a:pt x="167" y="83"/>
                  </a:cubicBezTo>
                  <a:cubicBezTo>
                    <a:pt x="167" y="83"/>
                    <a:pt x="167" y="83"/>
                    <a:pt x="167" y="83"/>
                  </a:cubicBezTo>
                  <a:cubicBezTo>
                    <a:pt x="167" y="129"/>
                    <a:pt x="130" y="167"/>
                    <a:pt x="84" y="167"/>
                  </a:cubicBezTo>
                  <a:cubicBezTo>
                    <a:pt x="36" y="167"/>
                    <a:pt x="0" y="130"/>
                    <a:pt x="0" y="84"/>
                  </a:cubicBezTo>
                  <a:moveTo>
                    <a:pt x="151" y="83"/>
                  </a:moveTo>
                  <a:cubicBezTo>
                    <a:pt x="151" y="83"/>
                    <a:pt x="151" y="83"/>
                    <a:pt x="151" y="83"/>
                  </a:cubicBezTo>
                  <a:cubicBezTo>
                    <a:pt x="151" y="46"/>
                    <a:pt x="122" y="15"/>
                    <a:pt x="84" y="15"/>
                  </a:cubicBezTo>
                  <a:cubicBezTo>
                    <a:pt x="45" y="15"/>
                    <a:pt x="16" y="46"/>
                    <a:pt x="16" y="83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6" y="121"/>
                    <a:pt x="45" y="152"/>
                    <a:pt x="84" y="152"/>
                  </a:cubicBezTo>
                  <a:cubicBezTo>
                    <a:pt x="122" y="152"/>
                    <a:pt x="151" y="121"/>
                    <a:pt x="151" y="8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36" name="Freeform 12"/>
            <p:cNvSpPr>
              <a:spLocks noEditPoints="1"/>
            </p:cNvSpPr>
            <p:nvPr/>
          </p:nvSpPr>
          <p:spPr bwMode="auto">
            <a:xfrm>
              <a:off x="3136" y="4970"/>
              <a:ext cx="42" cy="50"/>
            </a:xfrm>
            <a:custGeom>
              <a:avLst/>
              <a:gdLst>
                <a:gd name="T0" fmla="*/ 0 w 67"/>
                <a:gd name="T1" fmla="*/ 9 h 81"/>
                <a:gd name="T2" fmla="*/ 9 w 67"/>
                <a:gd name="T3" fmla="*/ 0 h 81"/>
                <a:gd name="T4" fmla="*/ 36 w 67"/>
                <a:gd name="T5" fmla="*/ 0 h 81"/>
                <a:gd name="T6" fmla="*/ 60 w 67"/>
                <a:gd name="T7" fmla="*/ 8 h 81"/>
                <a:gd name="T8" fmla="*/ 67 w 67"/>
                <a:gd name="T9" fmla="*/ 26 h 81"/>
                <a:gd name="T10" fmla="*/ 67 w 67"/>
                <a:gd name="T11" fmla="*/ 27 h 81"/>
                <a:gd name="T12" fmla="*/ 51 w 67"/>
                <a:gd name="T13" fmla="*/ 51 h 81"/>
                <a:gd name="T14" fmla="*/ 63 w 67"/>
                <a:gd name="T15" fmla="*/ 66 h 81"/>
                <a:gd name="T16" fmla="*/ 66 w 67"/>
                <a:gd name="T17" fmla="*/ 73 h 81"/>
                <a:gd name="T18" fmla="*/ 58 w 67"/>
                <a:gd name="T19" fmla="*/ 81 h 81"/>
                <a:gd name="T20" fmla="*/ 49 w 67"/>
                <a:gd name="T21" fmla="*/ 76 h 81"/>
                <a:gd name="T22" fmla="*/ 32 w 67"/>
                <a:gd name="T23" fmla="*/ 55 h 81"/>
                <a:gd name="T24" fmla="*/ 17 w 67"/>
                <a:gd name="T25" fmla="*/ 55 h 81"/>
                <a:gd name="T26" fmla="*/ 17 w 67"/>
                <a:gd name="T27" fmla="*/ 72 h 81"/>
                <a:gd name="T28" fmla="*/ 9 w 67"/>
                <a:gd name="T29" fmla="*/ 81 h 81"/>
                <a:gd name="T30" fmla="*/ 0 w 67"/>
                <a:gd name="T31" fmla="*/ 72 h 81"/>
                <a:gd name="T32" fmla="*/ 0 w 67"/>
                <a:gd name="T33" fmla="*/ 9 h 81"/>
                <a:gd name="T34" fmla="*/ 35 w 67"/>
                <a:gd name="T35" fmla="*/ 39 h 81"/>
                <a:gd name="T36" fmla="*/ 49 w 67"/>
                <a:gd name="T37" fmla="*/ 27 h 81"/>
                <a:gd name="T38" fmla="*/ 49 w 67"/>
                <a:gd name="T39" fmla="*/ 27 h 81"/>
                <a:gd name="T40" fmla="*/ 35 w 67"/>
                <a:gd name="T41" fmla="*/ 16 h 81"/>
                <a:gd name="T42" fmla="*/ 17 w 67"/>
                <a:gd name="T43" fmla="*/ 16 h 81"/>
                <a:gd name="T44" fmla="*/ 17 w 67"/>
                <a:gd name="T45" fmla="*/ 39 h 81"/>
                <a:gd name="T46" fmla="*/ 35 w 67"/>
                <a:gd name="T47" fmla="*/ 39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7" h="81">
                  <a:moveTo>
                    <a:pt x="0" y="9"/>
                  </a:moveTo>
                  <a:cubicBezTo>
                    <a:pt x="0" y="4"/>
                    <a:pt x="4" y="0"/>
                    <a:pt x="9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47" y="0"/>
                    <a:pt x="55" y="3"/>
                    <a:pt x="60" y="8"/>
                  </a:cubicBezTo>
                  <a:cubicBezTo>
                    <a:pt x="65" y="12"/>
                    <a:pt x="67" y="19"/>
                    <a:pt x="67" y="26"/>
                  </a:cubicBezTo>
                  <a:cubicBezTo>
                    <a:pt x="67" y="27"/>
                    <a:pt x="67" y="27"/>
                    <a:pt x="67" y="27"/>
                  </a:cubicBezTo>
                  <a:cubicBezTo>
                    <a:pt x="67" y="39"/>
                    <a:pt x="61" y="47"/>
                    <a:pt x="51" y="51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5" y="68"/>
                    <a:pt x="66" y="70"/>
                    <a:pt x="66" y="73"/>
                  </a:cubicBezTo>
                  <a:cubicBezTo>
                    <a:pt x="66" y="78"/>
                    <a:pt x="62" y="81"/>
                    <a:pt x="58" y="81"/>
                  </a:cubicBezTo>
                  <a:cubicBezTo>
                    <a:pt x="54" y="81"/>
                    <a:pt x="51" y="79"/>
                    <a:pt x="49" y="76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17" y="55"/>
                    <a:pt x="17" y="55"/>
                    <a:pt x="17" y="55"/>
                  </a:cubicBezTo>
                  <a:cubicBezTo>
                    <a:pt x="17" y="72"/>
                    <a:pt x="17" y="72"/>
                    <a:pt x="17" y="72"/>
                  </a:cubicBezTo>
                  <a:cubicBezTo>
                    <a:pt x="17" y="77"/>
                    <a:pt x="14" y="81"/>
                    <a:pt x="9" y="81"/>
                  </a:cubicBezTo>
                  <a:cubicBezTo>
                    <a:pt x="4" y="81"/>
                    <a:pt x="0" y="77"/>
                    <a:pt x="0" y="72"/>
                  </a:cubicBezTo>
                  <a:lnTo>
                    <a:pt x="0" y="9"/>
                  </a:lnTo>
                  <a:close/>
                  <a:moveTo>
                    <a:pt x="35" y="39"/>
                  </a:moveTo>
                  <a:cubicBezTo>
                    <a:pt x="44" y="39"/>
                    <a:pt x="49" y="34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0"/>
                    <a:pt x="44" y="16"/>
                    <a:pt x="35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39"/>
                    <a:pt x="17" y="39"/>
                    <a:pt x="17" y="39"/>
                  </a:cubicBezTo>
                  <a:lnTo>
                    <a:pt x="35" y="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etric 2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05600" y="2209800"/>
            <a:ext cx="4389120" cy="1676400"/>
          </a:xfrm>
        </p:spPr>
        <p:txBody>
          <a:bodyPr anchor="b"/>
          <a:lstStyle>
            <a:lvl1pPr marL="3168" indent="0">
              <a:spcBef>
                <a:spcPts val="0"/>
              </a:spcBef>
              <a:buNone/>
              <a:defRPr sz="10976">
                <a:solidFill>
                  <a:schemeClr val="bg1"/>
                </a:solidFill>
              </a:defRPr>
            </a:lvl1pPr>
            <a:lvl2pPr marL="3168" indent="0">
              <a:spcBef>
                <a:spcPts val="0"/>
              </a:spcBef>
              <a:buNone/>
              <a:defRPr sz="10976">
                <a:solidFill>
                  <a:schemeClr val="bg1"/>
                </a:solidFill>
              </a:defRPr>
            </a:lvl2pPr>
            <a:lvl3pPr marL="3168" indent="0">
              <a:spcBef>
                <a:spcPts val="0"/>
              </a:spcBef>
              <a:buNone/>
              <a:defRPr sz="10976">
                <a:solidFill>
                  <a:schemeClr val="bg1"/>
                </a:solidFill>
              </a:defRPr>
            </a:lvl3pPr>
            <a:lvl4pPr marL="3168" indent="0">
              <a:spcBef>
                <a:spcPts val="0"/>
              </a:spcBef>
              <a:buNone/>
              <a:defRPr sz="10976">
                <a:solidFill>
                  <a:schemeClr val="bg1"/>
                </a:solidFill>
              </a:defRPr>
            </a:lvl4pPr>
            <a:lvl5pPr marL="3168" indent="0">
              <a:spcBef>
                <a:spcPts val="0"/>
              </a:spcBef>
              <a:buNone/>
              <a:defRPr sz="10976">
                <a:solidFill>
                  <a:schemeClr val="bg1"/>
                </a:solidFill>
              </a:defRPr>
            </a:lvl5pPr>
            <a:lvl6pPr marL="3168" indent="0">
              <a:spcBef>
                <a:spcPts val="0"/>
              </a:spcBef>
              <a:buNone/>
              <a:defRPr sz="10976">
                <a:solidFill>
                  <a:schemeClr val="bg1"/>
                </a:solidFill>
              </a:defRPr>
            </a:lvl6pPr>
            <a:lvl7pPr marL="3168" indent="0">
              <a:spcBef>
                <a:spcPts val="0"/>
              </a:spcBef>
              <a:buNone/>
              <a:defRPr sz="10976">
                <a:solidFill>
                  <a:schemeClr val="bg1"/>
                </a:solidFill>
              </a:defRPr>
            </a:lvl7pPr>
            <a:lvl8pPr marL="3168" indent="0">
              <a:spcBef>
                <a:spcPts val="0"/>
              </a:spcBef>
              <a:buNone/>
              <a:defRPr sz="10976">
                <a:solidFill>
                  <a:schemeClr val="bg1"/>
                </a:solidFill>
              </a:defRPr>
            </a:lvl8pPr>
            <a:lvl9pPr marL="3168" indent="0">
              <a:spcBef>
                <a:spcPts val="0"/>
              </a:spcBef>
              <a:buNone/>
              <a:defRPr sz="10976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705600" y="3886200"/>
            <a:ext cx="4389120" cy="1066800"/>
          </a:xfrm>
        </p:spPr>
        <p:txBody>
          <a:bodyPr/>
          <a:lstStyle>
            <a:lvl1pPr marL="3168" indent="0">
              <a:spcBef>
                <a:spcPts val="0"/>
              </a:spcBef>
              <a:buNone/>
              <a:defRPr sz="2395" cap="none" baseline="0">
                <a:solidFill>
                  <a:schemeClr val="bg1"/>
                </a:solidFill>
              </a:defRPr>
            </a:lvl1pPr>
            <a:lvl2pPr marL="3168" indent="0">
              <a:spcBef>
                <a:spcPts val="0"/>
              </a:spcBef>
              <a:buNone/>
              <a:defRPr sz="2395" cap="none" baseline="0">
                <a:solidFill>
                  <a:schemeClr val="bg1"/>
                </a:solidFill>
              </a:defRPr>
            </a:lvl2pPr>
            <a:lvl3pPr marL="3168" indent="0">
              <a:spcBef>
                <a:spcPts val="0"/>
              </a:spcBef>
              <a:buNone/>
              <a:defRPr sz="1996" cap="all" baseline="0">
                <a:solidFill>
                  <a:schemeClr val="bg1"/>
                </a:solidFill>
              </a:defRPr>
            </a:lvl3pPr>
            <a:lvl4pPr marL="3168" indent="0">
              <a:spcBef>
                <a:spcPts val="0"/>
              </a:spcBef>
              <a:buNone/>
              <a:defRPr sz="1996" cap="all" baseline="0">
                <a:solidFill>
                  <a:schemeClr val="bg1"/>
                </a:solidFill>
              </a:defRPr>
            </a:lvl4pPr>
            <a:lvl5pPr marL="3168" indent="0">
              <a:spcBef>
                <a:spcPts val="0"/>
              </a:spcBef>
              <a:buNone/>
              <a:defRPr sz="1996" cap="all" baseline="0">
                <a:solidFill>
                  <a:schemeClr val="bg1"/>
                </a:solidFill>
              </a:defRPr>
            </a:lvl5pPr>
            <a:lvl6pPr marL="3168" indent="0">
              <a:spcBef>
                <a:spcPts val="0"/>
              </a:spcBef>
              <a:buNone/>
              <a:defRPr sz="1996" cap="all" baseline="0">
                <a:solidFill>
                  <a:schemeClr val="bg1"/>
                </a:solidFill>
              </a:defRPr>
            </a:lvl6pPr>
            <a:lvl7pPr marL="3168" indent="0">
              <a:spcBef>
                <a:spcPts val="0"/>
              </a:spcBef>
              <a:buNone/>
              <a:defRPr sz="1996" cap="all" baseline="0">
                <a:solidFill>
                  <a:schemeClr val="bg1"/>
                </a:solidFill>
              </a:defRPr>
            </a:lvl7pPr>
            <a:lvl8pPr marL="3168" indent="0">
              <a:spcBef>
                <a:spcPts val="0"/>
              </a:spcBef>
              <a:buNone/>
              <a:defRPr sz="1996" cap="all" baseline="0">
                <a:solidFill>
                  <a:schemeClr val="bg1"/>
                </a:solidFill>
              </a:defRPr>
            </a:lvl8pPr>
            <a:lvl9pPr marL="3168" indent="0">
              <a:spcBef>
                <a:spcPts val="0"/>
              </a:spcBef>
              <a:buNone/>
              <a:defRPr sz="1996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grpSp>
        <p:nvGrpSpPr>
          <p:cNvPr id="17" name="Group 4"/>
          <p:cNvGrpSpPr>
            <a:grpSpLocks noChangeAspect="1"/>
          </p:cNvGrpSpPr>
          <p:nvPr/>
        </p:nvGrpSpPr>
        <p:grpSpPr bwMode="auto">
          <a:xfrm>
            <a:off x="615657" y="6376993"/>
            <a:ext cx="1294204" cy="242475"/>
            <a:chOff x="-16" y="4944"/>
            <a:chExt cx="3223" cy="604"/>
          </a:xfrm>
          <a:solidFill>
            <a:schemeClr val="bg1"/>
          </a:solidFill>
        </p:grpSpPr>
        <p:sp>
          <p:nvSpPr>
            <p:cNvPr id="18" name="Freeform 5"/>
            <p:cNvSpPr>
              <a:spLocks/>
            </p:cNvSpPr>
            <p:nvPr/>
          </p:nvSpPr>
          <p:spPr bwMode="auto">
            <a:xfrm>
              <a:off x="1098" y="5116"/>
              <a:ext cx="612" cy="429"/>
            </a:xfrm>
            <a:custGeom>
              <a:avLst/>
              <a:gdLst>
                <a:gd name="T0" fmla="*/ 943 w 993"/>
                <a:gd name="T1" fmla="*/ 0 h 694"/>
                <a:gd name="T2" fmla="*/ 894 w 993"/>
                <a:gd name="T3" fmla="*/ 39 h 694"/>
                <a:gd name="T4" fmla="*/ 721 w 993"/>
                <a:gd name="T5" fmla="*/ 550 h 694"/>
                <a:gd name="T6" fmla="*/ 551 w 993"/>
                <a:gd name="T7" fmla="*/ 40 h 694"/>
                <a:gd name="T8" fmla="*/ 499 w 993"/>
                <a:gd name="T9" fmla="*/ 0 h 694"/>
                <a:gd name="T10" fmla="*/ 494 w 993"/>
                <a:gd name="T11" fmla="*/ 0 h 694"/>
                <a:gd name="T12" fmla="*/ 444 w 993"/>
                <a:gd name="T13" fmla="*/ 40 h 694"/>
                <a:gd name="T14" fmla="*/ 272 w 993"/>
                <a:gd name="T15" fmla="*/ 550 h 694"/>
                <a:gd name="T16" fmla="*/ 102 w 993"/>
                <a:gd name="T17" fmla="*/ 42 h 694"/>
                <a:gd name="T18" fmla="*/ 51 w 993"/>
                <a:gd name="T19" fmla="*/ 0 h 694"/>
                <a:gd name="T20" fmla="*/ 0 w 993"/>
                <a:gd name="T21" fmla="*/ 48 h 694"/>
                <a:gd name="T22" fmla="*/ 6 w 993"/>
                <a:gd name="T23" fmla="*/ 76 h 694"/>
                <a:gd name="T24" fmla="*/ 212 w 993"/>
                <a:gd name="T25" fmla="*/ 648 h 694"/>
                <a:gd name="T26" fmla="*/ 268 w 993"/>
                <a:gd name="T27" fmla="*/ 694 h 694"/>
                <a:gd name="T28" fmla="*/ 271 w 993"/>
                <a:gd name="T29" fmla="*/ 694 h 694"/>
                <a:gd name="T30" fmla="*/ 326 w 993"/>
                <a:gd name="T31" fmla="*/ 648 h 694"/>
                <a:gd name="T32" fmla="*/ 496 w 993"/>
                <a:gd name="T33" fmla="*/ 154 h 694"/>
                <a:gd name="T34" fmla="*/ 665 w 993"/>
                <a:gd name="T35" fmla="*/ 648 h 694"/>
                <a:gd name="T36" fmla="*/ 720 w 993"/>
                <a:gd name="T37" fmla="*/ 694 h 694"/>
                <a:gd name="T38" fmla="*/ 724 w 993"/>
                <a:gd name="T39" fmla="*/ 694 h 694"/>
                <a:gd name="T40" fmla="*/ 779 w 993"/>
                <a:gd name="T41" fmla="*/ 648 h 694"/>
                <a:gd name="T42" fmla="*/ 986 w 993"/>
                <a:gd name="T43" fmla="*/ 74 h 694"/>
                <a:gd name="T44" fmla="*/ 993 w 993"/>
                <a:gd name="T45" fmla="*/ 47 h 694"/>
                <a:gd name="T46" fmla="*/ 943 w 993"/>
                <a:gd name="T47" fmla="*/ 0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93" h="694">
                  <a:moveTo>
                    <a:pt x="943" y="0"/>
                  </a:moveTo>
                  <a:cubicBezTo>
                    <a:pt x="915" y="0"/>
                    <a:pt x="901" y="18"/>
                    <a:pt x="894" y="39"/>
                  </a:cubicBezTo>
                  <a:cubicBezTo>
                    <a:pt x="721" y="550"/>
                    <a:pt x="721" y="550"/>
                    <a:pt x="721" y="550"/>
                  </a:cubicBezTo>
                  <a:cubicBezTo>
                    <a:pt x="551" y="40"/>
                    <a:pt x="551" y="40"/>
                    <a:pt x="551" y="40"/>
                  </a:cubicBezTo>
                  <a:cubicBezTo>
                    <a:pt x="543" y="17"/>
                    <a:pt x="526" y="0"/>
                    <a:pt x="499" y="0"/>
                  </a:cubicBezTo>
                  <a:cubicBezTo>
                    <a:pt x="494" y="0"/>
                    <a:pt x="494" y="0"/>
                    <a:pt x="494" y="0"/>
                  </a:cubicBezTo>
                  <a:cubicBezTo>
                    <a:pt x="467" y="0"/>
                    <a:pt x="452" y="17"/>
                    <a:pt x="444" y="40"/>
                  </a:cubicBezTo>
                  <a:cubicBezTo>
                    <a:pt x="272" y="550"/>
                    <a:pt x="272" y="550"/>
                    <a:pt x="272" y="550"/>
                  </a:cubicBezTo>
                  <a:cubicBezTo>
                    <a:pt x="102" y="42"/>
                    <a:pt x="102" y="42"/>
                    <a:pt x="102" y="42"/>
                  </a:cubicBezTo>
                  <a:cubicBezTo>
                    <a:pt x="94" y="17"/>
                    <a:pt x="77" y="0"/>
                    <a:pt x="51" y="0"/>
                  </a:cubicBezTo>
                  <a:cubicBezTo>
                    <a:pt x="21" y="0"/>
                    <a:pt x="0" y="23"/>
                    <a:pt x="0" y="48"/>
                  </a:cubicBezTo>
                  <a:cubicBezTo>
                    <a:pt x="0" y="57"/>
                    <a:pt x="4" y="68"/>
                    <a:pt x="6" y="76"/>
                  </a:cubicBezTo>
                  <a:cubicBezTo>
                    <a:pt x="212" y="648"/>
                    <a:pt x="212" y="648"/>
                    <a:pt x="212" y="648"/>
                  </a:cubicBezTo>
                  <a:cubicBezTo>
                    <a:pt x="222" y="678"/>
                    <a:pt x="243" y="694"/>
                    <a:pt x="268" y="694"/>
                  </a:cubicBezTo>
                  <a:cubicBezTo>
                    <a:pt x="271" y="694"/>
                    <a:pt x="271" y="694"/>
                    <a:pt x="271" y="694"/>
                  </a:cubicBezTo>
                  <a:cubicBezTo>
                    <a:pt x="297" y="694"/>
                    <a:pt x="317" y="678"/>
                    <a:pt x="326" y="648"/>
                  </a:cubicBezTo>
                  <a:cubicBezTo>
                    <a:pt x="496" y="154"/>
                    <a:pt x="496" y="154"/>
                    <a:pt x="496" y="154"/>
                  </a:cubicBezTo>
                  <a:cubicBezTo>
                    <a:pt x="665" y="648"/>
                    <a:pt x="665" y="648"/>
                    <a:pt x="665" y="648"/>
                  </a:cubicBezTo>
                  <a:cubicBezTo>
                    <a:pt x="674" y="678"/>
                    <a:pt x="694" y="694"/>
                    <a:pt x="720" y="694"/>
                  </a:cubicBezTo>
                  <a:cubicBezTo>
                    <a:pt x="724" y="694"/>
                    <a:pt x="724" y="694"/>
                    <a:pt x="724" y="694"/>
                  </a:cubicBezTo>
                  <a:cubicBezTo>
                    <a:pt x="748" y="694"/>
                    <a:pt x="769" y="678"/>
                    <a:pt x="779" y="648"/>
                  </a:cubicBezTo>
                  <a:cubicBezTo>
                    <a:pt x="986" y="74"/>
                    <a:pt x="986" y="74"/>
                    <a:pt x="986" y="74"/>
                  </a:cubicBezTo>
                  <a:cubicBezTo>
                    <a:pt x="989" y="67"/>
                    <a:pt x="993" y="56"/>
                    <a:pt x="993" y="47"/>
                  </a:cubicBezTo>
                  <a:cubicBezTo>
                    <a:pt x="993" y="22"/>
                    <a:pt x="972" y="0"/>
                    <a:pt x="943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19" name="Freeform 6"/>
            <p:cNvSpPr>
              <a:spLocks noEditPoints="1"/>
            </p:cNvSpPr>
            <p:nvPr/>
          </p:nvSpPr>
          <p:spPr bwMode="auto">
            <a:xfrm>
              <a:off x="1720" y="5111"/>
              <a:ext cx="417" cy="437"/>
            </a:xfrm>
            <a:custGeom>
              <a:avLst/>
              <a:gdLst>
                <a:gd name="T0" fmla="*/ 340 w 678"/>
                <a:gd name="T1" fmla="*/ 0 h 707"/>
                <a:gd name="T2" fmla="*/ 0 w 678"/>
                <a:gd name="T3" fmla="*/ 354 h 707"/>
                <a:gd name="T4" fmla="*/ 0 w 678"/>
                <a:gd name="T5" fmla="*/ 356 h 707"/>
                <a:gd name="T6" fmla="*/ 337 w 678"/>
                <a:gd name="T7" fmla="*/ 707 h 707"/>
                <a:gd name="T8" fmla="*/ 678 w 678"/>
                <a:gd name="T9" fmla="*/ 354 h 707"/>
                <a:gd name="T10" fmla="*/ 678 w 678"/>
                <a:gd name="T11" fmla="*/ 351 h 707"/>
                <a:gd name="T12" fmla="*/ 340 w 678"/>
                <a:gd name="T13" fmla="*/ 0 h 707"/>
                <a:gd name="T14" fmla="*/ 575 w 678"/>
                <a:gd name="T15" fmla="*/ 356 h 707"/>
                <a:gd name="T16" fmla="*/ 340 w 678"/>
                <a:gd name="T17" fmla="*/ 631 h 707"/>
                <a:gd name="T18" fmla="*/ 103 w 678"/>
                <a:gd name="T19" fmla="*/ 354 h 707"/>
                <a:gd name="T20" fmla="*/ 103 w 678"/>
                <a:gd name="T21" fmla="*/ 351 h 707"/>
                <a:gd name="T22" fmla="*/ 337 w 678"/>
                <a:gd name="T23" fmla="*/ 75 h 707"/>
                <a:gd name="T24" fmla="*/ 575 w 678"/>
                <a:gd name="T25" fmla="*/ 354 h 707"/>
                <a:gd name="T26" fmla="*/ 575 w 678"/>
                <a:gd name="T27" fmla="*/ 356 h 7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78" h="707">
                  <a:moveTo>
                    <a:pt x="340" y="0"/>
                  </a:moveTo>
                  <a:cubicBezTo>
                    <a:pt x="135" y="0"/>
                    <a:pt x="0" y="162"/>
                    <a:pt x="0" y="354"/>
                  </a:cubicBezTo>
                  <a:cubicBezTo>
                    <a:pt x="0" y="356"/>
                    <a:pt x="0" y="356"/>
                    <a:pt x="0" y="356"/>
                  </a:cubicBezTo>
                  <a:cubicBezTo>
                    <a:pt x="0" y="548"/>
                    <a:pt x="134" y="707"/>
                    <a:pt x="337" y="707"/>
                  </a:cubicBezTo>
                  <a:cubicBezTo>
                    <a:pt x="541" y="707"/>
                    <a:pt x="678" y="545"/>
                    <a:pt x="678" y="354"/>
                  </a:cubicBezTo>
                  <a:cubicBezTo>
                    <a:pt x="678" y="351"/>
                    <a:pt x="678" y="351"/>
                    <a:pt x="678" y="351"/>
                  </a:cubicBezTo>
                  <a:cubicBezTo>
                    <a:pt x="678" y="160"/>
                    <a:pt x="543" y="0"/>
                    <a:pt x="340" y="0"/>
                  </a:cubicBezTo>
                  <a:moveTo>
                    <a:pt x="575" y="356"/>
                  </a:moveTo>
                  <a:cubicBezTo>
                    <a:pt x="575" y="499"/>
                    <a:pt x="486" y="631"/>
                    <a:pt x="340" y="631"/>
                  </a:cubicBezTo>
                  <a:cubicBezTo>
                    <a:pt x="197" y="631"/>
                    <a:pt x="103" y="499"/>
                    <a:pt x="103" y="354"/>
                  </a:cubicBezTo>
                  <a:cubicBezTo>
                    <a:pt x="103" y="351"/>
                    <a:pt x="103" y="351"/>
                    <a:pt x="103" y="351"/>
                  </a:cubicBezTo>
                  <a:cubicBezTo>
                    <a:pt x="103" y="208"/>
                    <a:pt x="190" y="75"/>
                    <a:pt x="337" y="75"/>
                  </a:cubicBezTo>
                  <a:cubicBezTo>
                    <a:pt x="480" y="75"/>
                    <a:pt x="575" y="208"/>
                    <a:pt x="575" y="354"/>
                  </a:cubicBezTo>
                  <a:lnTo>
                    <a:pt x="575" y="3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20" name="Freeform 7"/>
            <p:cNvSpPr>
              <a:spLocks/>
            </p:cNvSpPr>
            <p:nvPr/>
          </p:nvSpPr>
          <p:spPr bwMode="auto">
            <a:xfrm>
              <a:off x="2198" y="5115"/>
              <a:ext cx="236" cy="428"/>
            </a:xfrm>
            <a:custGeom>
              <a:avLst/>
              <a:gdLst>
                <a:gd name="T0" fmla="*/ 334 w 384"/>
                <a:gd name="T1" fmla="*/ 0 h 693"/>
                <a:gd name="T2" fmla="*/ 101 w 384"/>
                <a:gd name="T3" fmla="*/ 181 h 693"/>
                <a:gd name="T4" fmla="*/ 101 w 384"/>
                <a:gd name="T5" fmla="*/ 54 h 693"/>
                <a:gd name="T6" fmla="*/ 50 w 384"/>
                <a:gd name="T7" fmla="*/ 3 h 693"/>
                <a:gd name="T8" fmla="*/ 0 w 384"/>
                <a:gd name="T9" fmla="*/ 54 h 693"/>
                <a:gd name="T10" fmla="*/ 0 w 384"/>
                <a:gd name="T11" fmla="*/ 642 h 693"/>
                <a:gd name="T12" fmla="*/ 51 w 384"/>
                <a:gd name="T13" fmla="*/ 693 h 693"/>
                <a:gd name="T14" fmla="*/ 101 w 384"/>
                <a:gd name="T15" fmla="*/ 642 h 693"/>
                <a:gd name="T16" fmla="*/ 101 w 384"/>
                <a:gd name="T17" fmla="*/ 412 h 693"/>
                <a:gd name="T18" fmla="*/ 339 w 384"/>
                <a:gd name="T19" fmla="*/ 102 h 693"/>
                <a:gd name="T20" fmla="*/ 384 w 384"/>
                <a:gd name="T21" fmla="*/ 51 h 693"/>
                <a:gd name="T22" fmla="*/ 334 w 384"/>
                <a:gd name="T23" fmla="*/ 0 h 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4" h="693">
                  <a:moveTo>
                    <a:pt x="334" y="0"/>
                  </a:moveTo>
                  <a:cubicBezTo>
                    <a:pt x="249" y="0"/>
                    <a:pt x="151" y="68"/>
                    <a:pt x="101" y="181"/>
                  </a:cubicBezTo>
                  <a:cubicBezTo>
                    <a:pt x="101" y="54"/>
                    <a:pt x="101" y="54"/>
                    <a:pt x="101" y="54"/>
                  </a:cubicBezTo>
                  <a:cubicBezTo>
                    <a:pt x="101" y="25"/>
                    <a:pt x="79" y="3"/>
                    <a:pt x="50" y="3"/>
                  </a:cubicBezTo>
                  <a:cubicBezTo>
                    <a:pt x="22" y="3"/>
                    <a:pt x="0" y="26"/>
                    <a:pt x="0" y="54"/>
                  </a:cubicBezTo>
                  <a:cubicBezTo>
                    <a:pt x="0" y="642"/>
                    <a:pt x="0" y="642"/>
                    <a:pt x="0" y="642"/>
                  </a:cubicBezTo>
                  <a:cubicBezTo>
                    <a:pt x="0" y="671"/>
                    <a:pt x="22" y="693"/>
                    <a:pt x="51" y="693"/>
                  </a:cubicBezTo>
                  <a:cubicBezTo>
                    <a:pt x="80" y="693"/>
                    <a:pt x="101" y="670"/>
                    <a:pt x="101" y="642"/>
                  </a:cubicBezTo>
                  <a:cubicBezTo>
                    <a:pt x="101" y="412"/>
                    <a:pt x="101" y="412"/>
                    <a:pt x="101" y="412"/>
                  </a:cubicBezTo>
                  <a:cubicBezTo>
                    <a:pt x="101" y="216"/>
                    <a:pt x="208" y="118"/>
                    <a:pt x="339" y="102"/>
                  </a:cubicBezTo>
                  <a:cubicBezTo>
                    <a:pt x="365" y="98"/>
                    <a:pt x="384" y="79"/>
                    <a:pt x="384" y="51"/>
                  </a:cubicBezTo>
                  <a:cubicBezTo>
                    <a:pt x="384" y="22"/>
                    <a:pt x="364" y="0"/>
                    <a:pt x="33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auto">
            <a:xfrm>
              <a:off x="2500" y="4944"/>
              <a:ext cx="63" cy="599"/>
            </a:xfrm>
            <a:custGeom>
              <a:avLst/>
              <a:gdLst>
                <a:gd name="T0" fmla="*/ 49 w 101"/>
                <a:gd name="T1" fmla="*/ 0 h 969"/>
                <a:gd name="T2" fmla="*/ 0 w 101"/>
                <a:gd name="T3" fmla="*/ 51 h 969"/>
                <a:gd name="T4" fmla="*/ 0 w 101"/>
                <a:gd name="T5" fmla="*/ 918 h 969"/>
                <a:gd name="T6" fmla="*/ 51 w 101"/>
                <a:gd name="T7" fmla="*/ 969 h 969"/>
                <a:gd name="T8" fmla="*/ 101 w 101"/>
                <a:gd name="T9" fmla="*/ 918 h 969"/>
                <a:gd name="T10" fmla="*/ 101 w 101"/>
                <a:gd name="T11" fmla="*/ 51 h 969"/>
                <a:gd name="T12" fmla="*/ 49 w 101"/>
                <a:gd name="T13" fmla="*/ 0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" h="969">
                  <a:moveTo>
                    <a:pt x="49" y="0"/>
                  </a:moveTo>
                  <a:cubicBezTo>
                    <a:pt x="22" y="0"/>
                    <a:pt x="0" y="23"/>
                    <a:pt x="0" y="51"/>
                  </a:cubicBezTo>
                  <a:cubicBezTo>
                    <a:pt x="0" y="918"/>
                    <a:pt x="0" y="918"/>
                    <a:pt x="0" y="918"/>
                  </a:cubicBezTo>
                  <a:cubicBezTo>
                    <a:pt x="0" y="947"/>
                    <a:pt x="22" y="969"/>
                    <a:pt x="51" y="969"/>
                  </a:cubicBezTo>
                  <a:cubicBezTo>
                    <a:pt x="80" y="969"/>
                    <a:pt x="101" y="947"/>
                    <a:pt x="101" y="918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3"/>
                    <a:pt x="78" y="0"/>
                    <a:pt x="4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/>
          </p:nvSpPr>
          <p:spPr bwMode="auto">
            <a:xfrm>
              <a:off x="2626" y="4944"/>
              <a:ext cx="421" cy="604"/>
            </a:xfrm>
            <a:custGeom>
              <a:avLst/>
              <a:gdLst>
                <a:gd name="T0" fmla="*/ 633 w 684"/>
                <a:gd name="T1" fmla="*/ 0 h 977"/>
                <a:gd name="T2" fmla="*/ 583 w 684"/>
                <a:gd name="T3" fmla="*/ 51 h 977"/>
                <a:gd name="T4" fmla="*/ 583 w 684"/>
                <a:gd name="T5" fmla="*/ 415 h 977"/>
                <a:gd name="T6" fmla="*/ 324 w 684"/>
                <a:gd name="T7" fmla="*/ 271 h 977"/>
                <a:gd name="T8" fmla="*/ 0 w 684"/>
                <a:gd name="T9" fmla="*/ 623 h 977"/>
                <a:gd name="T10" fmla="*/ 0 w 684"/>
                <a:gd name="T11" fmla="*/ 626 h 977"/>
                <a:gd name="T12" fmla="*/ 324 w 684"/>
                <a:gd name="T13" fmla="*/ 977 h 977"/>
                <a:gd name="T14" fmla="*/ 583 w 684"/>
                <a:gd name="T15" fmla="*/ 826 h 977"/>
                <a:gd name="T16" fmla="*/ 583 w 684"/>
                <a:gd name="T17" fmla="*/ 918 h 977"/>
                <a:gd name="T18" fmla="*/ 634 w 684"/>
                <a:gd name="T19" fmla="*/ 969 h 977"/>
                <a:gd name="T20" fmla="*/ 684 w 684"/>
                <a:gd name="T21" fmla="*/ 918 h 977"/>
                <a:gd name="T22" fmla="*/ 684 w 684"/>
                <a:gd name="T23" fmla="*/ 51 h 977"/>
                <a:gd name="T24" fmla="*/ 633 w 684"/>
                <a:gd name="T25" fmla="*/ 0 h 977"/>
                <a:gd name="T26" fmla="*/ 587 w 684"/>
                <a:gd name="T27" fmla="*/ 625 h 977"/>
                <a:gd name="T28" fmla="*/ 342 w 684"/>
                <a:gd name="T29" fmla="*/ 887 h 977"/>
                <a:gd name="T30" fmla="*/ 104 w 684"/>
                <a:gd name="T31" fmla="*/ 625 h 977"/>
                <a:gd name="T32" fmla="*/ 104 w 684"/>
                <a:gd name="T33" fmla="*/ 622 h 977"/>
                <a:gd name="T34" fmla="*/ 342 w 684"/>
                <a:gd name="T35" fmla="*/ 361 h 977"/>
                <a:gd name="T36" fmla="*/ 587 w 684"/>
                <a:gd name="T37" fmla="*/ 622 h 977"/>
                <a:gd name="T38" fmla="*/ 587 w 684"/>
                <a:gd name="T39" fmla="*/ 625 h 9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84" h="977">
                  <a:moveTo>
                    <a:pt x="633" y="0"/>
                  </a:moveTo>
                  <a:cubicBezTo>
                    <a:pt x="604" y="0"/>
                    <a:pt x="583" y="22"/>
                    <a:pt x="583" y="51"/>
                  </a:cubicBezTo>
                  <a:cubicBezTo>
                    <a:pt x="583" y="415"/>
                    <a:pt x="583" y="415"/>
                    <a:pt x="583" y="415"/>
                  </a:cubicBezTo>
                  <a:cubicBezTo>
                    <a:pt x="531" y="339"/>
                    <a:pt x="450" y="271"/>
                    <a:pt x="324" y="271"/>
                  </a:cubicBezTo>
                  <a:cubicBezTo>
                    <a:pt x="161" y="271"/>
                    <a:pt x="0" y="402"/>
                    <a:pt x="0" y="623"/>
                  </a:cubicBezTo>
                  <a:cubicBezTo>
                    <a:pt x="0" y="626"/>
                    <a:pt x="0" y="626"/>
                    <a:pt x="0" y="626"/>
                  </a:cubicBezTo>
                  <a:cubicBezTo>
                    <a:pt x="0" y="849"/>
                    <a:pt x="161" y="977"/>
                    <a:pt x="324" y="977"/>
                  </a:cubicBezTo>
                  <a:cubicBezTo>
                    <a:pt x="448" y="977"/>
                    <a:pt x="528" y="908"/>
                    <a:pt x="583" y="826"/>
                  </a:cubicBezTo>
                  <a:cubicBezTo>
                    <a:pt x="583" y="918"/>
                    <a:pt x="583" y="918"/>
                    <a:pt x="583" y="918"/>
                  </a:cubicBezTo>
                  <a:cubicBezTo>
                    <a:pt x="583" y="947"/>
                    <a:pt x="605" y="969"/>
                    <a:pt x="634" y="969"/>
                  </a:cubicBezTo>
                  <a:cubicBezTo>
                    <a:pt x="662" y="969"/>
                    <a:pt x="684" y="947"/>
                    <a:pt x="684" y="918"/>
                  </a:cubicBezTo>
                  <a:cubicBezTo>
                    <a:pt x="684" y="51"/>
                    <a:pt x="684" y="51"/>
                    <a:pt x="684" y="51"/>
                  </a:cubicBezTo>
                  <a:cubicBezTo>
                    <a:pt x="684" y="22"/>
                    <a:pt x="662" y="0"/>
                    <a:pt x="633" y="0"/>
                  </a:cubicBezTo>
                  <a:moveTo>
                    <a:pt x="587" y="625"/>
                  </a:moveTo>
                  <a:cubicBezTo>
                    <a:pt x="587" y="780"/>
                    <a:pt x="468" y="887"/>
                    <a:pt x="342" y="887"/>
                  </a:cubicBezTo>
                  <a:cubicBezTo>
                    <a:pt x="215" y="887"/>
                    <a:pt x="104" y="784"/>
                    <a:pt x="104" y="625"/>
                  </a:cubicBezTo>
                  <a:cubicBezTo>
                    <a:pt x="104" y="622"/>
                    <a:pt x="104" y="622"/>
                    <a:pt x="104" y="622"/>
                  </a:cubicBezTo>
                  <a:cubicBezTo>
                    <a:pt x="104" y="458"/>
                    <a:pt x="211" y="361"/>
                    <a:pt x="342" y="361"/>
                  </a:cubicBezTo>
                  <a:cubicBezTo>
                    <a:pt x="468" y="361"/>
                    <a:pt x="587" y="466"/>
                    <a:pt x="587" y="622"/>
                  </a:cubicBezTo>
                  <a:lnTo>
                    <a:pt x="587" y="6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34" name="Freeform 10"/>
            <p:cNvSpPr>
              <a:spLocks/>
            </p:cNvSpPr>
            <p:nvPr/>
          </p:nvSpPr>
          <p:spPr bwMode="auto">
            <a:xfrm>
              <a:off x="-16" y="5101"/>
              <a:ext cx="1087" cy="447"/>
            </a:xfrm>
            <a:custGeom>
              <a:avLst/>
              <a:gdLst>
                <a:gd name="T0" fmla="*/ 1524 w 1764"/>
                <a:gd name="T1" fmla="*/ 13 h 724"/>
                <a:gd name="T2" fmla="*/ 1311 w 1764"/>
                <a:gd name="T3" fmla="*/ 104 h 724"/>
                <a:gd name="T4" fmla="*/ 1106 w 1764"/>
                <a:gd name="T5" fmla="*/ 13 h 724"/>
                <a:gd name="T6" fmla="*/ 904 w 1764"/>
                <a:gd name="T7" fmla="*/ 104 h 724"/>
                <a:gd name="T8" fmla="*/ 725 w 1764"/>
                <a:gd name="T9" fmla="*/ 13 h 724"/>
                <a:gd name="T10" fmla="*/ 508 w 1764"/>
                <a:gd name="T11" fmla="*/ 161 h 724"/>
                <a:gd name="T12" fmla="*/ 372 w 1764"/>
                <a:gd name="T13" fmla="*/ 482 h 724"/>
                <a:gd name="T14" fmla="*/ 197 w 1764"/>
                <a:gd name="T15" fmla="*/ 70 h 724"/>
                <a:gd name="T16" fmla="*/ 70 w 1764"/>
                <a:gd name="T17" fmla="*/ 22 h 724"/>
                <a:gd name="T18" fmla="*/ 23 w 1764"/>
                <a:gd name="T19" fmla="*/ 150 h 724"/>
                <a:gd name="T20" fmla="*/ 236 w 1764"/>
                <a:gd name="T21" fmla="*/ 613 h 724"/>
                <a:gd name="T22" fmla="*/ 372 w 1764"/>
                <a:gd name="T23" fmla="*/ 724 h 724"/>
                <a:gd name="T24" fmla="*/ 507 w 1764"/>
                <a:gd name="T25" fmla="*/ 613 h 724"/>
                <a:gd name="T26" fmla="*/ 695 w 1764"/>
                <a:gd name="T27" fmla="*/ 204 h 724"/>
                <a:gd name="T28" fmla="*/ 722 w 1764"/>
                <a:gd name="T29" fmla="*/ 187 h 724"/>
                <a:gd name="T30" fmla="*/ 751 w 1764"/>
                <a:gd name="T31" fmla="*/ 217 h 724"/>
                <a:gd name="T32" fmla="*/ 751 w 1764"/>
                <a:gd name="T33" fmla="*/ 613 h 724"/>
                <a:gd name="T34" fmla="*/ 850 w 1764"/>
                <a:gd name="T35" fmla="*/ 724 h 724"/>
                <a:gd name="T36" fmla="*/ 951 w 1764"/>
                <a:gd name="T37" fmla="*/ 613 h 724"/>
                <a:gd name="T38" fmla="*/ 951 w 1764"/>
                <a:gd name="T39" fmla="*/ 289 h 724"/>
                <a:gd name="T40" fmla="*/ 1056 w 1764"/>
                <a:gd name="T41" fmla="*/ 186 h 724"/>
                <a:gd name="T42" fmla="*/ 1158 w 1764"/>
                <a:gd name="T43" fmla="*/ 289 h 724"/>
                <a:gd name="T44" fmla="*/ 1158 w 1764"/>
                <a:gd name="T45" fmla="*/ 613 h 724"/>
                <a:gd name="T46" fmla="*/ 1257 w 1764"/>
                <a:gd name="T47" fmla="*/ 724 h 724"/>
                <a:gd name="T48" fmla="*/ 1358 w 1764"/>
                <a:gd name="T49" fmla="*/ 613 h 724"/>
                <a:gd name="T50" fmla="*/ 1358 w 1764"/>
                <a:gd name="T51" fmla="*/ 289 h 724"/>
                <a:gd name="T52" fmla="*/ 1463 w 1764"/>
                <a:gd name="T53" fmla="*/ 186 h 724"/>
                <a:gd name="T54" fmla="*/ 1565 w 1764"/>
                <a:gd name="T55" fmla="*/ 289 h 724"/>
                <a:gd name="T56" fmla="*/ 1565 w 1764"/>
                <a:gd name="T57" fmla="*/ 613 h 724"/>
                <a:gd name="T58" fmla="*/ 1664 w 1764"/>
                <a:gd name="T59" fmla="*/ 724 h 724"/>
                <a:gd name="T60" fmla="*/ 1764 w 1764"/>
                <a:gd name="T61" fmla="*/ 613 h 724"/>
                <a:gd name="T62" fmla="*/ 1764 w 1764"/>
                <a:gd name="T63" fmla="*/ 244 h 724"/>
                <a:gd name="T64" fmla="*/ 1524 w 1764"/>
                <a:gd name="T65" fmla="*/ 13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64" h="724">
                  <a:moveTo>
                    <a:pt x="1524" y="13"/>
                  </a:moveTo>
                  <a:cubicBezTo>
                    <a:pt x="1393" y="13"/>
                    <a:pt x="1311" y="104"/>
                    <a:pt x="1311" y="104"/>
                  </a:cubicBezTo>
                  <a:cubicBezTo>
                    <a:pt x="1267" y="47"/>
                    <a:pt x="1207" y="13"/>
                    <a:pt x="1106" y="13"/>
                  </a:cubicBezTo>
                  <a:cubicBezTo>
                    <a:pt x="998" y="13"/>
                    <a:pt x="904" y="104"/>
                    <a:pt x="904" y="104"/>
                  </a:cubicBezTo>
                  <a:cubicBezTo>
                    <a:pt x="861" y="47"/>
                    <a:pt x="786" y="13"/>
                    <a:pt x="725" y="13"/>
                  </a:cubicBezTo>
                  <a:cubicBezTo>
                    <a:pt x="630" y="13"/>
                    <a:pt x="554" y="55"/>
                    <a:pt x="508" y="161"/>
                  </a:cubicBezTo>
                  <a:cubicBezTo>
                    <a:pt x="372" y="482"/>
                    <a:pt x="372" y="482"/>
                    <a:pt x="372" y="482"/>
                  </a:cubicBezTo>
                  <a:cubicBezTo>
                    <a:pt x="197" y="70"/>
                    <a:pt x="197" y="70"/>
                    <a:pt x="197" y="70"/>
                  </a:cubicBezTo>
                  <a:cubicBezTo>
                    <a:pt x="175" y="22"/>
                    <a:pt x="121" y="0"/>
                    <a:pt x="70" y="22"/>
                  </a:cubicBezTo>
                  <a:cubicBezTo>
                    <a:pt x="19" y="45"/>
                    <a:pt x="0" y="101"/>
                    <a:pt x="23" y="150"/>
                  </a:cubicBezTo>
                  <a:cubicBezTo>
                    <a:pt x="236" y="613"/>
                    <a:pt x="236" y="613"/>
                    <a:pt x="236" y="613"/>
                  </a:cubicBezTo>
                  <a:cubicBezTo>
                    <a:pt x="270" y="686"/>
                    <a:pt x="305" y="724"/>
                    <a:pt x="372" y="724"/>
                  </a:cubicBezTo>
                  <a:cubicBezTo>
                    <a:pt x="443" y="724"/>
                    <a:pt x="474" y="683"/>
                    <a:pt x="507" y="613"/>
                  </a:cubicBezTo>
                  <a:cubicBezTo>
                    <a:pt x="507" y="613"/>
                    <a:pt x="693" y="208"/>
                    <a:pt x="695" y="204"/>
                  </a:cubicBezTo>
                  <a:cubicBezTo>
                    <a:pt x="697" y="200"/>
                    <a:pt x="703" y="186"/>
                    <a:pt x="722" y="187"/>
                  </a:cubicBezTo>
                  <a:cubicBezTo>
                    <a:pt x="738" y="187"/>
                    <a:pt x="751" y="199"/>
                    <a:pt x="751" y="217"/>
                  </a:cubicBezTo>
                  <a:cubicBezTo>
                    <a:pt x="751" y="613"/>
                    <a:pt x="751" y="613"/>
                    <a:pt x="751" y="613"/>
                  </a:cubicBezTo>
                  <a:cubicBezTo>
                    <a:pt x="751" y="674"/>
                    <a:pt x="785" y="724"/>
                    <a:pt x="850" y="724"/>
                  </a:cubicBezTo>
                  <a:cubicBezTo>
                    <a:pt x="915" y="724"/>
                    <a:pt x="951" y="674"/>
                    <a:pt x="951" y="613"/>
                  </a:cubicBezTo>
                  <a:cubicBezTo>
                    <a:pt x="951" y="289"/>
                    <a:pt x="951" y="289"/>
                    <a:pt x="951" y="289"/>
                  </a:cubicBezTo>
                  <a:cubicBezTo>
                    <a:pt x="951" y="226"/>
                    <a:pt x="995" y="186"/>
                    <a:pt x="1056" y="186"/>
                  </a:cubicBezTo>
                  <a:cubicBezTo>
                    <a:pt x="1118" y="186"/>
                    <a:pt x="1158" y="228"/>
                    <a:pt x="1158" y="289"/>
                  </a:cubicBezTo>
                  <a:cubicBezTo>
                    <a:pt x="1158" y="613"/>
                    <a:pt x="1158" y="613"/>
                    <a:pt x="1158" y="613"/>
                  </a:cubicBezTo>
                  <a:cubicBezTo>
                    <a:pt x="1158" y="674"/>
                    <a:pt x="1192" y="724"/>
                    <a:pt x="1257" y="724"/>
                  </a:cubicBezTo>
                  <a:cubicBezTo>
                    <a:pt x="1322" y="724"/>
                    <a:pt x="1358" y="674"/>
                    <a:pt x="1358" y="613"/>
                  </a:cubicBezTo>
                  <a:cubicBezTo>
                    <a:pt x="1358" y="289"/>
                    <a:pt x="1358" y="289"/>
                    <a:pt x="1358" y="289"/>
                  </a:cubicBezTo>
                  <a:cubicBezTo>
                    <a:pt x="1358" y="226"/>
                    <a:pt x="1402" y="186"/>
                    <a:pt x="1463" y="186"/>
                  </a:cubicBezTo>
                  <a:cubicBezTo>
                    <a:pt x="1524" y="186"/>
                    <a:pt x="1565" y="228"/>
                    <a:pt x="1565" y="289"/>
                  </a:cubicBezTo>
                  <a:cubicBezTo>
                    <a:pt x="1565" y="613"/>
                    <a:pt x="1565" y="613"/>
                    <a:pt x="1565" y="613"/>
                  </a:cubicBezTo>
                  <a:cubicBezTo>
                    <a:pt x="1565" y="674"/>
                    <a:pt x="1599" y="724"/>
                    <a:pt x="1664" y="724"/>
                  </a:cubicBezTo>
                  <a:cubicBezTo>
                    <a:pt x="1729" y="724"/>
                    <a:pt x="1764" y="674"/>
                    <a:pt x="1764" y="613"/>
                  </a:cubicBezTo>
                  <a:cubicBezTo>
                    <a:pt x="1764" y="244"/>
                    <a:pt x="1764" y="244"/>
                    <a:pt x="1764" y="244"/>
                  </a:cubicBezTo>
                  <a:cubicBezTo>
                    <a:pt x="1764" y="108"/>
                    <a:pt x="1655" y="13"/>
                    <a:pt x="1524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35" name="Freeform 11"/>
            <p:cNvSpPr>
              <a:spLocks noEditPoints="1"/>
            </p:cNvSpPr>
            <p:nvPr/>
          </p:nvSpPr>
          <p:spPr bwMode="auto">
            <a:xfrm>
              <a:off x="3104" y="4944"/>
              <a:ext cx="103" cy="103"/>
            </a:xfrm>
            <a:custGeom>
              <a:avLst/>
              <a:gdLst>
                <a:gd name="T0" fmla="*/ 0 w 167"/>
                <a:gd name="T1" fmla="*/ 84 h 167"/>
                <a:gd name="T2" fmla="*/ 0 w 167"/>
                <a:gd name="T3" fmla="*/ 83 h 167"/>
                <a:gd name="T4" fmla="*/ 84 w 167"/>
                <a:gd name="T5" fmla="*/ 0 h 167"/>
                <a:gd name="T6" fmla="*/ 167 w 167"/>
                <a:gd name="T7" fmla="*/ 83 h 167"/>
                <a:gd name="T8" fmla="*/ 167 w 167"/>
                <a:gd name="T9" fmla="*/ 83 h 167"/>
                <a:gd name="T10" fmla="*/ 84 w 167"/>
                <a:gd name="T11" fmla="*/ 167 h 167"/>
                <a:gd name="T12" fmla="*/ 0 w 167"/>
                <a:gd name="T13" fmla="*/ 84 h 167"/>
                <a:gd name="T14" fmla="*/ 151 w 167"/>
                <a:gd name="T15" fmla="*/ 83 h 167"/>
                <a:gd name="T16" fmla="*/ 151 w 167"/>
                <a:gd name="T17" fmla="*/ 83 h 167"/>
                <a:gd name="T18" fmla="*/ 84 w 167"/>
                <a:gd name="T19" fmla="*/ 15 h 167"/>
                <a:gd name="T20" fmla="*/ 16 w 167"/>
                <a:gd name="T21" fmla="*/ 83 h 167"/>
                <a:gd name="T22" fmla="*/ 16 w 167"/>
                <a:gd name="T23" fmla="*/ 84 h 167"/>
                <a:gd name="T24" fmla="*/ 84 w 167"/>
                <a:gd name="T25" fmla="*/ 152 h 167"/>
                <a:gd name="T26" fmla="*/ 151 w 167"/>
                <a:gd name="T27" fmla="*/ 83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7" h="167">
                  <a:moveTo>
                    <a:pt x="0" y="84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0" y="38"/>
                    <a:pt x="37" y="0"/>
                    <a:pt x="84" y="0"/>
                  </a:cubicBezTo>
                  <a:cubicBezTo>
                    <a:pt x="131" y="0"/>
                    <a:pt x="167" y="38"/>
                    <a:pt x="167" y="83"/>
                  </a:cubicBezTo>
                  <a:cubicBezTo>
                    <a:pt x="167" y="83"/>
                    <a:pt x="167" y="83"/>
                    <a:pt x="167" y="83"/>
                  </a:cubicBezTo>
                  <a:cubicBezTo>
                    <a:pt x="167" y="129"/>
                    <a:pt x="130" y="167"/>
                    <a:pt x="84" y="167"/>
                  </a:cubicBezTo>
                  <a:cubicBezTo>
                    <a:pt x="36" y="167"/>
                    <a:pt x="0" y="130"/>
                    <a:pt x="0" y="84"/>
                  </a:cubicBezTo>
                  <a:moveTo>
                    <a:pt x="151" y="83"/>
                  </a:moveTo>
                  <a:cubicBezTo>
                    <a:pt x="151" y="83"/>
                    <a:pt x="151" y="83"/>
                    <a:pt x="151" y="83"/>
                  </a:cubicBezTo>
                  <a:cubicBezTo>
                    <a:pt x="151" y="46"/>
                    <a:pt x="122" y="15"/>
                    <a:pt x="84" y="15"/>
                  </a:cubicBezTo>
                  <a:cubicBezTo>
                    <a:pt x="45" y="15"/>
                    <a:pt x="16" y="46"/>
                    <a:pt x="16" y="83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6" y="121"/>
                    <a:pt x="45" y="152"/>
                    <a:pt x="84" y="152"/>
                  </a:cubicBezTo>
                  <a:cubicBezTo>
                    <a:pt x="122" y="152"/>
                    <a:pt x="151" y="121"/>
                    <a:pt x="151" y="8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36" name="Freeform 12"/>
            <p:cNvSpPr>
              <a:spLocks noEditPoints="1"/>
            </p:cNvSpPr>
            <p:nvPr/>
          </p:nvSpPr>
          <p:spPr bwMode="auto">
            <a:xfrm>
              <a:off x="3136" y="4970"/>
              <a:ext cx="42" cy="50"/>
            </a:xfrm>
            <a:custGeom>
              <a:avLst/>
              <a:gdLst>
                <a:gd name="T0" fmla="*/ 0 w 67"/>
                <a:gd name="T1" fmla="*/ 9 h 81"/>
                <a:gd name="T2" fmla="*/ 9 w 67"/>
                <a:gd name="T3" fmla="*/ 0 h 81"/>
                <a:gd name="T4" fmla="*/ 36 w 67"/>
                <a:gd name="T5" fmla="*/ 0 h 81"/>
                <a:gd name="T6" fmla="*/ 60 w 67"/>
                <a:gd name="T7" fmla="*/ 8 h 81"/>
                <a:gd name="T8" fmla="*/ 67 w 67"/>
                <a:gd name="T9" fmla="*/ 26 h 81"/>
                <a:gd name="T10" fmla="*/ 67 w 67"/>
                <a:gd name="T11" fmla="*/ 27 h 81"/>
                <a:gd name="T12" fmla="*/ 51 w 67"/>
                <a:gd name="T13" fmla="*/ 51 h 81"/>
                <a:gd name="T14" fmla="*/ 63 w 67"/>
                <a:gd name="T15" fmla="*/ 66 h 81"/>
                <a:gd name="T16" fmla="*/ 66 w 67"/>
                <a:gd name="T17" fmla="*/ 73 h 81"/>
                <a:gd name="T18" fmla="*/ 58 w 67"/>
                <a:gd name="T19" fmla="*/ 81 h 81"/>
                <a:gd name="T20" fmla="*/ 49 w 67"/>
                <a:gd name="T21" fmla="*/ 76 h 81"/>
                <a:gd name="T22" fmla="*/ 32 w 67"/>
                <a:gd name="T23" fmla="*/ 55 h 81"/>
                <a:gd name="T24" fmla="*/ 17 w 67"/>
                <a:gd name="T25" fmla="*/ 55 h 81"/>
                <a:gd name="T26" fmla="*/ 17 w 67"/>
                <a:gd name="T27" fmla="*/ 72 h 81"/>
                <a:gd name="T28" fmla="*/ 9 w 67"/>
                <a:gd name="T29" fmla="*/ 81 h 81"/>
                <a:gd name="T30" fmla="*/ 0 w 67"/>
                <a:gd name="T31" fmla="*/ 72 h 81"/>
                <a:gd name="T32" fmla="*/ 0 w 67"/>
                <a:gd name="T33" fmla="*/ 9 h 81"/>
                <a:gd name="T34" fmla="*/ 35 w 67"/>
                <a:gd name="T35" fmla="*/ 39 h 81"/>
                <a:gd name="T36" fmla="*/ 49 w 67"/>
                <a:gd name="T37" fmla="*/ 27 h 81"/>
                <a:gd name="T38" fmla="*/ 49 w 67"/>
                <a:gd name="T39" fmla="*/ 27 h 81"/>
                <a:gd name="T40" fmla="*/ 35 w 67"/>
                <a:gd name="T41" fmla="*/ 16 h 81"/>
                <a:gd name="T42" fmla="*/ 17 w 67"/>
                <a:gd name="T43" fmla="*/ 16 h 81"/>
                <a:gd name="T44" fmla="*/ 17 w 67"/>
                <a:gd name="T45" fmla="*/ 39 h 81"/>
                <a:gd name="T46" fmla="*/ 35 w 67"/>
                <a:gd name="T47" fmla="*/ 39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7" h="81">
                  <a:moveTo>
                    <a:pt x="0" y="9"/>
                  </a:moveTo>
                  <a:cubicBezTo>
                    <a:pt x="0" y="4"/>
                    <a:pt x="4" y="0"/>
                    <a:pt x="9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47" y="0"/>
                    <a:pt x="55" y="3"/>
                    <a:pt x="60" y="8"/>
                  </a:cubicBezTo>
                  <a:cubicBezTo>
                    <a:pt x="65" y="12"/>
                    <a:pt x="67" y="19"/>
                    <a:pt x="67" y="26"/>
                  </a:cubicBezTo>
                  <a:cubicBezTo>
                    <a:pt x="67" y="27"/>
                    <a:pt x="67" y="27"/>
                    <a:pt x="67" y="27"/>
                  </a:cubicBezTo>
                  <a:cubicBezTo>
                    <a:pt x="67" y="39"/>
                    <a:pt x="61" y="47"/>
                    <a:pt x="51" y="51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5" y="68"/>
                    <a:pt x="66" y="70"/>
                    <a:pt x="66" y="73"/>
                  </a:cubicBezTo>
                  <a:cubicBezTo>
                    <a:pt x="66" y="78"/>
                    <a:pt x="62" y="81"/>
                    <a:pt x="58" y="81"/>
                  </a:cubicBezTo>
                  <a:cubicBezTo>
                    <a:pt x="54" y="81"/>
                    <a:pt x="51" y="79"/>
                    <a:pt x="49" y="76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17" y="55"/>
                    <a:pt x="17" y="55"/>
                    <a:pt x="17" y="55"/>
                  </a:cubicBezTo>
                  <a:cubicBezTo>
                    <a:pt x="17" y="72"/>
                    <a:pt x="17" y="72"/>
                    <a:pt x="17" y="72"/>
                  </a:cubicBezTo>
                  <a:cubicBezTo>
                    <a:pt x="17" y="77"/>
                    <a:pt x="14" y="81"/>
                    <a:pt x="9" y="81"/>
                  </a:cubicBezTo>
                  <a:cubicBezTo>
                    <a:pt x="4" y="81"/>
                    <a:pt x="0" y="77"/>
                    <a:pt x="0" y="72"/>
                  </a:cubicBezTo>
                  <a:lnTo>
                    <a:pt x="0" y="9"/>
                  </a:lnTo>
                  <a:close/>
                  <a:moveTo>
                    <a:pt x="35" y="39"/>
                  </a:moveTo>
                  <a:cubicBezTo>
                    <a:pt x="44" y="39"/>
                    <a:pt x="49" y="34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0"/>
                    <a:pt x="44" y="16"/>
                    <a:pt x="35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39"/>
                    <a:pt x="17" y="39"/>
                    <a:pt x="17" y="39"/>
                  </a:cubicBezTo>
                  <a:lnTo>
                    <a:pt x="35" y="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etric 3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056347" y="5213798"/>
            <a:ext cx="3734854" cy="1415602"/>
          </a:xfrm>
        </p:spPr>
        <p:txBody>
          <a:bodyPr anchor="ctr"/>
          <a:lstStyle>
            <a:lvl1pPr marL="3168" indent="0" algn="r">
              <a:spcBef>
                <a:spcPts val="0"/>
              </a:spcBef>
              <a:buNone/>
              <a:defRPr sz="8781">
                <a:solidFill>
                  <a:schemeClr val="accent3">
                    <a:lumMod val="50000"/>
                  </a:schemeClr>
                </a:solidFill>
              </a:defRPr>
            </a:lvl1pPr>
            <a:lvl2pPr marL="3168" indent="0">
              <a:spcBef>
                <a:spcPts val="0"/>
              </a:spcBef>
              <a:buNone/>
              <a:defRPr sz="8781">
                <a:solidFill>
                  <a:schemeClr val="accent1">
                    <a:lumMod val="50000"/>
                  </a:schemeClr>
                </a:solidFill>
              </a:defRPr>
            </a:lvl2pPr>
            <a:lvl3pPr marL="3168" indent="0">
              <a:spcBef>
                <a:spcPts val="0"/>
              </a:spcBef>
              <a:buNone/>
              <a:defRPr sz="8781">
                <a:solidFill>
                  <a:schemeClr val="accent1">
                    <a:lumMod val="50000"/>
                  </a:schemeClr>
                </a:solidFill>
              </a:defRPr>
            </a:lvl3pPr>
            <a:lvl4pPr marL="3168" indent="0">
              <a:spcBef>
                <a:spcPts val="0"/>
              </a:spcBef>
              <a:buNone/>
              <a:defRPr sz="8781">
                <a:solidFill>
                  <a:schemeClr val="accent1">
                    <a:lumMod val="50000"/>
                  </a:schemeClr>
                </a:solidFill>
              </a:defRPr>
            </a:lvl4pPr>
            <a:lvl5pPr marL="3168" indent="0">
              <a:spcBef>
                <a:spcPts val="0"/>
              </a:spcBef>
              <a:buNone/>
              <a:defRPr sz="8781">
                <a:solidFill>
                  <a:schemeClr val="accent1">
                    <a:lumMod val="50000"/>
                  </a:schemeClr>
                </a:solidFill>
              </a:defRPr>
            </a:lvl5pPr>
            <a:lvl6pPr marL="3168" indent="0">
              <a:spcBef>
                <a:spcPts val="0"/>
              </a:spcBef>
              <a:buNone/>
              <a:defRPr sz="8781">
                <a:solidFill>
                  <a:schemeClr val="accent1">
                    <a:lumMod val="50000"/>
                  </a:schemeClr>
                </a:solidFill>
              </a:defRPr>
            </a:lvl6pPr>
            <a:lvl7pPr marL="3168" indent="0">
              <a:spcBef>
                <a:spcPts val="0"/>
              </a:spcBef>
              <a:buNone/>
              <a:defRPr sz="8781">
                <a:solidFill>
                  <a:schemeClr val="accent1">
                    <a:lumMod val="50000"/>
                  </a:schemeClr>
                </a:solidFill>
              </a:defRPr>
            </a:lvl7pPr>
            <a:lvl8pPr marL="3168" indent="0">
              <a:spcBef>
                <a:spcPts val="0"/>
              </a:spcBef>
              <a:buNone/>
              <a:defRPr sz="8781">
                <a:solidFill>
                  <a:schemeClr val="accent1">
                    <a:lumMod val="50000"/>
                  </a:schemeClr>
                </a:solidFill>
              </a:defRPr>
            </a:lvl8pPr>
            <a:lvl9pPr marL="3168" indent="0">
              <a:spcBef>
                <a:spcPts val="0"/>
              </a:spcBef>
              <a:buNone/>
              <a:defRPr sz="8781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6096001" y="5213798"/>
            <a:ext cx="4511040" cy="1415602"/>
          </a:xfrm>
        </p:spPr>
        <p:txBody>
          <a:bodyPr anchor="ctr"/>
          <a:lstStyle>
            <a:lvl1pPr marL="3168" indent="0">
              <a:spcBef>
                <a:spcPts val="0"/>
              </a:spcBef>
              <a:buNone/>
              <a:defRPr sz="2395">
                <a:solidFill>
                  <a:schemeClr val="accent3">
                    <a:lumMod val="50000"/>
                  </a:schemeClr>
                </a:solidFill>
              </a:defRPr>
            </a:lvl1pPr>
            <a:lvl2pPr marL="3168" indent="0">
              <a:spcBef>
                <a:spcPts val="0"/>
              </a:spcBef>
              <a:buNone/>
              <a:defRPr sz="1996">
                <a:solidFill>
                  <a:schemeClr val="accent1">
                    <a:lumMod val="50000"/>
                  </a:schemeClr>
                </a:solidFill>
              </a:defRPr>
            </a:lvl2pPr>
            <a:lvl3pPr marL="3168" indent="0">
              <a:spcBef>
                <a:spcPts val="0"/>
              </a:spcBef>
              <a:buNone/>
              <a:defRPr sz="1996">
                <a:solidFill>
                  <a:schemeClr val="accent1">
                    <a:lumMod val="50000"/>
                  </a:schemeClr>
                </a:solidFill>
              </a:defRPr>
            </a:lvl3pPr>
            <a:lvl4pPr marL="3168" indent="0">
              <a:spcBef>
                <a:spcPts val="0"/>
              </a:spcBef>
              <a:buNone/>
              <a:defRPr sz="1996">
                <a:solidFill>
                  <a:schemeClr val="accent1">
                    <a:lumMod val="50000"/>
                  </a:schemeClr>
                </a:solidFill>
              </a:defRPr>
            </a:lvl4pPr>
            <a:lvl5pPr marL="3168" indent="0">
              <a:spcBef>
                <a:spcPts val="0"/>
              </a:spcBef>
              <a:buNone/>
              <a:defRPr sz="1996">
                <a:solidFill>
                  <a:schemeClr val="accent1">
                    <a:lumMod val="50000"/>
                  </a:schemeClr>
                </a:solidFill>
              </a:defRPr>
            </a:lvl5pPr>
            <a:lvl6pPr marL="3168" indent="0">
              <a:spcBef>
                <a:spcPts val="0"/>
              </a:spcBef>
              <a:buNone/>
              <a:defRPr sz="1996">
                <a:solidFill>
                  <a:schemeClr val="accent1">
                    <a:lumMod val="50000"/>
                  </a:schemeClr>
                </a:solidFill>
              </a:defRPr>
            </a:lvl6pPr>
            <a:lvl7pPr marL="3168" indent="0">
              <a:spcBef>
                <a:spcPts val="0"/>
              </a:spcBef>
              <a:buNone/>
              <a:defRPr sz="1996">
                <a:solidFill>
                  <a:schemeClr val="accent1">
                    <a:lumMod val="50000"/>
                  </a:schemeClr>
                </a:solidFill>
              </a:defRPr>
            </a:lvl7pPr>
            <a:lvl8pPr marL="3168" indent="0">
              <a:spcBef>
                <a:spcPts val="0"/>
              </a:spcBef>
              <a:buNone/>
              <a:defRPr sz="1996">
                <a:solidFill>
                  <a:schemeClr val="accent1">
                    <a:lumMod val="50000"/>
                  </a:schemeClr>
                </a:solidFill>
              </a:defRPr>
            </a:lvl8pPr>
            <a:lvl9pPr marL="3168" indent="0">
              <a:spcBef>
                <a:spcPts val="0"/>
              </a:spcBef>
              <a:buNone/>
              <a:defRPr sz="1996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7" name="Group 4"/>
          <p:cNvGrpSpPr>
            <a:grpSpLocks noChangeAspect="1"/>
          </p:cNvGrpSpPr>
          <p:nvPr/>
        </p:nvGrpSpPr>
        <p:grpSpPr bwMode="auto">
          <a:xfrm>
            <a:off x="615656" y="6376993"/>
            <a:ext cx="1294203" cy="242475"/>
            <a:chOff x="-16" y="4944"/>
            <a:chExt cx="3223" cy="604"/>
          </a:xfrm>
          <a:solidFill>
            <a:schemeClr val="tx1"/>
          </a:solidFill>
        </p:grpSpPr>
        <p:sp>
          <p:nvSpPr>
            <p:cNvPr id="18" name="Freeform 5"/>
            <p:cNvSpPr>
              <a:spLocks/>
            </p:cNvSpPr>
            <p:nvPr/>
          </p:nvSpPr>
          <p:spPr bwMode="auto">
            <a:xfrm>
              <a:off x="1098" y="5116"/>
              <a:ext cx="612" cy="429"/>
            </a:xfrm>
            <a:custGeom>
              <a:avLst/>
              <a:gdLst>
                <a:gd name="T0" fmla="*/ 943 w 993"/>
                <a:gd name="T1" fmla="*/ 0 h 694"/>
                <a:gd name="T2" fmla="*/ 894 w 993"/>
                <a:gd name="T3" fmla="*/ 39 h 694"/>
                <a:gd name="T4" fmla="*/ 721 w 993"/>
                <a:gd name="T5" fmla="*/ 550 h 694"/>
                <a:gd name="T6" fmla="*/ 551 w 993"/>
                <a:gd name="T7" fmla="*/ 40 h 694"/>
                <a:gd name="T8" fmla="*/ 499 w 993"/>
                <a:gd name="T9" fmla="*/ 0 h 694"/>
                <a:gd name="T10" fmla="*/ 494 w 993"/>
                <a:gd name="T11" fmla="*/ 0 h 694"/>
                <a:gd name="T12" fmla="*/ 444 w 993"/>
                <a:gd name="T13" fmla="*/ 40 h 694"/>
                <a:gd name="T14" fmla="*/ 272 w 993"/>
                <a:gd name="T15" fmla="*/ 550 h 694"/>
                <a:gd name="T16" fmla="*/ 102 w 993"/>
                <a:gd name="T17" fmla="*/ 42 h 694"/>
                <a:gd name="T18" fmla="*/ 51 w 993"/>
                <a:gd name="T19" fmla="*/ 0 h 694"/>
                <a:gd name="T20" fmla="*/ 0 w 993"/>
                <a:gd name="T21" fmla="*/ 48 h 694"/>
                <a:gd name="T22" fmla="*/ 6 w 993"/>
                <a:gd name="T23" fmla="*/ 76 h 694"/>
                <a:gd name="T24" fmla="*/ 212 w 993"/>
                <a:gd name="T25" fmla="*/ 648 h 694"/>
                <a:gd name="T26" fmla="*/ 268 w 993"/>
                <a:gd name="T27" fmla="*/ 694 h 694"/>
                <a:gd name="T28" fmla="*/ 271 w 993"/>
                <a:gd name="T29" fmla="*/ 694 h 694"/>
                <a:gd name="T30" fmla="*/ 326 w 993"/>
                <a:gd name="T31" fmla="*/ 648 h 694"/>
                <a:gd name="T32" fmla="*/ 496 w 993"/>
                <a:gd name="T33" fmla="*/ 154 h 694"/>
                <a:gd name="T34" fmla="*/ 665 w 993"/>
                <a:gd name="T35" fmla="*/ 648 h 694"/>
                <a:gd name="T36" fmla="*/ 720 w 993"/>
                <a:gd name="T37" fmla="*/ 694 h 694"/>
                <a:gd name="T38" fmla="*/ 724 w 993"/>
                <a:gd name="T39" fmla="*/ 694 h 694"/>
                <a:gd name="T40" fmla="*/ 779 w 993"/>
                <a:gd name="T41" fmla="*/ 648 h 694"/>
                <a:gd name="T42" fmla="*/ 986 w 993"/>
                <a:gd name="T43" fmla="*/ 74 h 694"/>
                <a:gd name="T44" fmla="*/ 993 w 993"/>
                <a:gd name="T45" fmla="*/ 47 h 694"/>
                <a:gd name="T46" fmla="*/ 943 w 993"/>
                <a:gd name="T47" fmla="*/ 0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93" h="694">
                  <a:moveTo>
                    <a:pt x="943" y="0"/>
                  </a:moveTo>
                  <a:cubicBezTo>
                    <a:pt x="915" y="0"/>
                    <a:pt x="901" y="18"/>
                    <a:pt x="894" y="39"/>
                  </a:cubicBezTo>
                  <a:cubicBezTo>
                    <a:pt x="721" y="550"/>
                    <a:pt x="721" y="550"/>
                    <a:pt x="721" y="550"/>
                  </a:cubicBezTo>
                  <a:cubicBezTo>
                    <a:pt x="551" y="40"/>
                    <a:pt x="551" y="40"/>
                    <a:pt x="551" y="40"/>
                  </a:cubicBezTo>
                  <a:cubicBezTo>
                    <a:pt x="543" y="17"/>
                    <a:pt x="526" y="0"/>
                    <a:pt x="499" y="0"/>
                  </a:cubicBezTo>
                  <a:cubicBezTo>
                    <a:pt x="494" y="0"/>
                    <a:pt x="494" y="0"/>
                    <a:pt x="494" y="0"/>
                  </a:cubicBezTo>
                  <a:cubicBezTo>
                    <a:pt x="467" y="0"/>
                    <a:pt x="452" y="17"/>
                    <a:pt x="444" y="40"/>
                  </a:cubicBezTo>
                  <a:cubicBezTo>
                    <a:pt x="272" y="550"/>
                    <a:pt x="272" y="550"/>
                    <a:pt x="272" y="550"/>
                  </a:cubicBezTo>
                  <a:cubicBezTo>
                    <a:pt x="102" y="42"/>
                    <a:pt x="102" y="42"/>
                    <a:pt x="102" y="42"/>
                  </a:cubicBezTo>
                  <a:cubicBezTo>
                    <a:pt x="94" y="17"/>
                    <a:pt x="77" y="0"/>
                    <a:pt x="51" y="0"/>
                  </a:cubicBezTo>
                  <a:cubicBezTo>
                    <a:pt x="21" y="0"/>
                    <a:pt x="0" y="23"/>
                    <a:pt x="0" y="48"/>
                  </a:cubicBezTo>
                  <a:cubicBezTo>
                    <a:pt x="0" y="57"/>
                    <a:pt x="4" y="68"/>
                    <a:pt x="6" y="76"/>
                  </a:cubicBezTo>
                  <a:cubicBezTo>
                    <a:pt x="212" y="648"/>
                    <a:pt x="212" y="648"/>
                    <a:pt x="212" y="648"/>
                  </a:cubicBezTo>
                  <a:cubicBezTo>
                    <a:pt x="222" y="678"/>
                    <a:pt x="243" y="694"/>
                    <a:pt x="268" y="694"/>
                  </a:cubicBezTo>
                  <a:cubicBezTo>
                    <a:pt x="271" y="694"/>
                    <a:pt x="271" y="694"/>
                    <a:pt x="271" y="694"/>
                  </a:cubicBezTo>
                  <a:cubicBezTo>
                    <a:pt x="297" y="694"/>
                    <a:pt x="317" y="678"/>
                    <a:pt x="326" y="648"/>
                  </a:cubicBezTo>
                  <a:cubicBezTo>
                    <a:pt x="496" y="154"/>
                    <a:pt x="496" y="154"/>
                    <a:pt x="496" y="154"/>
                  </a:cubicBezTo>
                  <a:cubicBezTo>
                    <a:pt x="665" y="648"/>
                    <a:pt x="665" y="648"/>
                    <a:pt x="665" y="648"/>
                  </a:cubicBezTo>
                  <a:cubicBezTo>
                    <a:pt x="674" y="678"/>
                    <a:pt x="694" y="694"/>
                    <a:pt x="720" y="694"/>
                  </a:cubicBezTo>
                  <a:cubicBezTo>
                    <a:pt x="724" y="694"/>
                    <a:pt x="724" y="694"/>
                    <a:pt x="724" y="694"/>
                  </a:cubicBezTo>
                  <a:cubicBezTo>
                    <a:pt x="748" y="694"/>
                    <a:pt x="769" y="678"/>
                    <a:pt x="779" y="648"/>
                  </a:cubicBezTo>
                  <a:cubicBezTo>
                    <a:pt x="986" y="74"/>
                    <a:pt x="986" y="74"/>
                    <a:pt x="986" y="74"/>
                  </a:cubicBezTo>
                  <a:cubicBezTo>
                    <a:pt x="989" y="67"/>
                    <a:pt x="993" y="56"/>
                    <a:pt x="993" y="47"/>
                  </a:cubicBezTo>
                  <a:cubicBezTo>
                    <a:pt x="993" y="22"/>
                    <a:pt x="972" y="0"/>
                    <a:pt x="943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19" name="Freeform 6"/>
            <p:cNvSpPr>
              <a:spLocks noEditPoints="1"/>
            </p:cNvSpPr>
            <p:nvPr/>
          </p:nvSpPr>
          <p:spPr bwMode="auto">
            <a:xfrm>
              <a:off x="1720" y="5111"/>
              <a:ext cx="417" cy="437"/>
            </a:xfrm>
            <a:custGeom>
              <a:avLst/>
              <a:gdLst>
                <a:gd name="T0" fmla="*/ 340 w 678"/>
                <a:gd name="T1" fmla="*/ 0 h 707"/>
                <a:gd name="T2" fmla="*/ 0 w 678"/>
                <a:gd name="T3" fmla="*/ 354 h 707"/>
                <a:gd name="T4" fmla="*/ 0 w 678"/>
                <a:gd name="T5" fmla="*/ 356 h 707"/>
                <a:gd name="T6" fmla="*/ 337 w 678"/>
                <a:gd name="T7" fmla="*/ 707 h 707"/>
                <a:gd name="T8" fmla="*/ 678 w 678"/>
                <a:gd name="T9" fmla="*/ 354 h 707"/>
                <a:gd name="T10" fmla="*/ 678 w 678"/>
                <a:gd name="T11" fmla="*/ 351 h 707"/>
                <a:gd name="T12" fmla="*/ 340 w 678"/>
                <a:gd name="T13" fmla="*/ 0 h 707"/>
                <a:gd name="T14" fmla="*/ 575 w 678"/>
                <a:gd name="T15" fmla="*/ 356 h 707"/>
                <a:gd name="T16" fmla="*/ 340 w 678"/>
                <a:gd name="T17" fmla="*/ 631 h 707"/>
                <a:gd name="T18" fmla="*/ 103 w 678"/>
                <a:gd name="T19" fmla="*/ 354 h 707"/>
                <a:gd name="T20" fmla="*/ 103 w 678"/>
                <a:gd name="T21" fmla="*/ 351 h 707"/>
                <a:gd name="T22" fmla="*/ 337 w 678"/>
                <a:gd name="T23" fmla="*/ 75 h 707"/>
                <a:gd name="T24" fmla="*/ 575 w 678"/>
                <a:gd name="T25" fmla="*/ 354 h 707"/>
                <a:gd name="T26" fmla="*/ 575 w 678"/>
                <a:gd name="T27" fmla="*/ 356 h 7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78" h="707">
                  <a:moveTo>
                    <a:pt x="340" y="0"/>
                  </a:moveTo>
                  <a:cubicBezTo>
                    <a:pt x="135" y="0"/>
                    <a:pt x="0" y="162"/>
                    <a:pt x="0" y="354"/>
                  </a:cubicBezTo>
                  <a:cubicBezTo>
                    <a:pt x="0" y="356"/>
                    <a:pt x="0" y="356"/>
                    <a:pt x="0" y="356"/>
                  </a:cubicBezTo>
                  <a:cubicBezTo>
                    <a:pt x="0" y="548"/>
                    <a:pt x="134" y="707"/>
                    <a:pt x="337" y="707"/>
                  </a:cubicBezTo>
                  <a:cubicBezTo>
                    <a:pt x="541" y="707"/>
                    <a:pt x="678" y="545"/>
                    <a:pt x="678" y="354"/>
                  </a:cubicBezTo>
                  <a:cubicBezTo>
                    <a:pt x="678" y="351"/>
                    <a:pt x="678" y="351"/>
                    <a:pt x="678" y="351"/>
                  </a:cubicBezTo>
                  <a:cubicBezTo>
                    <a:pt x="678" y="160"/>
                    <a:pt x="543" y="0"/>
                    <a:pt x="340" y="0"/>
                  </a:cubicBezTo>
                  <a:moveTo>
                    <a:pt x="575" y="356"/>
                  </a:moveTo>
                  <a:cubicBezTo>
                    <a:pt x="575" y="499"/>
                    <a:pt x="486" y="631"/>
                    <a:pt x="340" y="631"/>
                  </a:cubicBezTo>
                  <a:cubicBezTo>
                    <a:pt x="197" y="631"/>
                    <a:pt x="103" y="499"/>
                    <a:pt x="103" y="354"/>
                  </a:cubicBezTo>
                  <a:cubicBezTo>
                    <a:pt x="103" y="351"/>
                    <a:pt x="103" y="351"/>
                    <a:pt x="103" y="351"/>
                  </a:cubicBezTo>
                  <a:cubicBezTo>
                    <a:pt x="103" y="208"/>
                    <a:pt x="190" y="75"/>
                    <a:pt x="337" y="75"/>
                  </a:cubicBezTo>
                  <a:cubicBezTo>
                    <a:pt x="480" y="75"/>
                    <a:pt x="575" y="208"/>
                    <a:pt x="575" y="354"/>
                  </a:cubicBezTo>
                  <a:lnTo>
                    <a:pt x="575" y="3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20" name="Freeform 7"/>
            <p:cNvSpPr>
              <a:spLocks/>
            </p:cNvSpPr>
            <p:nvPr/>
          </p:nvSpPr>
          <p:spPr bwMode="auto">
            <a:xfrm>
              <a:off x="2198" y="5115"/>
              <a:ext cx="236" cy="428"/>
            </a:xfrm>
            <a:custGeom>
              <a:avLst/>
              <a:gdLst>
                <a:gd name="T0" fmla="*/ 334 w 384"/>
                <a:gd name="T1" fmla="*/ 0 h 693"/>
                <a:gd name="T2" fmla="*/ 101 w 384"/>
                <a:gd name="T3" fmla="*/ 181 h 693"/>
                <a:gd name="T4" fmla="*/ 101 w 384"/>
                <a:gd name="T5" fmla="*/ 54 h 693"/>
                <a:gd name="T6" fmla="*/ 50 w 384"/>
                <a:gd name="T7" fmla="*/ 3 h 693"/>
                <a:gd name="T8" fmla="*/ 0 w 384"/>
                <a:gd name="T9" fmla="*/ 54 h 693"/>
                <a:gd name="T10" fmla="*/ 0 w 384"/>
                <a:gd name="T11" fmla="*/ 642 h 693"/>
                <a:gd name="T12" fmla="*/ 51 w 384"/>
                <a:gd name="T13" fmla="*/ 693 h 693"/>
                <a:gd name="T14" fmla="*/ 101 w 384"/>
                <a:gd name="T15" fmla="*/ 642 h 693"/>
                <a:gd name="T16" fmla="*/ 101 w 384"/>
                <a:gd name="T17" fmla="*/ 412 h 693"/>
                <a:gd name="T18" fmla="*/ 339 w 384"/>
                <a:gd name="T19" fmla="*/ 102 h 693"/>
                <a:gd name="T20" fmla="*/ 384 w 384"/>
                <a:gd name="T21" fmla="*/ 51 h 693"/>
                <a:gd name="T22" fmla="*/ 334 w 384"/>
                <a:gd name="T23" fmla="*/ 0 h 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4" h="693">
                  <a:moveTo>
                    <a:pt x="334" y="0"/>
                  </a:moveTo>
                  <a:cubicBezTo>
                    <a:pt x="249" y="0"/>
                    <a:pt x="151" y="68"/>
                    <a:pt x="101" y="181"/>
                  </a:cubicBezTo>
                  <a:cubicBezTo>
                    <a:pt x="101" y="54"/>
                    <a:pt x="101" y="54"/>
                    <a:pt x="101" y="54"/>
                  </a:cubicBezTo>
                  <a:cubicBezTo>
                    <a:pt x="101" y="25"/>
                    <a:pt x="79" y="3"/>
                    <a:pt x="50" y="3"/>
                  </a:cubicBezTo>
                  <a:cubicBezTo>
                    <a:pt x="22" y="3"/>
                    <a:pt x="0" y="26"/>
                    <a:pt x="0" y="54"/>
                  </a:cubicBezTo>
                  <a:cubicBezTo>
                    <a:pt x="0" y="642"/>
                    <a:pt x="0" y="642"/>
                    <a:pt x="0" y="642"/>
                  </a:cubicBezTo>
                  <a:cubicBezTo>
                    <a:pt x="0" y="671"/>
                    <a:pt x="22" y="693"/>
                    <a:pt x="51" y="693"/>
                  </a:cubicBezTo>
                  <a:cubicBezTo>
                    <a:pt x="80" y="693"/>
                    <a:pt x="101" y="670"/>
                    <a:pt x="101" y="642"/>
                  </a:cubicBezTo>
                  <a:cubicBezTo>
                    <a:pt x="101" y="412"/>
                    <a:pt x="101" y="412"/>
                    <a:pt x="101" y="412"/>
                  </a:cubicBezTo>
                  <a:cubicBezTo>
                    <a:pt x="101" y="216"/>
                    <a:pt x="208" y="118"/>
                    <a:pt x="339" y="102"/>
                  </a:cubicBezTo>
                  <a:cubicBezTo>
                    <a:pt x="365" y="98"/>
                    <a:pt x="384" y="79"/>
                    <a:pt x="384" y="51"/>
                  </a:cubicBezTo>
                  <a:cubicBezTo>
                    <a:pt x="384" y="22"/>
                    <a:pt x="364" y="0"/>
                    <a:pt x="33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auto">
            <a:xfrm>
              <a:off x="2500" y="4944"/>
              <a:ext cx="63" cy="599"/>
            </a:xfrm>
            <a:custGeom>
              <a:avLst/>
              <a:gdLst>
                <a:gd name="T0" fmla="*/ 49 w 101"/>
                <a:gd name="T1" fmla="*/ 0 h 969"/>
                <a:gd name="T2" fmla="*/ 0 w 101"/>
                <a:gd name="T3" fmla="*/ 51 h 969"/>
                <a:gd name="T4" fmla="*/ 0 w 101"/>
                <a:gd name="T5" fmla="*/ 918 h 969"/>
                <a:gd name="T6" fmla="*/ 51 w 101"/>
                <a:gd name="T7" fmla="*/ 969 h 969"/>
                <a:gd name="T8" fmla="*/ 101 w 101"/>
                <a:gd name="T9" fmla="*/ 918 h 969"/>
                <a:gd name="T10" fmla="*/ 101 w 101"/>
                <a:gd name="T11" fmla="*/ 51 h 969"/>
                <a:gd name="T12" fmla="*/ 49 w 101"/>
                <a:gd name="T13" fmla="*/ 0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" h="969">
                  <a:moveTo>
                    <a:pt x="49" y="0"/>
                  </a:moveTo>
                  <a:cubicBezTo>
                    <a:pt x="22" y="0"/>
                    <a:pt x="0" y="23"/>
                    <a:pt x="0" y="51"/>
                  </a:cubicBezTo>
                  <a:cubicBezTo>
                    <a:pt x="0" y="918"/>
                    <a:pt x="0" y="918"/>
                    <a:pt x="0" y="918"/>
                  </a:cubicBezTo>
                  <a:cubicBezTo>
                    <a:pt x="0" y="947"/>
                    <a:pt x="22" y="969"/>
                    <a:pt x="51" y="969"/>
                  </a:cubicBezTo>
                  <a:cubicBezTo>
                    <a:pt x="80" y="969"/>
                    <a:pt x="101" y="947"/>
                    <a:pt x="101" y="918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3"/>
                    <a:pt x="78" y="0"/>
                    <a:pt x="4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/>
          </p:nvSpPr>
          <p:spPr bwMode="auto">
            <a:xfrm>
              <a:off x="2626" y="4944"/>
              <a:ext cx="421" cy="604"/>
            </a:xfrm>
            <a:custGeom>
              <a:avLst/>
              <a:gdLst>
                <a:gd name="T0" fmla="*/ 633 w 684"/>
                <a:gd name="T1" fmla="*/ 0 h 977"/>
                <a:gd name="T2" fmla="*/ 583 w 684"/>
                <a:gd name="T3" fmla="*/ 51 h 977"/>
                <a:gd name="T4" fmla="*/ 583 w 684"/>
                <a:gd name="T5" fmla="*/ 415 h 977"/>
                <a:gd name="T6" fmla="*/ 324 w 684"/>
                <a:gd name="T7" fmla="*/ 271 h 977"/>
                <a:gd name="T8" fmla="*/ 0 w 684"/>
                <a:gd name="T9" fmla="*/ 623 h 977"/>
                <a:gd name="T10" fmla="*/ 0 w 684"/>
                <a:gd name="T11" fmla="*/ 626 h 977"/>
                <a:gd name="T12" fmla="*/ 324 w 684"/>
                <a:gd name="T13" fmla="*/ 977 h 977"/>
                <a:gd name="T14" fmla="*/ 583 w 684"/>
                <a:gd name="T15" fmla="*/ 826 h 977"/>
                <a:gd name="T16" fmla="*/ 583 w 684"/>
                <a:gd name="T17" fmla="*/ 918 h 977"/>
                <a:gd name="T18" fmla="*/ 634 w 684"/>
                <a:gd name="T19" fmla="*/ 969 h 977"/>
                <a:gd name="T20" fmla="*/ 684 w 684"/>
                <a:gd name="T21" fmla="*/ 918 h 977"/>
                <a:gd name="T22" fmla="*/ 684 w 684"/>
                <a:gd name="T23" fmla="*/ 51 h 977"/>
                <a:gd name="T24" fmla="*/ 633 w 684"/>
                <a:gd name="T25" fmla="*/ 0 h 977"/>
                <a:gd name="T26" fmla="*/ 587 w 684"/>
                <a:gd name="T27" fmla="*/ 625 h 977"/>
                <a:gd name="T28" fmla="*/ 342 w 684"/>
                <a:gd name="T29" fmla="*/ 887 h 977"/>
                <a:gd name="T30" fmla="*/ 104 w 684"/>
                <a:gd name="T31" fmla="*/ 625 h 977"/>
                <a:gd name="T32" fmla="*/ 104 w 684"/>
                <a:gd name="T33" fmla="*/ 622 h 977"/>
                <a:gd name="T34" fmla="*/ 342 w 684"/>
                <a:gd name="T35" fmla="*/ 361 h 977"/>
                <a:gd name="T36" fmla="*/ 587 w 684"/>
                <a:gd name="T37" fmla="*/ 622 h 977"/>
                <a:gd name="T38" fmla="*/ 587 w 684"/>
                <a:gd name="T39" fmla="*/ 625 h 9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84" h="977">
                  <a:moveTo>
                    <a:pt x="633" y="0"/>
                  </a:moveTo>
                  <a:cubicBezTo>
                    <a:pt x="604" y="0"/>
                    <a:pt x="583" y="22"/>
                    <a:pt x="583" y="51"/>
                  </a:cubicBezTo>
                  <a:cubicBezTo>
                    <a:pt x="583" y="415"/>
                    <a:pt x="583" y="415"/>
                    <a:pt x="583" y="415"/>
                  </a:cubicBezTo>
                  <a:cubicBezTo>
                    <a:pt x="531" y="339"/>
                    <a:pt x="450" y="271"/>
                    <a:pt x="324" y="271"/>
                  </a:cubicBezTo>
                  <a:cubicBezTo>
                    <a:pt x="161" y="271"/>
                    <a:pt x="0" y="402"/>
                    <a:pt x="0" y="623"/>
                  </a:cubicBezTo>
                  <a:cubicBezTo>
                    <a:pt x="0" y="626"/>
                    <a:pt x="0" y="626"/>
                    <a:pt x="0" y="626"/>
                  </a:cubicBezTo>
                  <a:cubicBezTo>
                    <a:pt x="0" y="849"/>
                    <a:pt x="161" y="977"/>
                    <a:pt x="324" y="977"/>
                  </a:cubicBezTo>
                  <a:cubicBezTo>
                    <a:pt x="448" y="977"/>
                    <a:pt x="528" y="908"/>
                    <a:pt x="583" y="826"/>
                  </a:cubicBezTo>
                  <a:cubicBezTo>
                    <a:pt x="583" y="918"/>
                    <a:pt x="583" y="918"/>
                    <a:pt x="583" y="918"/>
                  </a:cubicBezTo>
                  <a:cubicBezTo>
                    <a:pt x="583" y="947"/>
                    <a:pt x="605" y="969"/>
                    <a:pt x="634" y="969"/>
                  </a:cubicBezTo>
                  <a:cubicBezTo>
                    <a:pt x="662" y="969"/>
                    <a:pt x="684" y="947"/>
                    <a:pt x="684" y="918"/>
                  </a:cubicBezTo>
                  <a:cubicBezTo>
                    <a:pt x="684" y="51"/>
                    <a:pt x="684" y="51"/>
                    <a:pt x="684" y="51"/>
                  </a:cubicBezTo>
                  <a:cubicBezTo>
                    <a:pt x="684" y="22"/>
                    <a:pt x="662" y="0"/>
                    <a:pt x="633" y="0"/>
                  </a:cubicBezTo>
                  <a:moveTo>
                    <a:pt x="587" y="625"/>
                  </a:moveTo>
                  <a:cubicBezTo>
                    <a:pt x="587" y="780"/>
                    <a:pt x="468" y="887"/>
                    <a:pt x="342" y="887"/>
                  </a:cubicBezTo>
                  <a:cubicBezTo>
                    <a:pt x="215" y="887"/>
                    <a:pt x="104" y="784"/>
                    <a:pt x="104" y="625"/>
                  </a:cubicBezTo>
                  <a:cubicBezTo>
                    <a:pt x="104" y="622"/>
                    <a:pt x="104" y="622"/>
                    <a:pt x="104" y="622"/>
                  </a:cubicBezTo>
                  <a:cubicBezTo>
                    <a:pt x="104" y="458"/>
                    <a:pt x="211" y="361"/>
                    <a:pt x="342" y="361"/>
                  </a:cubicBezTo>
                  <a:cubicBezTo>
                    <a:pt x="468" y="361"/>
                    <a:pt x="587" y="466"/>
                    <a:pt x="587" y="622"/>
                  </a:cubicBezTo>
                  <a:lnTo>
                    <a:pt x="587" y="6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33" name="Freeform 10"/>
            <p:cNvSpPr>
              <a:spLocks/>
            </p:cNvSpPr>
            <p:nvPr/>
          </p:nvSpPr>
          <p:spPr bwMode="auto">
            <a:xfrm>
              <a:off x="-16" y="5101"/>
              <a:ext cx="1087" cy="447"/>
            </a:xfrm>
            <a:custGeom>
              <a:avLst/>
              <a:gdLst>
                <a:gd name="T0" fmla="*/ 1524 w 1764"/>
                <a:gd name="T1" fmla="*/ 13 h 724"/>
                <a:gd name="T2" fmla="*/ 1311 w 1764"/>
                <a:gd name="T3" fmla="*/ 104 h 724"/>
                <a:gd name="T4" fmla="*/ 1106 w 1764"/>
                <a:gd name="T5" fmla="*/ 13 h 724"/>
                <a:gd name="T6" fmla="*/ 904 w 1764"/>
                <a:gd name="T7" fmla="*/ 104 h 724"/>
                <a:gd name="T8" fmla="*/ 725 w 1764"/>
                <a:gd name="T9" fmla="*/ 13 h 724"/>
                <a:gd name="T10" fmla="*/ 508 w 1764"/>
                <a:gd name="T11" fmla="*/ 161 h 724"/>
                <a:gd name="T12" fmla="*/ 372 w 1764"/>
                <a:gd name="T13" fmla="*/ 482 h 724"/>
                <a:gd name="T14" fmla="*/ 197 w 1764"/>
                <a:gd name="T15" fmla="*/ 70 h 724"/>
                <a:gd name="T16" fmla="*/ 70 w 1764"/>
                <a:gd name="T17" fmla="*/ 22 h 724"/>
                <a:gd name="T18" fmla="*/ 23 w 1764"/>
                <a:gd name="T19" fmla="*/ 150 h 724"/>
                <a:gd name="T20" fmla="*/ 236 w 1764"/>
                <a:gd name="T21" fmla="*/ 613 h 724"/>
                <a:gd name="T22" fmla="*/ 372 w 1764"/>
                <a:gd name="T23" fmla="*/ 724 h 724"/>
                <a:gd name="T24" fmla="*/ 507 w 1764"/>
                <a:gd name="T25" fmla="*/ 613 h 724"/>
                <a:gd name="T26" fmla="*/ 695 w 1764"/>
                <a:gd name="T27" fmla="*/ 204 h 724"/>
                <a:gd name="T28" fmla="*/ 722 w 1764"/>
                <a:gd name="T29" fmla="*/ 187 h 724"/>
                <a:gd name="T30" fmla="*/ 751 w 1764"/>
                <a:gd name="T31" fmla="*/ 217 h 724"/>
                <a:gd name="T32" fmla="*/ 751 w 1764"/>
                <a:gd name="T33" fmla="*/ 613 h 724"/>
                <a:gd name="T34" fmla="*/ 850 w 1764"/>
                <a:gd name="T35" fmla="*/ 724 h 724"/>
                <a:gd name="T36" fmla="*/ 951 w 1764"/>
                <a:gd name="T37" fmla="*/ 613 h 724"/>
                <a:gd name="T38" fmla="*/ 951 w 1764"/>
                <a:gd name="T39" fmla="*/ 289 h 724"/>
                <a:gd name="T40" fmla="*/ 1056 w 1764"/>
                <a:gd name="T41" fmla="*/ 186 h 724"/>
                <a:gd name="T42" fmla="*/ 1158 w 1764"/>
                <a:gd name="T43" fmla="*/ 289 h 724"/>
                <a:gd name="T44" fmla="*/ 1158 w 1764"/>
                <a:gd name="T45" fmla="*/ 613 h 724"/>
                <a:gd name="T46" fmla="*/ 1257 w 1764"/>
                <a:gd name="T47" fmla="*/ 724 h 724"/>
                <a:gd name="T48" fmla="*/ 1358 w 1764"/>
                <a:gd name="T49" fmla="*/ 613 h 724"/>
                <a:gd name="T50" fmla="*/ 1358 w 1764"/>
                <a:gd name="T51" fmla="*/ 289 h 724"/>
                <a:gd name="T52" fmla="*/ 1463 w 1764"/>
                <a:gd name="T53" fmla="*/ 186 h 724"/>
                <a:gd name="T54" fmla="*/ 1565 w 1764"/>
                <a:gd name="T55" fmla="*/ 289 h 724"/>
                <a:gd name="T56" fmla="*/ 1565 w 1764"/>
                <a:gd name="T57" fmla="*/ 613 h 724"/>
                <a:gd name="T58" fmla="*/ 1664 w 1764"/>
                <a:gd name="T59" fmla="*/ 724 h 724"/>
                <a:gd name="T60" fmla="*/ 1764 w 1764"/>
                <a:gd name="T61" fmla="*/ 613 h 724"/>
                <a:gd name="T62" fmla="*/ 1764 w 1764"/>
                <a:gd name="T63" fmla="*/ 244 h 724"/>
                <a:gd name="T64" fmla="*/ 1524 w 1764"/>
                <a:gd name="T65" fmla="*/ 13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64" h="724">
                  <a:moveTo>
                    <a:pt x="1524" y="13"/>
                  </a:moveTo>
                  <a:cubicBezTo>
                    <a:pt x="1393" y="13"/>
                    <a:pt x="1311" y="104"/>
                    <a:pt x="1311" y="104"/>
                  </a:cubicBezTo>
                  <a:cubicBezTo>
                    <a:pt x="1267" y="47"/>
                    <a:pt x="1207" y="13"/>
                    <a:pt x="1106" y="13"/>
                  </a:cubicBezTo>
                  <a:cubicBezTo>
                    <a:pt x="998" y="13"/>
                    <a:pt x="904" y="104"/>
                    <a:pt x="904" y="104"/>
                  </a:cubicBezTo>
                  <a:cubicBezTo>
                    <a:pt x="861" y="47"/>
                    <a:pt x="786" y="13"/>
                    <a:pt x="725" y="13"/>
                  </a:cubicBezTo>
                  <a:cubicBezTo>
                    <a:pt x="630" y="13"/>
                    <a:pt x="554" y="55"/>
                    <a:pt x="508" y="161"/>
                  </a:cubicBezTo>
                  <a:cubicBezTo>
                    <a:pt x="372" y="482"/>
                    <a:pt x="372" y="482"/>
                    <a:pt x="372" y="482"/>
                  </a:cubicBezTo>
                  <a:cubicBezTo>
                    <a:pt x="197" y="70"/>
                    <a:pt x="197" y="70"/>
                    <a:pt x="197" y="70"/>
                  </a:cubicBezTo>
                  <a:cubicBezTo>
                    <a:pt x="175" y="22"/>
                    <a:pt x="121" y="0"/>
                    <a:pt x="70" y="22"/>
                  </a:cubicBezTo>
                  <a:cubicBezTo>
                    <a:pt x="19" y="45"/>
                    <a:pt x="0" y="101"/>
                    <a:pt x="23" y="150"/>
                  </a:cubicBezTo>
                  <a:cubicBezTo>
                    <a:pt x="236" y="613"/>
                    <a:pt x="236" y="613"/>
                    <a:pt x="236" y="613"/>
                  </a:cubicBezTo>
                  <a:cubicBezTo>
                    <a:pt x="270" y="686"/>
                    <a:pt x="305" y="724"/>
                    <a:pt x="372" y="724"/>
                  </a:cubicBezTo>
                  <a:cubicBezTo>
                    <a:pt x="443" y="724"/>
                    <a:pt x="474" y="683"/>
                    <a:pt x="507" y="613"/>
                  </a:cubicBezTo>
                  <a:cubicBezTo>
                    <a:pt x="507" y="613"/>
                    <a:pt x="693" y="208"/>
                    <a:pt x="695" y="204"/>
                  </a:cubicBezTo>
                  <a:cubicBezTo>
                    <a:pt x="697" y="200"/>
                    <a:pt x="703" y="186"/>
                    <a:pt x="722" y="187"/>
                  </a:cubicBezTo>
                  <a:cubicBezTo>
                    <a:pt x="738" y="187"/>
                    <a:pt x="751" y="199"/>
                    <a:pt x="751" y="217"/>
                  </a:cubicBezTo>
                  <a:cubicBezTo>
                    <a:pt x="751" y="613"/>
                    <a:pt x="751" y="613"/>
                    <a:pt x="751" y="613"/>
                  </a:cubicBezTo>
                  <a:cubicBezTo>
                    <a:pt x="751" y="674"/>
                    <a:pt x="785" y="724"/>
                    <a:pt x="850" y="724"/>
                  </a:cubicBezTo>
                  <a:cubicBezTo>
                    <a:pt x="915" y="724"/>
                    <a:pt x="951" y="674"/>
                    <a:pt x="951" y="613"/>
                  </a:cubicBezTo>
                  <a:cubicBezTo>
                    <a:pt x="951" y="289"/>
                    <a:pt x="951" y="289"/>
                    <a:pt x="951" y="289"/>
                  </a:cubicBezTo>
                  <a:cubicBezTo>
                    <a:pt x="951" y="226"/>
                    <a:pt x="995" y="186"/>
                    <a:pt x="1056" y="186"/>
                  </a:cubicBezTo>
                  <a:cubicBezTo>
                    <a:pt x="1118" y="186"/>
                    <a:pt x="1158" y="228"/>
                    <a:pt x="1158" y="289"/>
                  </a:cubicBezTo>
                  <a:cubicBezTo>
                    <a:pt x="1158" y="613"/>
                    <a:pt x="1158" y="613"/>
                    <a:pt x="1158" y="613"/>
                  </a:cubicBezTo>
                  <a:cubicBezTo>
                    <a:pt x="1158" y="674"/>
                    <a:pt x="1192" y="724"/>
                    <a:pt x="1257" y="724"/>
                  </a:cubicBezTo>
                  <a:cubicBezTo>
                    <a:pt x="1322" y="724"/>
                    <a:pt x="1358" y="674"/>
                    <a:pt x="1358" y="613"/>
                  </a:cubicBezTo>
                  <a:cubicBezTo>
                    <a:pt x="1358" y="289"/>
                    <a:pt x="1358" y="289"/>
                    <a:pt x="1358" y="289"/>
                  </a:cubicBezTo>
                  <a:cubicBezTo>
                    <a:pt x="1358" y="226"/>
                    <a:pt x="1402" y="186"/>
                    <a:pt x="1463" y="186"/>
                  </a:cubicBezTo>
                  <a:cubicBezTo>
                    <a:pt x="1524" y="186"/>
                    <a:pt x="1565" y="228"/>
                    <a:pt x="1565" y="289"/>
                  </a:cubicBezTo>
                  <a:cubicBezTo>
                    <a:pt x="1565" y="613"/>
                    <a:pt x="1565" y="613"/>
                    <a:pt x="1565" y="613"/>
                  </a:cubicBezTo>
                  <a:cubicBezTo>
                    <a:pt x="1565" y="674"/>
                    <a:pt x="1599" y="724"/>
                    <a:pt x="1664" y="724"/>
                  </a:cubicBezTo>
                  <a:cubicBezTo>
                    <a:pt x="1729" y="724"/>
                    <a:pt x="1764" y="674"/>
                    <a:pt x="1764" y="613"/>
                  </a:cubicBezTo>
                  <a:cubicBezTo>
                    <a:pt x="1764" y="244"/>
                    <a:pt x="1764" y="244"/>
                    <a:pt x="1764" y="244"/>
                  </a:cubicBezTo>
                  <a:cubicBezTo>
                    <a:pt x="1764" y="108"/>
                    <a:pt x="1655" y="13"/>
                    <a:pt x="1524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34" name="Freeform 11"/>
            <p:cNvSpPr>
              <a:spLocks noEditPoints="1"/>
            </p:cNvSpPr>
            <p:nvPr/>
          </p:nvSpPr>
          <p:spPr bwMode="auto">
            <a:xfrm>
              <a:off x="3104" y="4944"/>
              <a:ext cx="103" cy="103"/>
            </a:xfrm>
            <a:custGeom>
              <a:avLst/>
              <a:gdLst>
                <a:gd name="T0" fmla="*/ 0 w 167"/>
                <a:gd name="T1" fmla="*/ 84 h 167"/>
                <a:gd name="T2" fmla="*/ 0 w 167"/>
                <a:gd name="T3" fmla="*/ 83 h 167"/>
                <a:gd name="T4" fmla="*/ 84 w 167"/>
                <a:gd name="T5" fmla="*/ 0 h 167"/>
                <a:gd name="T6" fmla="*/ 167 w 167"/>
                <a:gd name="T7" fmla="*/ 83 h 167"/>
                <a:gd name="T8" fmla="*/ 167 w 167"/>
                <a:gd name="T9" fmla="*/ 83 h 167"/>
                <a:gd name="T10" fmla="*/ 84 w 167"/>
                <a:gd name="T11" fmla="*/ 167 h 167"/>
                <a:gd name="T12" fmla="*/ 0 w 167"/>
                <a:gd name="T13" fmla="*/ 84 h 167"/>
                <a:gd name="T14" fmla="*/ 151 w 167"/>
                <a:gd name="T15" fmla="*/ 83 h 167"/>
                <a:gd name="T16" fmla="*/ 151 w 167"/>
                <a:gd name="T17" fmla="*/ 83 h 167"/>
                <a:gd name="T18" fmla="*/ 84 w 167"/>
                <a:gd name="T19" fmla="*/ 15 h 167"/>
                <a:gd name="T20" fmla="*/ 16 w 167"/>
                <a:gd name="T21" fmla="*/ 83 h 167"/>
                <a:gd name="T22" fmla="*/ 16 w 167"/>
                <a:gd name="T23" fmla="*/ 84 h 167"/>
                <a:gd name="T24" fmla="*/ 84 w 167"/>
                <a:gd name="T25" fmla="*/ 152 h 167"/>
                <a:gd name="T26" fmla="*/ 151 w 167"/>
                <a:gd name="T27" fmla="*/ 83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7" h="167">
                  <a:moveTo>
                    <a:pt x="0" y="84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0" y="38"/>
                    <a:pt x="37" y="0"/>
                    <a:pt x="84" y="0"/>
                  </a:cubicBezTo>
                  <a:cubicBezTo>
                    <a:pt x="131" y="0"/>
                    <a:pt x="167" y="38"/>
                    <a:pt x="167" y="83"/>
                  </a:cubicBezTo>
                  <a:cubicBezTo>
                    <a:pt x="167" y="83"/>
                    <a:pt x="167" y="83"/>
                    <a:pt x="167" y="83"/>
                  </a:cubicBezTo>
                  <a:cubicBezTo>
                    <a:pt x="167" y="129"/>
                    <a:pt x="130" y="167"/>
                    <a:pt x="84" y="167"/>
                  </a:cubicBezTo>
                  <a:cubicBezTo>
                    <a:pt x="36" y="167"/>
                    <a:pt x="0" y="130"/>
                    <a:pt x="0" y="84"/>
                  </a:cubicBezTo>
                  <a:moveTo>
                    <a:pt x="151" y="83"/>
                  </a:moveTo>
                  <a:cubicBezTo>
                    <a:pt x="151" y="83"/>
                    <a:pt x="151" y="83"/>
                    <a:pt x="151" y="83"/>
                  </a:cubicBezTo>
                  <a:cubicBezTo>
                    <a:pt x="151" y="46"/>
                    <a:pt x="122" y="15"/>
                    <a:pt x="84" y="15"/>
                  </a:cubicBezTo>
                  <a:cubicBezTo>
                    <a:pt x="45" y="15"/>
                    <a:pt x="16" y="46"/>
                    <a:pt x="16" y="83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6" y="121"/>
                    <a:pt x="45" y="152"/>
                    <a:pt x="84" y="152"/>
                  </a:cubicBezTo>
                  <a:cubicBezTo>
                    <a:pt x="122" y="152"/>
                    <a:pt x="151" y="121"/>
                    <a:pt x="151" y="8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35" name="Freeform 12"/>
            <p:cNvSpPr>
              <a:spLocks noEditPoints="1"/>
            </p:cNvSpPr>
            <p:nvPr/>
          </p:nvSpPr>
          <p:spPr bwMode="auto">
            <a:xfrm>
              <a:off x="3136" y="4970"/>
              <a:ext cx="42" cy="50"/>
            </a:xfrm>
            <a:custGeom>
              <a:avLst/>
              <a:gdLst>
                <a:gd name="T0" fmla="*/ 0 w 67"/>
                <a:gd name="T1" fmla="*/ 9 h 81"/>
                <a:gd name="T2" fmla="*/ 9 w 67"/>
                <a:gd name="T3" fmla="*/ 0 h 81"/>
                <a:gd name="T4" fmla="*/ 36 w 67"/>
                <a:gd name="T5" fmla="*/ 0 h 81"/>
                <a:gd name="T6" fmla="*/ 60 w 67"/>
                <a:gd name="T7" fmla="*/ 8 h 81"/>
                <a:gd name="T8" fmla="*/ 67 w 67"/>
                <a:gd name="T9" fmla="*/ 26 h 81"/>
                <a:gd name="T10" fmla="*/ 67 w 67"/>
                <a:gd name="T11" fmla="*/ 27 h 81"/>
                <a:gd name="T12" fmla="*/ 51 w 67"/>
                <a:gd name="T13" fmla="*/ 51 h 81"/>
                <a:gd name="T14" fmla="*/ 63 w 67"/>
                <a:gd name="T15" fmla="*/ 66 h 81"/>
                <a:gd name="T16" fmla="*/ 66 w 67"/>
                <a:gd name="T17" fmla="*/ 73 h 81"/>
                <a:gd name="T18" fmla="*/ 58 w 67"/>
                <a:gd name="T19" fmla="*/ 81 h 81"/>
                <a:gd name="T20" fmla="*/ 49 w 67"/>
                <a:gd name="T21" fmla="*/ 76 h 81"/>
                <a:gd name="T22" fmla="*/ 32 w 67"/>
                <a:gd name="T23" fmla="*/ 55 h 81"/>
                <a:gd name="T24" fmla="*/ 17 w 67"/>
                <a:gd name="T25" fmla="*/ 55 h 81"/>
                <a:gd name="T26" fmla="*/ 17 w 67"/>
                <a:gd name="T27" fmla="*/ 72 h 81"/>
                <a:gd name="T28" fmla="*/ 9 w 67"/>
                <a:gd name="T29" fmla="*/ 81 h 81"/>
                <a:gd name="T30" fmla="*/ 0 w 67"/>
                <a:gd name="T31" fmla="*/ 72 h 81"/>
                <a:gd name="T32" fmla="*/ 0 w 67"/>
                <a:gd name="T33" fmla="*/ 9 h 81"/>
                <a:gd name="T34" fmla="*/ 35 w 67"/>
                <a:gd name="T35" fmla="*/ 39 h 81"/>
                <a:gd name="T36" fmla="*/ 49 w 67"/>
                <a:gd name="T37" fmla="*/ 27 h 81"/>
                <a:gd name="T38" fmla="*/ 49 w 67"/>
                <a:gd name="T39" fmla="*/ 27 h 81"/>
                <a:gd name="T40" fmla="*/ 35 w 67"/>
                <a:gd name="T41" fmla="*/ 16 h 81"/>
                <a:gd name="T42" fmla="*/ 17 w 67"/>
                <a:gd name="T43" fmla="*/ 16 h 81"/>
                <a:gd name="T44" fmla="*/ 17 w 67"/>
                <a:gd name="T45" fmla="*/ 39 h 81"/>
                <a:gd name="T46" fmla="*/ 35 w 67"/>
                <a:gd name="T47" fmla="*/ 39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7" h="81">
                  <a:moveTo>
                    <a:pt x="0" y="9"/>
                  </a:moveTo>
                  <a:cubicBezTo>
                    <a:pt x="0" y="4"/>
                    <a:pt x="4" y="0"/>
                    <a:pt x="9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47" y="0"/>
                    <a:pt x="55" y="3"/>
                    <a:pt x="60" y="8"/>
                  </a:cubicBezTo>
                  <a:cubicBezTo>
                    <a:pt x="65" y="12"/>
                    <a:pt x="67" y="19"/>
                    <a:pt x="67" y="26"/>
                  </a:cubicBezTo>
                  <a:cubicBezTo>
                    <a:pt x="67" y="27"/>
                    <a:pt x="67" y="27"/>
                    <a:pt x="67" y="27"/>
                  </a:cubicBezTo>
                  <a:cubicBezTo>
                    <a:pt x="67" y="39"/>
                    <a:pt x="61" y="47"/>
                    <a:pt x="51" y="51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5" y="68"/>
                    <a:pt x="66" y="70"/>
                    <a:pt x="66" y="73"/>
                  </a:cubicBezTo>
                  <a:cubicBezTo>
                    <a:pt x="66" y="78"/>
                    <a:pt x="62" y="81"/>
                    <a:pt x="58" y="81"/>
                  </a:cubicBezTo>
                  <a:cubicBezTo>
                    <a:pt x="54" y="81"/>
                    <a:pt x="51" y="79"/>
                    <a:pt x="49" y="76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17" y="55"/>
                    <a:pt x="17" y="55"/>
                    <a:pt x="17" y="55"/>
                  </a:cubicBezTo>
                  <a:cubicBezTo>
                    <a:pt x="17" y="72"/>
                    <a:pt x="17" y="72"/>
                    <a:pt x="17" y="72"/>
                  </a:cubicBezTo>
                  <a:cubicBezTo>
                    <a:pt x="17" y="77"/>
                    <a:pt x="14" y="81"/>
                    <a:pt x="9" y="81"/>
                  </a:cubicBezTo>
                  <a:cubicBezTo>
                    <a:pt x="4" y="81"/>
                    <a:pt x="0" y="77"/>
                    <a:pt x="0" y="72"/>
                  </a:cubicBezTo>
                  <a:lnTo>
                    <a:pt x="0" y="9"/>
                  </a:lnTo>
                  <a:close/>
                  <a:moveTo>
                    <a:pt x="35" y="39"/>
                  </a:moveTo>
                  <a:cubicBezTo>
                    <a:pt x="44" y="39"/>
                    <a:pt x="49" y="34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0"/>
                    <a:pt x="44" y="16"/>
                    <a:pt x="35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39"/>
                    <a:pt x="17" y="39"/>
                    <a:pt x="17" y="39"/>
                  </a:cubicBezTo>
                  <a:lnTo>
                    <a:pt x="35" y="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371600"/>
            <a:ext cx="5242561" cy="4648200"/>
          </a:xfrm>
        </p:spPr>
        <p:txBody>
          <a:bodyPr/>
          <a:lstStyle>
            <a:lvl1pPr>
              <a:defRPr sz="1996"/>
            </a:lvl1pPr>
            <a:lvl2pPr>
              <a:defRPr sz="1796"/>
            </a:lvl2pPr>
            <a:lvl3pPr>
              <a:defRPr sz="1596"/>
            </a:lvl3pPr>
            <a:lvl4pPr>
              <a:defRPr sz="1397"/>
            </a:lvl4pPr>
            <a:lvl5pPr>
              <a:defRPr sz="1397"/>
            </a:lvl5pPr>
            <a:lvl6pPr>
              <a:defRPr sz="1397"/>
            </a:lvl6pPr>
            <a:lvl7pPr>
              <a:defRPr sz="1397"/>
            </a:lvl7pPr>
            <a:lvl8pPr>
              <a:defRPr sz="1397"/>
            </a:lvl8pPr>
            <a:lvl9pPr>
              <a:defRPr sz="139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39841" y="1371600"/>
            <a:ext cx="5242561" cy="4648200"/>
          </a:xfrm>
        </p:spPr>
        <p:txBody>
          <a:bodyPr/>
          <a:lstStyle>
            <a:lvl1pPr>
              <a:defRPr sz="1996"/>
            </a:lvl1pPr>
            <a:lvl2pPr>
              <a:defRPr sz="1796"/>
            </a:lvl2pPr>
            <a:lvl3pPr>
              <a:defRPr sz="1596"/>
            </a:lvl3pPr>
            <a:lvl4pPr>
              <a:defRPr sz="1397"/>
            </a:lvl4pPr>
            <a:lvl5pPr>
              <a:defRPr sz="1397"/>
            </a:lvl5pPr>
            <a:lvl6pPr>
              <a:defRPr sz="1397"/>
            </a:lvl6pPr>
            <a:lvl7pPr>
              <a:defRPr sz="1397"/>
            </a:lvl7pPr>
            <a:lvl8pPr>
              <a:defRPr sz="1397"/>
            </a:lvl8pPr>
            <a:lvl9pPr>
              <a:defRPr sz="139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1074401" y="6883401"/>
            <a:ext cx="1117600" cy="133350"/>
          </a:xfrm>
          <a:prstGeom prst="rect">
            <a:avLst/>
          </a:prstGeom>
        </p:spPr>
        <p:txBody>
          <a:bodyPr/>
          <a:lstStyle/>
          <a:p>
            <a:pPr defTabSz="912388"/>
            <a:endParaRPr lang="en-US">
              <a:solidFill>
                <a:srgbClr val="717074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717074">
                    <a:tint val="75000"/>
                  </a:srgbClr>
                </a:solidFill>
              </a:rPr>
              <a:t>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371600"/>
            <a:ext cx="5242561" cy="639762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996" b="1">
                <a:solidFill>
                  <a:schemeClr val="tx1"/>
                </a:solidFill>
              </a:defRPr>
            </a:lvl1pPr>
            <a:lvl2pPr marL="456194" indent="0">
              <a:buNone/>
              <a:defRPr sz="1996" b="1"/>
            </a:lvl2pPr>
            <a:lvl3pPr marL="912388" indent="0">
              <a:buNone/>
              <a:defRPr sz="1796" b="1"/>
            </a:lvl3pPr>
            <a:lvl4pPr marL="1368582" indent="0">
              <a:buNone/>
              <a:defRPr sz="1596" b="1"/>
            </a:lvl4pPr>
            <a:lvl5pPr marL="1824777" indent="0">
              <a:buNone/>
              <a:defRPr sz="1596" b="1"/>
            </a:lvl5pPr>
            <a:lvl6pPr marL="2280971" indent="0">
              <a:buNone/>
              <a:defRPr sz="1596" b="1"/>
            </a:lvl6pPr>
            <a:lvl7pPr marL="2737165" indent="0">
              <a:buNone/>
              <a:defRPr sz="1596" b="1"/>
            </a:lvl7pPr>
            <a:lvl8pPr marL="3193359" indent="0">
              <a:buNone/>
              <a:defRPr sz="1596" b="1"/>
            </a:lvl8pPr>
            <a:lvl9pPr marL="3649553" indent="0">
              <a:buNone/>
              <a:defRPr sz="1596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057400"/>
            <a:ext cx="5242561" cy="3962400"/>
          </a:xfrm>
        </p:spPr>
        <p:txBody>
          <a:bodyPr/>
          <a:lstStyle>
            <a:lvl1pPr>
              <a:defRPr sz="1996"/>
            </a:lvl1pPr>
            <a:lvl2pPr>
              <a:defRPr sz="1796"/>
            </a:lvl2pPr>
            <a:lvl3pPr>
              <a:defRPr sz="1596"/>
            </a:lvl3pPr>
            <a:lvl4pPr>
              <a:defRPr sz="1397"/>
            </a:lvl4pPr>
            <a:lvl5pPr>
              <a:defRPr sz="1397"/>
            </a:lvl5pPr>
            <a:lvl6pPr>
              <a:defRPr sz="1397"/>
            </a:lvl6pPr>
            <a:lvl7pPr>
              <a:defRPr sz="1397"/>
            </a:lvl7pPr>
            <a:lvl8pPr>
              <a:defRPr sz="1397"/>
            </a:lvl8pPr>
            <a:lvl9pPr>
              <a:defRPr sz="139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39841" y="1371600"/>
            <a:ext cx="5242561" cy="639762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996" b="1">
                <a:solidFill>
                  <a:schemeClr val="tx1"/>
                </a:solidFill>
              </a:defRPr>
            </a:lvl1pPr>
            <a:lvl2pPr marL="456194" indent="0">
              <a:buNone/>
              <a:defRPr sz="1996" b="1"/>
            </a:lvl2pPr>
            <a:lvl3pPr marL="912388" indent="0">
              <a:buNone/>
              <a:defRPr sz="1796" b="1"/>
            </a:lvl3pPr>
            <a:lvl4pPr marL="1368582" indent="0">
              <a:buNone/>
              <a:defRPr sz="1596" b="1"/>
            </a:lvl4pPr>
            <a:lvl5pPr marL="1824777" indent="0">
              <a:buNone/>
              <a:defRPr sz="1596" b="1"/>
            </a:lvl5pPr>
            <a:lvl6pPr marL="2280971" indent="0">
              <a:buNone/>
              <a:defRPr sz="1596" b="1"/>
            </a:lvl6pPr>
            <a:lvl7pPr marL="2737165" indent="0">
              <a:buNone/>
              <a:defRPr sz="1596" b="1"/>
            </a:lvl7pPr>
            <a:lvl8pPr marL="3193359" indent="0">
              <a:buNone/>
              <a:defRPr sz="1596" b="1"/>
            </a:lvl8pPr>
            <a:lvl9pPr marL="3649553" indent="0">
              <a:buNone/>
              <a:defRPr sz="1596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39841" y="2057400"/>
            <a:ext cx="5242561" cy="3962400"/>
          </a:xfrm>
        </p:spPr>
        <p:txBody>
          <a:bodyPr/>
          <a:lstStyle>
            <a:lvl1pPr>
              <a:defRPr sz="1996"/>
            </a:lvl1pPr>
            <a:lvl2pPr>
              <a:defRPr sz="1796"/>
            </a:lvl2pPr>
            <a:lvl3pPr>
              <a:defRPr sz="1596"/>
            </a:lvl3pPr>
            <a:lvl4pPr>
              <a:defRPr sz="1397"/>
            </a:lvl4pPr>
            <a:lvl5pPr>
              <a:defRPr sz="1397"/>
            </a:lvl5pPr>
            <a:lvl6pPr>
              <a:defRPr sz="1397"/>
            </a:lvl6pPr>
            <a:lvl7pPr>
              <a:defRPr sz="1397"/>
            </a:lvl7pPr>
            <a:lvl8pPr>
              <a:defRPr sz="1397"/>
            </a:lvl8pPr>
            <a:lvl9pPr>
              <a:defRPr sz="139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11074401" y="6883401"/>
            <a:ext cx="1117600" cy="133350"/>
          </a:xfrm>
          <a:prstGeom prst="rect">
            <a:avLst/>
          </a:prstGeom>
        </p:spPr>
        <p:txBody>
          <a:bodyPr/>
          <a:lstStyle/>
          <a:p>
            <a:pPr defTabSz="912388"/>
            <a:endParaRPr lang="en-US">
              <a:solidFill>
                <a:srgbClr val="717074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717074">
                    <a:tint val="75000"/>
                  </a:srgbClr>
                </a:solidFill>
              </a:rPr>
              <a:t>CONFIDENTIA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/>
        </p:nvGrpSpPr>
        <p:grpSpPr>
          <a:xfrm>
            <a:off x="618039" y="6446072"/>
            <a:ext cx="1100080" cy="173355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25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6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7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8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9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30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31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</p:grpSp>
      <p:sp>
        <p:nvSpPr>
          <p:cNvPr id="12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914412" y="2593231"/>
            <a:ext cx="4813303" cy="5334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Click to add Name, Title, Compan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843281" y="457200"/>
            <a:ext cx="4876800" cy="2011680"/>
          </a:xfrm>
        </p:spPr>
        <p:txBody>
          <a:bodyPr/>
          <a:lstStyle>
            <a:lvl1pPr marL="58738" indent="-55563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wipe dir="r"/>
      </p:transition>
    </mc:Choice>
    <mc:Fallback xmlns="">
      <p:transition xmlns:p14="http://schemas.microsoft.com/office/powerpoint/2010/main" spd="slow">
        <p:wipe dir="r"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1074401" y="6883401"/>
            <a:ext cx="1117600" cy="133350"/>
          </a:xfrm>
          <a:prstGeom prst="rect">
            <a:avLst/>
          </a:prstGeom>
        </p:spPr>
        <p:txBody>
          <a:bodyPr/>
          <a:lstStyle/>
          <a:p>
            <a:pPr defTabSz="912388"/>
            <a:endParaRPr lang="en-US">
              <a:solidFill>
                <a:srgbClr val="717074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717074">
                    <a:tint val="75000"/>
                  </a:srgbClr>
                </a:solidFill>
              </a:rPr>
              <a:t>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794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371601"/>
            <a:ext cx="7924799" cy="4648199"/>
          </a:xfrm>
        </p:spPr>
        <p:txBody>
          <a:bodyPr/>
          <a:lstStyle>
            <a:lvl1pPr>
              <a:defRPr sz="1996"/>
            </a:lvl1pPr>
            <a:lvl2pPr>
              <a:defRPr sz="1796"/>
            </a:lvl2pPr>
            <a:lvl3pPr>
              <a:defRPr sz="1596"/>
            </a:lvl3pPr>
            <a:lvl4pPr>
              <a:defRPr sz="1397"/>
            </a:lvl4pPr>
            <a:lvl5pPr>
              <a:defRPr sz="1397"/>
            </a:lvl5pPr>
            <a:lvl6pPr>
              <a:defRPr sz="1397"/>
            </a:lvl6pPr>
            <a:lvl7pPr>
              <a:defRPr sz="1397"/>
            </a:lvl7pPr>
            <a:lvl8pPr>
              <a:defRPr sz="1397"/>
            </a:lvl8pPr>
            <a:lvl9pPr>
              <a:defRPr sz="139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37601" y="1371601"/>
            <a:ext cx="2844800" cy="4648199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1796">
                <a:solidFill>
                  <a:schemeClr val="tx1"/>
                </a:solidFill>
              </a:defRPr>
            </a:lvl1pPr>
            <a:lvl2pPr marL="0" indent="0">
              <a:buNone/>
              <a:defRPr sz="1796">
                <a:solidFill>
                  <a:schemeClr val="accent4"/>
                </a:solidFill>
              </a:defRPr>
            </a:lvl2pPr>
            <a:lvl3pPr marL="0" indent="0">
              <a:buNone/>
              <a:defRPr sz="1796">
                <a:solidFill>
                  <a:schemeClr val="accent4"/>
                </a:solidFill>
              </a:defRPr>
            </a:lvl3pPr>
            <a:lvl4pPr marL="0" indent="0">
              <a:buNone/>
              <a:defRPr sz="1796">
                <a:solidFill>
                  <a:schemeClr val="accent4"/>
                </a:solidFill>
              </a:defRPr>
            </a:lvl4pPr>
            <a:lvl5pPr marL="0" indent="0">
              <a:buNone/>
              <a:defRPr sz="1796">
                <a:solidFill>
                  <a:schemeClr val="accent4"/>
                </a:solidFill>
              </a:defRPr>
            </a:lvl5pPr>
            <a:lvl6pPr marL="0" indent="0">
              <a:buNone/>
              <a:defRPr sz="1796">
                <a:solidFill>
                  <a:schemeClr val="accent4"/>
                </a:solidFill>
              </a:defRPr>
            </a:lvl6pPr>
            <a:lvl7pPr marL="0" indent="0">
              <a:buNone/>
              <a:defRPr sz="1796">
                <a:solidFill>
                  <a:schemeClr val="accent4"/>
                </a:solidFill>
              </a:defRPr>
            </a:lvl7pPr>
            <a:lvl8pPr marL="0" indent="0">
              <a:buNone/>
              <a:defRPr sz="1796">
                <a:solidFill>
                  <a:schemeClr val="accent4"/>
                </a:solidFill>
              </a:defRPr>
            </a:lvl8pPr>
            <a:lvl9pPr marL="0" indent="0">
              <a:buNone/>
              <a:defRPr sz="1796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1074401" y="6883401"/>
            <a:ext cx="1117600" cy="133350"/>
          </a:xfrm>
          <a:prstGeom prst="rect">
            <a:avLst/>
          </a:prstGeom>
        </p:spPr>
        <p:txBody>
          <a:bodyPr/>
          <a:lstStyle/>
          <a:p>
            <a:pPr defTabSz="912388"/>
            <a:endParaRPr lang="en-US">
              <a:solidFill>
                <a:srgbClr val="717074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717074">
                    <a:tint val="75000"/>
                  </a:srgbClr>
                </a:solidFill>
              </a:rPr>
              <a:t>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794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1371600"/>
            <a:ext cx="12192000" cy="3429000"/>
          </a:xfrm>
        </p:spPr>
        <p:txBody>
          <a:bodyPr tIns="365760"/>
          <a:lstStyle>
            <a:lvl1pPr marL="0" indent="0" algn="ctr">
              <a:buNone/>
              <a:defRPr sz="1996"/>
            </a:lvl1pPr>
            <a:lvl2pPr marL="456194" indent="0">
              <a:buNone/>
              <a:defRPr sz="2794"/>
            </a:lvl2pPr>
            <a:lvl3pPr marL="912388" indent="0">
              <a:buNone/>
              <a:defRPr sz="2395"/>
            </a:lvl3pPr>
            <a:lvl4pPr marL="1368582" indent="0">
              <a:buNone/>
              <a:defRPr sz="1996"/>
            </a:lvl4pPr>
            <a:lvl5pPr marL="1824777" indent="0">
              <a:buNone/>
              <a:defRPr sz="1996"/>
            </a:lvl5pPr>
            <a:lvl6pPr marL="2280971" indent="0">
              <a:buNone/>
              <a:defRPr sz="1996"/>
            </a:lvl6pPr>
            <a:lvl7pPr marL="2737165" indent="0">
              <a:buNone/>
              <a:defRPr sz="1996"/>
            </a:lvl7pPr>
            <a:lvl8pPr marL="3193359" indent="0">
              <a:buNone/>
              <a:defRPr sz="1996"/>
            </a:lvl8pPr>
            <a:lvl9pPr marL="3649553" indent="0">
              <a:buNone/>
              <a:defRPr sz="1996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4953000"/>
            <a:ext cx="10972801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796">
                <a:solidFill>
                  <a:schemeClr val="tx1"/>
                </a:solidFill>
              </a:defRPr>
            </a:lvl1pPr>
            <a:lvl2pPr marL="0" indent="0">
              <a:buNone/>
              <a:defRPr sz="1796">
                <a:solidFill>
                  <a:schemeClr val="accent4"/>
                </a:solidFill>
              </a:defRPr>
            </a:lvl2pPr>
            <a:lvl3pPr marL="0" indent="0">
              <a:buNone/>
              <a:defRPr sz="1796">
                <a:solidFill>
                  <a:schemeClr val="accent4"/>
                </a:solidFill>
              </a:defRPr>
            </a:lvl3pPr>
            <a:lvl4pPr marL="0" indent="0">
              <a:buNone/>
              <a:defRPr sz="1796">
                <a:solidFill>
                  <a:schemeClr val="accent4"/>
                </a:solidFill>
              </a:defRPr>
            </a:lvl4pPr>
            <a:lvl5pPr marL="0" indent="0">
              <a:buNone/>
              <a:defRPr sz="1796">
                <a:solidFill>
                  <a:schemeClr val="accent4"/>
                </a:solidFill>
              </a:defRPr>
            </a:lvl5pPr>
            <a:lvl6pPr marL="0" indent="0">
              <a:buNone/>
              <a:defRPr sz="1796">
                <a:solidFill>
                  <a:schemeClr val="accent4"/>
                </a:solidFill>
              </a:defRPr>
            </a:lvl6pPr>
            <a:lvl7pPr marL="0" indent="0">
              <a:buNone/>
              <a:defRPr sz="1796">
                <a:solidFill>
                  <a:schemeClr val="accent4"/>
                </a:solidFill>
              </a:defRPr>
            </a:lvl7pPr>
            <a:lvl8pPr marL="0" indent="0">
              <a:buNone/>
              <a:defRPr sz="1796">
                <a:solidFill>
                  <a:schemeClr val="accent4"/>
                </a:solidFill>
              </a:defRPr>
            </a:lvl8pPr>
            <a:lvl9pPr marL="0" indent="0">
              <a:buNone/>
              <a:defRPr sz="1796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1074401" y="6883401"/>
            <a:ext cx="1117600" cy="133350"/>
          </a:xfrm>
          <a:prstGeom prst="rect">
            <a:avLst/>
          </a:prstGeom>
        </p:spPr>
        <p:txBody>
          <a:bodyPr/>
          <a:lstStyle/>
          <a:p>
            <a:pPr defTabSz="912388"/>
            <a:endParaRPr lang="en-US">
              <a:solidFill>
                <a:srgbClr val="717074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717074">
                    <a:tint val="75000"/>
                  </a:srgbClr>
                </a:solidFill>
              </a:rPr>
              <a:t>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794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1371600"/>
            <a:ext cx="6006497" cy="3429000"/>
          </a:xfrm>
        </p:spPr>
        <p:txBody>
          <a:bodyPr tIns="365760"/>
          <a:lstStyle>
            <a:lvl1pPr marL="0" indent="0" algn="ctr">
              <a:buNone/>
              <a:defRPr sz="1996"/>
            </a:lvl1pPr>
            <a:lvl2pPr marL="456194" indent="0">
              <a:buNone/>
              <a:defRPr sz="2794"/>
            </a:lvl2pPr>
            <a:lvl3pPr marL="912388" indent="0">
              <a:buNone/>
              <a:defRPr sz="2395"/>
            </a:lvl3pPr>
            <a:lvl4pPr marL="1368582" indent="0">
              <a:buNone/>
              <a:defRPr sz="1996"/>
            </a:lvl4pPr>
            <a:lvl5pPr marL="1824777" indent="0">
              <a:buNone/>
              <a:defRPr sz="1996"/>
            </a:lvl5pPr>
            <a:lvl6pPr marL="2280971" indent="0">
              <a:buNone/>
              <a:defRPr sz="1996"/>
            </a:lvl6pPr>
            <a:lvl7pPr marL="2737165" indent="0">
              <a:buNone/>
              <a:defRPr sz="1996"/>
            </a:lvl7pPr>
            <a:lvl8pPr marL="3193359" indent="0">
              <a:buNone/>
              <a:defRPr sz="1996"/>
            </a:lvl8pPr>
            <a:lvl9pPr marL="3649553" indent="0">
              <a:buNone/>
              <a:defRPr sz="1996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5648" y="4953000"/>
            <a:ext cx="4775199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796">
                <a:solidFill>
                  <a:schemeClr val="tx1"/>
                </a:solidFill>
              </a:defRPr>
            </a:lvl1pPr>
            <a:lvl2pPr marL="0" indent="0">
              <a:buNone/>
              <a:defRPr sz="1796">
                <a:solidFill>
                  <a:schemeClr val="accent4"/>
                </a:solidFill>
              </a:defRPr>
            </a:lvl2pPr>
            <a:lvl3pPr marL="0" indent="0">
              <a:buNone/>
              <a:defRPr sz="1796">
                <a:solidFill>
                  <a:schemeClr val="accent4"/>
                </a:solidFill>
              </a:defRPr>
            </a:lvl3pPr>
            <a:lvl4pPr marL="0" indent="0">
              <a:buNone/>
              <a:defRPr sz="1796">
                <a:solidFill>
                  <a:schemeClr val="accent4"/>
                </a:solidFill>
              </a:defRPr>
            </a:lvl4pPr>
            <a:lvl5pPr marL="0" indent="0">
              <a:buNone/>
              <a:defRPr sz="1796">
                <a:solidFill>
                  <a:schemeClr val="accent4"/>
                </a:solidFill>
              </a:defRPr>
            </a:lvl5pPr>
            <a:lvl6pPr marL="0" indent="0">
              <a:buNone/>
              <a:defRPr sz="1796">
                <a:solidFill>
                  <a:schemeClr val="accent4"/>
                </a:solidFill>
              </a:defRPr>
            </a:lvl6pPr>
            <a:lvl7pPr marL="0" indent="0">
              <a:buNone/>
              <a:defRPr sz="1796">
                <a:solidFill>
                  <a:schemeClr val="accent4"/>
                </a:solidFill>
              </a:defRPr>
            </a:lvl7pPr>
            <a:lvl8pPr marL="0" indent="0">
              <a:buNone/>
              <a:defRPr sz="1796">
                <a:solidFill>
                  <a:schemeClr val="accent4"/>
                </a:solidFill>
              </a:defRPr>
            </a:lvl8pPr>
            <a:lvl9pPr marL="0" indent="0">
              <a:buNone/>
              <a:defRPr sz="1796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1074401" y="6883401"/>
            <a:ext cx="1117600" cy="133350"/>
          </a:xfrm>
          <a:prstGeom prst="rect">
            <a:avLst/>
          </a:prstGeom>
        </p:spPr>
        <p:txBody>
          <a:bodyPr/>
          <a:lstStyle/>
          <a:p>
            <a:pPr defTabSz="912388"/>
            <a:endParaRPr lang="en-US">
              <a:solidFill>
                <a:srgbClr val="717074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717074">
                    <a:tint val="75000"/>
                  </a:srgbClr>
                </a:solidFill>
              </a:rPr>
              <a:t>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>
          <a:xfrm>
            <a:off x="6185504" y="1371600"/>
            <a:ext cx="6006497" cy="3429000"/>
          </a:xfrm>
        </p:spPr>
        <p:txBody>
          <a:bodyPr tIns="365760"/>
          <a:lstStyle>
            <a:lvl1pPr marL="0" indent="0" algn="ctr">
              <a:buNone/>
              <a:defRPr sz="1996"/>
            </a:lvl1pPr>
            <a:lvl2pPr marL="456194" indent="0">
              <a:buNone/>
              <a:defRPr sz="2794"/>
            </a:lvl2pPr>
            <a:lvl3pPr marL="912388" indent="0">
              <a:buNone/>
              <a:defRPr sz="2395"/>
            </a:lvl3pPr>
            <a:lvl4pPr marL="1368582" indent="0">
              <a:buNone/>
              <a:defRPr sz="1996"/>
            </a:lvl4pPr>
            <a:lvl5pPr marL="1824777" indent="0">
              <a:buNone/>
              <a:defRPr sz="1996"/>
            </a:lvl5pPr>
            <a:lvl6pPr marL="2280971" indent="0">
              <a:buNone/>
              <a:defRPr sz="1996"/>
            </a:lvl6pPr>
            <a:lvl7pPr marL="2737165" indent="0">
              <a:buNone/>
              <a:defRPr sz="1996"/>
            </a:lvl7pPr>
            <a:lvl8pPr marL="3193359" indent="0">
              <a:buNone/>
              <a:defRPr sz="1996"/>
            </a:lvl8pPr>
            <a:lvl9pPr marL="3649553" indent="0">
              <a:buNone/>
              <a:defRPr sz="1996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>
          <a:xfrm>
            <a:off x="6807201" y="4953000"/>
            <a:ext cx="4775199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796">
                <a:solidFill>
                  <a:schemeClr val="tx1"/>
                </a:solidFill>
              </a:defRPr>
            </a:lvl1pPr>
            <a:lvl2pPr marL="0" indent="0">
              <a:buNone/>
              <a:defRPr sz="1796">
                <a:solidFill>
                  <a:schemeClr val="accent4"/>
                </a:solidFill>
              </a:defRPr>
            </a:lvl2pPr>
            <a:lvl3pPr marL="0" indent="0">
              <a:buNone/>
              <a:defRPr sz="1796">
                <a:solidFill>
                  <a:schemeClr val="accent4"/>
                </a:solidFill>
              </a:defRPr>
            </a:lvl3pPr>
            <a:lvl4pPr marL="0" indent="0">
              <a:buNone/>
              <a:defRPr sz="1796">
                <a:solidFill>
                  <a:schemeClr val="accent4"/>
                </a:solidFill>
              </a:defRPr>
            </a:lvl4pPr>
            <a:lvl5pPr marL="0" indent="0">
              <a:buNone/>
              <a:defRPr sz="1796">
                <a:solidFill>
                  <a:schemeClr val="accent4"/>
                </a:solidFill>
              </a:defRPr>
            </a:lvl5pPr>
            <a:lvl6pPr marL="0" indent="0">
              <a:buNone/>
              <a:defRPr sz="1796">
                <a:solidFill>
                  <a:schemeClr val="accent4"/>
                </a:solidFill>
              </a:defRPr>
            </a:lvl6pPr>
            <a:lvl7pPr marL="0" indent="0">
              <a:buNone/>
              <a:defRPr sz="1796">
                <a:solidFill>
                  <a:schemeClr val="accent4"/>
                </a:solidFill>
              </a:defRPr>
            </a:lvl7pPr>
            <a:lvl8pPr marL="0" indent="0">
              <a:buNone/>
              <a:defRPr sz="1796">
                <a:solidFill>
                  <a:schemeClr val="accent4"/>
                </a:solidFill>
              </a:defRPr>
            </a:lvl8pPr>
            <a:lvl9pPr marL="0" indent="0">
              <a:buNone/>
              <a:defRPr sz="1796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794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1371600"/>
            <a:ext cx="3962400" cy="3429000"/>
          </a:xfrm>
        </p:spPr>
        <p:txBody>
          <a:bodyPr tIns="365760"/>
          <a:lstStyle>
            <a:lvl1pPr marL="0" indent="0" algn="ctr">
              <a:buNone/>
              <a:defRPr sz="1996"/>
            </a:lvl1pPr>
            <a:lvl2pPr marL="456194" indent="0">
              <a:buNone/>
              <a:defRPr sz="2794"/>
            </a:lvl2pPr>
            <a:lvl3pPr marL="912388" indent="0">
              <a:buNone/>
              <a:defRPr sz="2395"/>
            </a:lvl3pPr>
            <a:lvl4pPr marL="1368582" indent="0">
              <a:buNone/>
              <a:defRPr sz="1996"/>
            </a:lvl4pPr>
            <a:lvl5pPr marL="1824777" indent="0">
              <a:buNone/>
              <a:defRPr sz="1996"/>
            </a:lvl5pPr>
            <a:lvl6pPr marL="2280971" indent="0">
              <a:buNone/>
              <a:defRPr sz="1996"/>
            </a:lvl6pPr>
            <a:lvl7pPr marL="2737165" indent="0">
              <a:buNone/>
              <a:defRPr sz="1996"/>
            </a:lvl7pPr>
            <a:lvl8pPr marL="3193359" indent="0">
              <a:buNone/>
              <a:defRPr sz="1996"/>
            </a:lvl8pPr>
            <a:lvl9pPr marL="3649553" indent="0">
              <a:buNone/>
              <a:defRPr sz="1996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4953000"/>
            <a:ext cx="2743200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796">
                <a:solidFill>
                  <a:schemeClr val="tx1"/>
                </a:solidFill>
              </a:defRPr>
            </a:lvl1pPr>
            <a:lvl2pPr marL="0" indent="0">
              <a:buNone/>
              <a:defRPr sz="1796">
                <a:solidFill>
                  <a:schemeClr val="accent4"/>
                </a:solidFill>
              </a:defRPr>
            </a:lvl2pPr>
            <a:lvl3pPr marL="0" indent="0">
              <a:buNone/>
              <a:defRPr sz="1796">
                <a:solidFill>
                  <a:schemeClr val="accent4"/>
                </a:solidFill>
              </a:defRPr>
            </a:lvl3pPr>
            <a:lvl4pPr marL="0" indent="0">
              <a:buNone/>
              <a:defRPr sz="1796">
                <a:solidFill>
                  <a:schemeClr val="accent4"/>
                </a:solidFill>
              </a:defRPr>
            </a:lvl4pPr>
            <a:lvl5pPr marL="0" indent="0">
              <a:buNone/>
              <a:defRPr sz="1796">
                <a:solidFill>
                  <a:schemeClr val="accent4"/>
                </a:solidFill>
              </a:defRPr>
            </a:lvl5pPr>
            <a:lvl6pPr marL="0" indent="0">
              <a:buNone/>
              <a:defRPr sz="1796">
                <a:solidFill>
                  <a:schemeClr val="accent4"/>
                </a:solidFill>
              </a:defRPr>
            </a:lvl6pPr>
            <a:lvl7pPr marL="0" indent="0">
              <a:buNone/>
              <a:defRPr sz="1796">
                <a:solidFill>
                  <a:schemeClr val="accent4"/>
                </a:solidFill>
              </a:defRPr>
            </a:lvl7pPr>
            <a:lvl8pPr marL="0" indent="0">
              <a:buNone/>
              <a:defRPr sz="1796">
                <a:solidFill>
                  <a:schemeClr val="accent4"/>
                </a:solidFill>
              </a:defRPr>
            </a:lvl8pPr>
            <a:lvl9pPr marL="0" indent="0">
              <a:buNone/>
              <a:defRPr sz="1796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1074401" y="6883401"/>
            <a:ext cx="1117600" cy="133350"/>
          </a:xfrm>
          <a:prstGeom prst="rect">
            <a:avLst/>
          </a:prstGeom>
        </p:spPr>
        <p:txBody>
          <a:bodyPr/>
          <a:lstStyle/>
          <a:p>
            <a:pPr defTabSz="912388"/>
            <a:endParaRPr lang="en-US">
              <a:solidFill>
                <a:srgbClr val="717074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717074">
                    <a:tint val="75000"/>
                  </a:srgbClr>
                </a:solidFill>
              </a:rPr>
              <a:t>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>
          <a:xfrm>
            <a:off x="4114801" y="1371600"/>
            <a:ext cx="3962400" cy="3429000"/>
          </a:xfrm>
        </p:spPr>
        <p:txBody>
          <a:bodyPr tIns="365760"/>
          <a:lstStyle>
            <a:lvl1pPr marL="0" indent="0" algn="ctr">
              <a:buNone/>
              <a:defRPr sz="1996"/>
            </a:lvl1pPr>
            <a:lvl2pPr marL="456194" indent="0">
              <a:buNone/>
              <a:defRPr sz="2794"/>
            </a:lvl2pPr>
            <a:lvl3pPr marL="912388" indent="0">
              <a:buNone/>
              <a:defRPr sz="2395"/>
            </a:lvl3pPr>
            <a:lvl4pPr marL="1368582" indent="0">
              <a:buNone/>
              <a:defRPr sz="1996"/>
            </a:lvl4pPr>
            <a:lvl5pPr marL="1824777" indent="0">
              <a:buNone/>
              <a:defRPr sz="1996"/>
            </a:lvl5pPr>
            <a:lvl6pPr marL="2280971" indent="0">
              <a:buNone/>
              <a:defRPr sz="1996"/>
            </a:lvl6pPr>
            <a:lvl7pPr marL="2737165" indent="0">
              <a:buNone/>
              <a:defRPr sz="1996"/>
            </a:lvl7pPr>
            <a:lvl8pPr marL="3193359" indent="0">
              <a:buNone/>
              <a:defRPr sz="1996"/>
            </a:lvl8pPr>
            <a:lvl9pPr marL="3649553" indent="0">
              <a:buNone/>
              <a:defRPr sz="1996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>
          <a:xfrm>
            <a:off x="4724400" y="4953000"/>
            <a:ext cx="2743200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796">
                <a:solidFill>
                  <a:schemeClr val="tx1"/>
                </a:solidFill>
              </a:defRPr>
            </a:lvl1pPr>
            <a:lvl2pPr marL="0" indent="0">
              <a:buNone/>
              <a:defRPr sz="1796">
                <a:solidFill>
                  <a:schemeClr val="accent4"/>
                </a:solidFill>
              </a:defRPr>
            </a:lvl2pPr>
            <a:lvl3pPr marL="0" indent="0">
              <a:buNone/>
              <a:defRPr sz="1796">
                <a:solidFill>
                  <a:schemeClr val="accent4"/>
                </a:solidFill>
              </a:defRPr>
            </a:lvl3pPr>
            <a:lvl4pPr marL="0" indent="0">
              <a:buNone/>
              <a:defRPr sz="1796">
                <a:solidFill>
                  <a:schemeClr val="accent4"/>
                </a:solidFill>
              </a:defRPr>
            </a:lvl4pPr>
            <a:lvl5pPr marL="0" indent="0">
              <a:buNone/>
              <a:defRPr sz="1796">
                <a:solidFill>
                  <a:schemeClr val="accent4"/>
                </a:solidFill>
              </a:defRPr>
            </a:lvl5pPr>
            <a:lvl6pPr marL="0" indent="0">
              <a:buNone/>
              <a:defRPr sz="1796">
                <a:solidFill>
                  <a:schemeClr val="accent4"/>
                </a:solidFill>
              </a:defRPr>
            </a:lvl6pPr>
            <a:lvl7pPr marL="0" indent="0">
              <a:buNone/>
              <a:defRPr sz="1796">
                <a:solidFill>
                  <a:schemeClr val="accent4"/>
                </a:solidFill>
              </a:defRPr>
            </a:lvl7pPr>
            <a:lvl8pPr marL="0" indent="0">
              <a:buNone/>
              <a:defRPr sz="1796">
                <a:solidFill>
                  <a:schemeClr val="accent4"/>
                </a:solidFill>
              </a:defRPr>
            </a:lvl8pPr>
            <a:lvl9pPr marL="0" indent="0">
              <a:buNone/>
              <a:defRPr sz="1796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>
          <a:xfrm>
            <a:off x="8229601" y="1371600"/>
            <a:ext cx="3962400" cy="3429000"/>
          </a:xfrm>
        </p:spPr>
        <p:txBody>
          <a:bodyPr tIns="365760"/>
          <a:lstStyle>
            <a:lvl1pPr marL="0" indent="0" algn="ctr">
              <a:buNone/>
              <a:defRPr sz="1996"/>
            </a:lvl1pPr>
            <a:lvl2pPr marL="456194" indent="0">
              <a:buNone/>
              <a:defRPr sz="2794"/>
            </a:lvl2pPr>
            <a:lvl3pPr marL="912388" indent="0">
              <a:buNone/>
              <a:defRPr sz="2395"/>
            </a:lvl3pPr>
            <a:lvl4pPr marL="1368582" indent="0">
              <a:buNone/>
              <a:defRPr sz="1996"/>
            </a:lvl4pPr>
            <a:lvl5pPr marL="1824777" indent="0">
              <a:buNone/>
              <a:defRPr sz="1996"/>
            </a:lvl5pPr>
            <a:lvl6pPr marL="2280971" indent="0">
              <a:buNone/>
              <a:defRPr sz="1996"/>
            </a:lvl6pPr>
            <a:lvl7pPr marL="2737165" indent="0">
              <a:buNone/>
              <a:defRPr sz="1996"/>
            </a:lvl7pPr>
            <a:lvl8pPr marL="3193359" indent="0">
              <a:buNone/>
              <a:defRPr sz="1996"/>
            </a:lvl8pPr>
            <a:lvl9pPr marL="3649553" indent="0">
              <a:buNone/>
              <a:defRPr sz="1996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>
          <a:xfrm>
            <a:off x="8839200" y="4953000"/>
            <a:ext cx="2743200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796">
                <a:solidFill>
                  <a:schemeClr val="tx1"/>
                </a:solidFill>
              </a:defRPr>
            </a:lvl1pPr>
            <a:lvl2pPr marL="0" indent="0">
              <a:buNone/>
              <a:defRPr sz="1796">
                <a:solidFill>
                  <a:schemeClr val="accent4"/>
                </a:solidFill>
              </a:defRPr>
            </a:lvl2pPr>
            <a:lvl3pPr marL="0" indent="0">
              <a:buNone/>
              <a:defRPr sz="1796">
                <a:solidFill>
                  <a:schemeClr val="accent4"/>
                </a:solidFill>
              </a:defRPr>
            </a:lvl3pPr>
            <a:lvl4pPr marL="0" indent="0">
              <a:buNone/>
              <a:defRPr sz="1796">
                <a:solidFill>
                  <a:schemeClr val="accent4"/>
                </a:solidFill>
              </a:defRPr>
            </a:lvl4pPr>
            <a:lvl5pPr marL="0" indent="0">
              <a:buNone/>
              <a:defRPr sz="1796">
                <a:solidFill>
                  <a:schemeClr val="accent4"/>
                </a:solidFill>
              </a:defRPr>
            </a:lvl5pPr>
            <a:lvl6pPr marL="0" indent="0">
              <a:buNone/>
              <a:defRPr sz="1796">
                <a:solidFill>
                  <a:schemeClr val="accent4"/>
                </a:solidFill>
              </a:defRPr>
            </a:lvl6pPr>
            <a:lvl7pPr marL="0" indent="0">
              <a:buNone/>
              <a:defRPr sz="1796">
                <a:solidFill>
                  <a:schemeClr val="accent4"/>
                </a:solidFill>
              </a:defRPr>
            </a:lvl7pPr>
            <a:lvl8pPr marL="0" indent="0">
              <a:buNone/>
              <a:defRPr sz="1796">
                <a:solidFill>
                  <a:schemeClr val="accent4"/>
                </a:solidFill>
              </a:defRPr>
            </a:lvl8pPr>
            <a:lvl9pPr marL="0" indent="0">
              <a:buNone/>
              <a:defRPr sz="1796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ustom Section Header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/>
        </p:nvGrpSpPr>
        <p:grpSpPr bwMode="ltGray">
          <a:xfrm>
            <a:off x="3787" y="-1"/>
            <a:ext cx="12211703" cy="6858001"/>
            <a:chOff x="3786" y="-1"/>
            <a:chExt cx="9156393" cy="5143501"/>
          </a:xfrm>
        </p:grpSpPr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3786" y="0"/>
              <a:ext cx="6983947" cy="5143500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4534899" y="-1"/>
              <a:ext cx="4625280" cy="387275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1676400"/>
            <a:ext cx="6096000" cy="1524000"/>
          </a:xfrm>
        </p:spPr>
        <p:txBody>
          <a:bodyPr anchor="b"/>
          <a:lstStyle>
            <a:lvl1pPr algn="l">
              <a:defRPr sz="3592" b="1" cap="none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3276600"/>
            <a:ext cx="6096000" cy="6096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996">
                <a:solidFill>
                  <a:schemeClr val="tx1"/>
                </a:solidFill>
              </a:defRPr>
            </a:lvl1pPr>
            <a:lvl2pPr marL="0" indent="0">
              <a:buNone/>
              <a:defRPr sz="1996">
                <a:solidFill>
                  <a:schemeClr val="accent4"/>
                </a:solidFill>
              </a:defRPr>
            </a:lvl2pPr>
            <a:lvl3pPr marL="0" indent="0">
              <a:buNone/>
              <a:defRPr sz="1996">
                <a:solidFill>
                  <a:schemeClr val="accent4"/>
                </a:solidFill>
              </a:defRPr>
            </a:lvl3pPr>
            <a:lvl4pPr marL="0" indent="0">
              <a:buNone/>
              <a:defRPr sz="1996">
                <a:solidFill>
                  <a:schemeClr val="accent4"/>
                </a:solidFill>
              </a:defRPr>
            </a:lvl4pPr>
            <a:lvl5pPr marL="0" indent="0">
              <a:buNone/>
              <a:defRPr sz="1996">
                <a:solidFill>
                  <a:schemeClr val="accent4"/>
                </a:solidFill>
              </a:defRPr>
            </a:lvl5pPr>
            <a:lvl6pPr marL="0" indent="0">
              <a:buNone/>
              <a:defRPr sz="1996">
                <a:solidFill>
                  <a:schemeClr val="accent4"/>
                </a:solidFill>
              </a:defRPr>
            </a:lvl6pPr>
            <a:lvl7pPr marL="0" indent="0">
              <a:buNone/>
              <a:defRPr sz="1996">
                <a:solidFill>
                  <a:schemeClr val="accent4"/>
                </a:solidFill>
              </a:defRPr>
            </a:lvl7pPr>
            <a:lvl8pPr marL="0" indent="0">
              <a:buNone/>
              <a:defRPr sz="1996">
                <a:solidFill>
                  <a:schemeClr val="accent4"/>
                </a:solidFill>
              </a:defRPr>
            </a:lvl8pPr>
            <a:lvl9pPr marL="0" indent="0">
              <a:buNone/>
              <a:defRPr sz="1996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5" name="Group 4"/>
          <p:cNvGrpSpPr>
            <a:grpSpLocks noChangeAspect="1"/>
          </p:cNvGrpSpPr>
          <p:nvPr/>
        </p:nvGrpSpPr>
        <p:grpSpPr bwMode="auto">
          <a:xfrm>
            <a:off x="615656" y="6376993"/>
            <a:ext cx="1294203" cy="242475"/>
            <a:chOff x="-16" y="4944"/>
            <a:chExt cx="3223" cy="604"/>
          </a:xfrm>
          <a:solidFill>
            <a:schemeClr val="tx1"/>
          </a:solidFill>
        </p:grpSpPr>
        <p:sp>
          <p:nvSpPr>
            <p:cNvPr id="16" name="Freeform 5"/>
            <p:cNvSpPr>
              <a:spLocks/>
            </p:cNvSpPr>
            <p:nvPr/>
          </p:nvSpPr>
          <p:spPr bwMode="auto">
            <a:xfrm>
              <a:off x="1098" y="5116"/>
              <a:ext cx="612" cy="429"/>
            </a:xfrm>
            <a:custGeom>
              <a:avLst/>
              <a:gdLst>
                <a:gd name="T0" fmla="*/ 943 w 993"/>
                <a:gd name="T1" fmla="*/ 0 h 694"/>
                <a:gd name="T2" fmla="*/ 894 w 993"/>
                <a:gd name="T3" fmla="*/ 39 h 694"/>
                <a:gd name="T4" fmla="*/ 721 w 993"/>
                <a:gd name="T5" fmla="*/ 550 h 694"/>
                <a:gd name="T6" fmla="*/ 551 w 993"/>
                <a:gd name="T7" fmla="*/ 40 h 694"/>
                <a:gd name="T8" fmla="*/ 499 w 993"/>
                <a:gd name="T9" fmla="*/ 0 h 694"/>
                <a:gd name="T10" fmla="*/ 494 w 993"/>
                <a:gd name="T11" fmla="*/ 0 h 694"/>
                <a:gd name="T12" fmla="*/ 444 w 993"/>
                <a:gd name="T13" fmla="*/ 40 h 694"/>
                <a:gd name="T14" fmla="*/ 272 w 993"/>
                <a:gd name="T15" fmla="*/ 550 h 694"/>
                <a:gd name="T16" fmla="*/ 102 w 993"/>
                <a:gd name="T17" fmla="*/ 42 h 694"/>
                <a:gd name="T18" fmla="*/ 51 w 993"/>
                <a:gd name="T19" fmla="*/ 0 h 694"/>
                <a:gd name="T20" fmla="*/ 0 w 993"/>
                <a:gd name="T21" fmla="*/ 48 h 694"/>
                <a:gd name="T22" fmla="*/ 6 w 993"/>
                <a:gd name="T23" fmla="*/ 76 h 694"/>
                <a:gd name="T24" fmla="*/ 212 w 993"/>
                <a:gd name="T25" fmla="*/ 648 h 694"/>
                <a:gd name="T26" fmla="*/ 268 w 993"/>
                <a:gd name="T27" fmla="*/ 694 h 694"/>
                <a:gd name="T28" fmla="*/ 271 w 993"/>
                <a:gd name="T29" fmla="*/ 694 h 694"/>
                <a:gd name="T30" fmla="*/ 326 w 993"/>
                <a:gd name="T31" fmla="*/ 648 h 694"/>
                <a:gd name="T32" fmla="*/ 496 w 993"/>
                <a:gd name="T33" fmla="*/ 154 h 694"/>
                <a:gd name="T34" fmla="*/ 665 w 993"/>
                <a:gd name="T35" fmla="*/ 648 h 694"/>
                <a:gd name="T36" fmla="*/ 720 w 993"/>
                <a:gd name="T37" fmla="*/ 694 h 694"/>
                <a:gd name="T38" fmla="*/ 724 w 993"/>
                <a:gd name="T39" fmla="*/ 694 h 694"/>
                <a:gd name="T40" fmla="*/ 779 w 993"/>
                <a:gd name="T41" fmla="*/ 648 h 694"/>
                <a:gd name="T42" fmla="*/ 986 w 993"/>
                <a:gd name="T43" fmla="*/ 74 h 694"/>
                <a:gd name="T44" fmla="*/ 993 w 993"/>
                <a:gd name="T45" fmla="*/ 47 h 694"/>
                <a:gd name="T46" fmla="*/ 943 w 993"/>
                <a:gd name="T47" fmla="*/ 0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93" h="694">
                  <a:moveTo>
                    <a:pt x="943" y="0"/>
                  </a:moveTo>
                  <a:cubicBezTo>
                    <a:pt x="915" y="0"/>
                    <a:pt x="901" y="18"/>
                    <a:pt x="894" y="39"/>
                  </a:cubicBezTo>
                  <a:cubicBezTo>
                    <a:pt x="721" y="550"/>
                    <a:pt x="721" y="550"/>
                    <a:pt x="721" y="550"/>
                  </a:cubicBezTo>
                  <a:cubicBezTo>
                    <a:pt x="551" y="40"/>
                    <a:pt x="551" y="40"/>
                    <a:pt x="551" y="40"/>
                  </a:cubicBezTo>
                  <a:cubicBezTo>
                    <a:pt x="543" y="17"/>
                    <a:pt x="526" y="0"/>
                    <a:pt x="499" y="0"/>
                  </a:cubicBezTo>
                  <a:cubicBezTo>
                    <a:pt x="494" y="0"/>
                    <a:pt x="494" y="0"/>
                    <a:pt x="494" y="0"/>
                  </a:cubicBezTo>
                  <a:cubicBezTo>
                    <a:pt x="467" y="0"/>
                    <a:pt x="452" y="17"/>
                    <a:pt x="444" y="40"/>
                  </a:cubicBezTo>
                  <a:cubicBezTo>
                    <a:pt x="272" y="550"/>
                    <a:pt x="272" y="550"/>
                    <a:pt x="272" y="550"/>
                  </a:cubicBezTo>
                  <a:cubicBezTo>
                    <a:pt x="102" y="42"/>
                    <a:pt x="102" y="42"/>
                    <a:pt x="102" y="42"/>
                  </a:cubicBezTo>
                  <a:cubicBezTo>
                    <a:pt x="94" y="17"/>
                    <a:pt x="77" y="0"/>
                    <a:pt x="51" y="0"/>
                  </a:cubicBezTo>
                  <a:cubicBezTo>
                    <a:pt x="21" y="0"/>
                    <a:pt x="0" y="23"/>
                    <a:pt x="0" y="48"/>
                  </a:cubicBezTo>
                  <a:cubicBezTo>
                    <a:pt x="0" y="57"/>
                    <a:pt x="4" y="68"/>
                    <a:pt x="6" y="76"/>
                  </a:cubicBezTo>
                  <a:cubicBezTo>
                    <a:pt x="212" y="648"/>
                    <a:pt x="212" y="648"/>
                    <a:pt x="212" y="648"/>
                  </a:cubicBezTo>
                  <a:cubicBezTo>
                    <a:pt x="222" y="678"/>
                    <a:pt x="243" y="694"/>
                    <a:pt x="268" y="694"/>
                  </a:cubicBezTo>
                  <a:cubicBezTo>
                    <a:pt x="271" y="694"/>
                    <a:pt x="271" y="694"/>
                    <a:pt x="271" y="694"/>
                  </a:cubicBezTo>
                  <a:cubicBezTo>
                    <a:pt x="297" y="694"/>
                    <a:pt x="317" y="678"/>
                    <a:pt x="326" y="648"/>
                  </a:cubicBezTo>
                  <a:cubicBezTo>
                    <a:pt x="496" y="154"/>
                    <a:pt x="496" y="154"/>
                    <a:pt x="496" y="154"/>
                  </a:cubicBezTo>
                  <a:cubicBezTo>
                    <a:pt x="665" y="648"/>
                    <a:pt x="665" y="648"/>
                    <a:pt x="665" y="648"/>
                  </a:cubicBezTo>
                  <a:cubicBezTo>
                    <a:pt x="674" y="678"/>
                    <a:pt x="694" y="694"/>
                    <a:pt x="720" y="694"/>
                  </a:cubicBezTo>
                  <a:cubicBezTo>
                    <a:pt x="724" y="694"/>
                    <a:pt x="724" y="694"/>
                    <a:pt x="724" y="694"/>
                  </a:cubicBezTo>
                  <a:cubicBezTo>
                    <a:pt x="748" y="694"/>
                    <a:pt x="769" y="678"/>
                    <a:pt x="779" y="648"/>
                  </a:cubicBezTo>
                  <a:cubicBezTo>
                    <a:pt x="986" y="74"/>
                    <a:pt x="986" y="74"/>
                    <a:pt x="986" y="74"/>
                  </a:cubicBezTo>
                  <a:cubicBezTo>
                    <a:pt x="989" y="67"/>
                    <a:pt x="993" y="56"/>
                    <a:pt x="993" y="47"/>
                  </a:cubicBezTo>
                  <a:cubicBezTo>
                    <a:pt x="993" y="22"/>
                    <a:pt x="972" y="0"/>
                    <a:pt x="943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28" name="Freeform 6"/>
            <p:cNvSpPr>
              <a:spLocks noEditPoints="1"/>
            </p:cNvSpPr>
            <p:nvPr/>
          </p:nvSpPr>
          <p:spPr bwMode="auto">
            <a:xfrm>
              <a:off x="1720" y="5111"/>
              <a:ext cx="417" cy="437"/>
            </a:xfrm>
            <a:custGeom>
              <a:avLst/>
              <a:gdLst>
                <a:gd name="T0" fmla="*/ 340 w 678"/>
                <a:gd name="T1" fmla="*/ 0 h 707"/>
                <a:gd name="T2" fmla="*/ 0 w 678"/>
                <a:gd name="T3" fmla="*/ 354 h 707"/>
                <a:gd name="T4" fmla="*/ 0 w 678"/>
                <a:gd name="T5" fmla="*/ 356 h 707"/>
                <a:gd name="T6" fmla="*/ 337 w 678"/>
                <a:gd name="T7" fmla="*/ 707 h 707"/>
                <a:gd name="T8" fmla="*/ 678 w 678"/>
                <a:gd name="T9" fmla="*/ 354 h 707"/>
                <a:gd name="T10" fmla="*/ 678 w 678"/>
                <a:gd name="T11" fmla="*/ 351 h 707"/>
                <a:gd name="T12" fmla="*/ 340 w 678"/>
                <a:gd name="T13" fmla="*/ 0 h 707"/>
                <a:gd name="T14" fmla="*/ 575 w 678"/>
                <a:gd name="T15" fmla="*/ 356 h 707"/>
                <a:gd name="T16" fmla="*/ 340 w 678"/>
                <a:gd name="T17" fmla="*/ 631 h 707"/>
                <a:gd name="T18" fmla="*/ 103 w 678"/>
                <a:gd name="T19" fmla="*/ 354 h 707"/>
                <a:gd name="T20" fmla="*/ 103 w 678"/>
                <a:gd name="T21" fmla="*/ 351 h 707"/>
                <a:gd name="T22" fmla="*/ 337 w 678"/>
                <a:gd name="T23" fmla="*/ 75 h 707"/>
                <a:gd name="T24" fmla="*/ 575 w 678"/>
                <a:gd name="T25" fmla="*/ 354 h 707"/>
                <a:gd name="T26" fmla="*/ 575 w 678"/>
                <a:gd name="T27" fmla="*/ 356 h 7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78" h="707">
                  <a:moveTo>
                    <a:pt x="340" y="0"/>
                  </a:moveTo>
                  <a:cubicBezTo>
                    <a:pt x="135" y="0"/>
                    <a:pt x="0" y="162"/>
                    <a:pt x="0" y="354"/>
                  </a:cubicBezTo>
                  <a:cubicBezTo>
                    <a:pt x="0" y="356"/>
                    <a:pt x="0" y="356"/>
                    <a:pt x="0" y="356"/>
                  </a:cubicBezTo>
                  <a:cubicBezTo>
                    <a:pt x="0" y="548"/>
                    <a:pt x="134" y="707"/>
                    <a:pt x="337" y="707"/>
                  </a:cubicBezTo>
                  <a:cubicBezTo>
                    <a:pt x="541" y="707"/>
                    <a:pt x="678" y="545"/>
                    <a:pt x="678" y="354"/>
                  </a:cubicBezTo>
                  <a:cubicBezTo>
                    <a:pt x="678" y="351"/>
                    <a:pt x="678" y="351"/>
                    <a:pt x="678" y="351"/>
                  </a:cubicBezTo>
                  <a:cubicBezTo>
                    <a:pt x="678" y="160"/>
                    <a:pt x="543" y="0"/>
                    <a:pt x="340" y="0"/>
                  </a:cubicBezTo>
                  <a:moveTo>
                    <a:pt x="575" y="356"/>
                  </a:moveTo>
                  <a:cubicBezTo>
                    <a:pt x="575" y="499"/>
                    <a:pt x="486" y="631"/>
                    <a:pt x="340" y="631"/>
                  </a:cubicBezTo>
                  <a:cubicBezTo>
                    <a:pt x="197" y="631"/>
                    <a:pt x="103" y="499"/>
                    <a:pt x="103" y="354"/>
                  </a:cubicBezTo>
                  <a:cubicBezTo>
                    <a:pt x="103" y="351"/>
                    <a:pt x="103" y="351"/>
                    <a:pt x="103" y="351"/>
                  </a:cubicBezTo>
                  <a:cubicBezTo>
                    <a:pt x="103" y="208"/>
                    <a:pt x="190" y="75"/>
                    <a:pt x="337" y="75"/>
                  </a:cubicBezTo>
                  <a:cubicBezTo>
                    <a:pt x="480" y="75"/>
                    <a:pt x="575" y="208"/>
                    <a:pt x="575" y="354"/>
                  </a:cubicBezTo>
                  <a:lnTo>
                    <a:pt x="575" y="3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29" name="Freeform 7"/>
            <p:cNvSpPr>
              <a:spLocks/>
            </p:cNvSpPr>
            <p:nvPr/>
          </p:nvSpPr>
          <p:spPr bwMode="auto">
            <a:xfrm>
              <a:off x="2198" y="5115"/>
              <a:ext cx="236" cy="428"/>
            </a:xfrm>
            <a:custGeom>
              <a:avLst/>
              <a:gdLst>
                <a:gd name="T0" fmla="*/ 334 w 384"/>
                <a:gd name="T1" fmla="*/ 0 h 693"/>
                <a:gd name="T2" fmla="*/ 101 w 384"/>
                <a:gd name="T3" fmla="*/ 181 h 693"/>
                <a:gd name="T4" fmla="*/ 101 w 384"/>
                <a:gd name="T5" fmla="*/ 54 h 693"/>
                <a:gd name="T6" fmla="*/ 50 w 384"/>
                <a:gd name="T7" fmla="*/ 3 h 693"/>
                <a:gd name="T8" fmla="*/ 0 w 384"/>
                <a:gd name="T9" fmla="*/ 54 h 693"/>
                <a:gd name="T10" fmla="*/ 0 w 384"/>
                <a:gd name="T11" fmla="*/ 642 h 693"/>
                <a:gd name="T12" fmla="*/ 51 w 384"/>
                <a:gd name="T13" fmla="*/ 693 h 693"/>
                <a:gd name="T14" fmla="*/ 101 w 384"/>
                <a:gd name="T15" fmla="*/ 642 h 693"/>
                <a:gd name="T16" fmla="*/ 101 w 384"/>
                <a:gd name="T17" fmla="*/ 412 h 693"/>
                <a:gd name="T18" fmla="*/ 339 w 384"/>
                <a:gd name="T19" fmla="*/ 102 h 693"/>
                <a:gd name="T20" fmla="*/ 384 w 384"/>
                <a:gd name="T21" fmla="*/ 51 h 693"/>
                <a:gd name="T22" fmla="*/ 334 w 384"/>
                <a:gd name="T23" fmla="*/ 0 h 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4" h="693">
                  <a:moveTo>
                    <a:pt x="334" y="0"/>
                  </a:moveTo>
                  <a:cubicBezTo>
                    <a:pt x="249" y="0"/>
                    <a:pt x="151" y="68"/>
                    <a:pt x="101" y="181"/>
                  </a:cubicBezTo>
                  <a:cubicBezTo>
                    <a:pt x="101" y="54"/>
                    <a:pt x="101" y="54"/>
                    <a:pt x="101" y="54"/>
                  </a:cubicBezTo>
                  <a:cubicBezTo>
                    <a:pt x="101" y="25"/>
                    <a:pt x="79" y="3"/>
                    <a:pt x="50" y="3"/>
                  </a:cubicBezTo>
                  <a:cubicBezTo>
                    <a:pt x="22" y="3"/>
                    <a:pt x="0" y="26"/>
                    <a:pt x="0" y="54"/>
                  </a:cubicBezTo>
                  <a:cubicBezTo>
                    <a:pt x="0" y="642"/>
                    <a:pt x="0" y="642"/>
                    <a:pt x="0" y="642"/>
                  </a:cubicBezTo>
                  <a:cubicBezTo>
                    <a:pt x="0" y="671"/>
                    <a:pt x="22" y="693"/>
                    <a:pt x="51" y="693"/>
                  </a:cubicBezTo>
                  <a:cubicBezTo>
                    <a:pt x="80" y="693"/>
                    <a:pt x="101" y="670"/>
                    <a:pt x="101" y="642"/>
                  </a:cubicBezTo>
                  <a:cubicBezTo>
                    <a:pt x="101" y="412"/>
                    <a:pt x="101" y="412"/>
                    <a:pt x="101" y="412"/>
                  </a:cubicBezTo>
                  <a:cubicBezTo>
                    <a:pt x="101" y="216"/>
                    <a:pt x="208" y="118"/>
                    <a:pt x="339" y="102"/>
                  </a:cubicBezTo>
                  <a:cubicBezTo>
                    <a:pt x="365" y="98"/>
                    <a:pt x="384" y="79"/>
                    <a:pt x="384" y="51"/>
                  </a:cubicBezTo>
                  <a:cubicBezTo>
                    <a:pt x="384" y="22"/>
                    <a:pt x="364" y="0"/>
                    <a:pt x="33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30" name="Freeform 8"/>
            <p:cNvSpPr>
              <a:spLocks/>
            </p:cNvSpPr>
            <p:nvPr/>
          </p:nvSpPr>
          <p:spPr bwMode="auto">
            <a:xfrm>
              <a:off x="2500" y="4944"/>
              <a:ext cx="63" cy="599"/>
            </a:xfrm>
            <a:custGeom>
              <a:avLst/>
              <a:gdLst>
                <a:gd name="T0" fmla="*/ 49 w 101"/>
                <a:gd name="T1" fmla="*/ 0 h 969"/>
                <a:gd name="T2" fmla="*/ 0 w 101"/>
                <a:gd name="T3" fmla="*/ 51 h 969"/>
                <a:gd name="T4" fmla="*/ 0 w 101"/>
                <a:gd name="T5" fmla="*/ 918 h 969"/>
                <a:gd name="T6" fmla="*/ 51 w 101"/>
                <a:gd name="T7" fmla="*/ 969 h 969"/>
                <a:gd name="T8" fmla="*/ 101 w 101"/>
                <a:gd name="T9" fmla="*/ 918 h 969"/>
                <a:gd name="T10" fmla="*/ 101 w 101"/>
                <a:gd name="T11" fmla="*/ 51 h 969"/>
                <a:gd name="T12" fmla="*/ 49 w 101"/>
                <a:gd name="T13" fmla="*/ 0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" h="969">
                  <a:moveTo>
                    <a:pt x="49" y="0"/>
                  </a:moveTo>
                  <a:cubicBezTo>
                    <a:pt x="22" y="0"/>
                    <a:pt x="0" y="23"/>
                    <a:pt x="0" y="51"/>
                  </a:cubicBezTo>
                  <a:cubicBezTo>
                    <a:pt x="0" y="918"/>
                    <a:pt x="0" y="918"/>
                    <a:pt x="0" y="918"/>
                  </a:cubicBezTo>
                  <a:cubicBezTo>
                    <a:pt x="0" y="947"/>
                    <a:pt x="22" y="969"/>
                    <a:pt x="51" y="969"/>
                  </a:cubicBezTo>
                  <a:cubicBezTo>
                    <a:pt x="80" y="969"/>
                    <a:pt x="101" y="947"/>
                    <a:pt x="101" y="918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3"/>
                    <a:pt x="78" y="0"/>
                    <a:pt x="4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31" name="Freeform 9"/>
            <p:cNvSpPr>
              <a:spLocks noEditPoints="1"/>
            </p:cNvSpPr>
            <p:nvPr/>
          </p:nvSpPr>
          <p:spPr bwMode="auto">
            <a:xfrm>
              <a:off x="2626" y="4944"/>
              <a:ext cx="421" cy="604"/>
            </a:xfrm>
            <a:custGeom>
              <a:avLst/>
              <a:gdLst>
                <a:gd name="T0" fmla="*/ 633 w 684"/>
                <a:gd name="T1" fmla="*/ 0 h 977"/>
                <a:gd name="T2" fmla="*/ 583 w 684"/>
                <a:gd name="T3" fmla="*/ 51 h 977"/>
                <a:gd name="T4" fmla="*/ 583 w 684"/>
                <a:gd name="T5" fmla="*/ 415 h 977"/>
                <a:gd name="T6" fmla="*/ 324 w 684"/>
                <a:gd name="T7" fmla="*/ 271 h 977"/>
                <a:gd name="T8" fmla="*/ 0 w 684"/>
                <a:gd name="T9" fmla="*/ 623 h 977"/>
                <a:gd name="T10" fmla="*/ 0 w 684"/>
                <a:gd name="T11" fmla="*/ 626 h 977"/>
                <a:gd name="T12" fmla="*/ 324 w 684"/>
                <a:gd name="T13" fmla="*/ 977 h 977"/>
                <a:gd name="T14" fmla="*/ 583 w 684"/>
                <a:gd name="T15" fmla="*/ 826 h 977"/>
                <a:gd name="T16" fmla="*/ 583 w 684"/>
                <a:gd name="T17" fmla="*/ 918 h 977"/>
                <a:gd name="T18" fmla="*/ 634 w 684"/>
                <a:gd name="T19" fmla="*/ 969 h 977"/>
                <a:gd name="T20" fmla="*/ 684 w 684"/>
                <a:gd name="T21" fmla="*/ 918 h 977"/>
                <a:gd name="T22" fmla="*/ 684 w 684"/>
                <a:gd name="T23" fmla="*/ 51 h 977"/>
                <a:gd name="T24" fmla="*/ 633 w 684"/>
                <a:gd name="T25" fmla="*/ 0 h 977"/>
                <a:gd name="T26" fmla="*/ 587 w 684"/>
                <a:gd name="T27" fmla="*/ 625 h 977"/>
                <a:gd name="T28" fmla="*/ 342 w 684"/>
                <a:gd name="T29" fmla="*/ 887 h 977"/>
                <a:gd name="T30" fmla="*/ 104 w 684"/>
                <a:gd name="T31" fmla="*/ 625 h 977"/>
                <a:gd name="T32" fmla="*/ 104 w 684"/>
                <a:gd name="T33" fmla="*/ 622 h 977"/>
                <a:gd name="T34" fmla="*/ 342 w 684"/>
                <a:gd name="T35" fmla="*/ 361 h 977"/>
                <a:gd name="T36" fmla="*/ 587 w 684"/>
                <a:gd name="T37" fmla="*/ 622 h 977"/>
                <a:gd name="T38" fmla="*/ 587 w 684"/>
                <a:gd name="T39" fmla="*/ 625 h 9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84" h="977">
                  <a:moveTo>
                    <a:pt x="633" y="0"/>
                  </a:moveTo>
                  <a:cubicBezTo>
                    <a:pt x="604" y="0"/>
                    <a:pt x="583" y="22"/>
                    <a:pt x="583" y="51"/>
                  </a:cubicBezTo>
                  <a:cubicBezTo>
                    <a:pt x="583" y="415"/>
                    <a:pt x="583" y="415"/>
                    <a:pt x="583" y="415"/>
                  </a:cubicBezTo>
                  <a:cubicBezTo>
                    <a:pt x="531" y="339"/>
                    <a:pt x="450" y="271"/>
                    <a:pt x="324" y="271"/>
                  </a:cubicBezTo>
                  <a:cubicBezTo>
                    <a:pt x="161" y="271"/>
                    <a:pt x="0" y="402"/>
                    <a:pt x="0" y="623"/>
                  </a:cubicBezTo>
                  <a:cubicBezTo>
                    <a:pt x="0" y="626"/>
                    <a:pt x="0" y="626"/>
                    <a:pt x="0" y="626"/>
                  </a:cubicBezTo>
                  <a:cubicBezTo>
                    <a:pt x="0" y="849"/>
                    <a:pt x="161" y="977"/>
                    <a:pt x="324" y="977"/>
                  </a:cubicBezTo>
                  <a:cubicBezTo>
                    <a:pt x="448" y="977"/>
                    <a:pt x="528" y="908"/>
                    <a:pt x="583" y="826"/>
                  </a:cubicBezTo>
                  <a:cubicBezTo>
                    <a:pt x="583" y="918"/>
                    <a:pt x="583" y="918"/>
                    <a:pt x="583" y="918"/>
                  </a:cubicBezTo>
                  <a:cubicBezTo>
                    <a:pt x="583" y="947"/>
                    <a:pt x="605" y="969"/>
                    <a:pt x="634" y="969"/>
                  </a:cubicBezTo>
                  <a:cubicBezTo>
                    <a:pt x="662" y="969"/>
                    <a:pt x="684" y="947"/>
                    <a:pt x="684" y="918"/>
                  </a:cubicBezTo>
                  <a:cubicBezTo>
                    <a:pt x="684" y="51"/>
                    <a:pt x="684" y="51"/>
                    <a:pt x="684" y="51"/>
                  </a:cubicBezTo>
                  <a:cubicBezTo>
                    <a:pt x="684" y="22"/>
                    <a:pt x="662" y="0"/>
                    <a:pt x="633" y="0"/>
                  </a:cubicBezTo>
                  <a:moveTo>
                    <a:pt x="587" y="625"/>
                  </a:moveTo>
                  <a:cubicBezTo>
                    <a:pt x="587" y="780"/>
                    <a:pt x="468" y="887"/>
                    <a:pt x="342" y="887"/>
                  </a:cubicBezTo>
                  <a:cubicBezTo>
                    <a:pt x="215" y="887"/>
                    <a:pt x="104" y="784"/>
                    <a:pt x="104" y="625"/>
                  </a:cubicBezTo>
                  <a:cubicBezTo>
                    <a:pt x="104" y="622"/>
                    <a:pt x="104" y="622"/>
                    <a:pt x="104" y="622"/>
                  </a:cubicBezTo>
                  <a:cubicBezTo>
                    <a:pt x="104" y="458"/>
                    <a:pt x="211" y="361"/>
                    <a:pt x="342" y="361"/>
                  </a:cubicBezTo>
                  <a:cubicBezTo>
                    <a:pt x="468" y="361"/>
                    <a:pt x="587" y="466"/>
                    <a:pt x="587" y="622"/>
                  </a:cubicBezTo>
                  <a:lnTo>
                    <a:pt x="587" y="6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32" name="Freeform 10"/>
            <p:cNvSpPr>
              <a:spLocks/>
            </p:cNvSpPr>
            <p:nvPr/>
          </p:nvSpPr>
          <p:spPr bwMode="auto">
            <a:xfrm>
              <a:off x="-16" y="5101"/>
              <a:ext cx="1087" cy="447"/>
            </a:xfrm>
            <a:custGeom>
              <a:avLst/>
              <a:gdLst>
                <a:gd name="T0" fmla="*/ 1524 w 1764"/>
                <a:gd name="T1" fmla="*/ 13 h 724"/>
                <a:gd name="T2" fmla="*/ 1311 w 1764"/>
                <a:gd name="T3" fmla="*/ 104 h 724"/>
                <a:gd name="T4" fmla="*/ 1106 w 1764"/>
                <a:gd name="T5" fmla="*/ 13 h 724"/>
                <a:gd name="T6" fmla="*/ 904 w 1764"/>
                <a:gd name="T7" fmla="*/ 104 h 724"/>
                <a:gd name="T8" fmla="*/ 725 w 1764"/>
                <a:gd name="T9" fmla="*/ 13 h 724"/>
                <a:gd name="T10" fmla="*/ 508 w 1764"/>
                <a:gd name="T11" fmla="*/ 161 h 724"/>
                <a:gd name="T12" fmla="*/ 372 w 1764"/>
                <a:gd name="T13" fmla="*/ 482 h 724"/>
                <a:gd name="T14" fmla="*/ 197 w 1764"/>
                <a:gd name="T15" fmla="*/ 70 h 724"/>
                <a:gd name="T16" fmla="*/ 70 w 1764"/>
                <a:gd name="T17" fmla="*/ 22 h 724"/>
                <a:gd name="T18" fmla="*/ 23 w 1764"/>
                <a:gd name="T19" fmla="*/ 150 h 724"/>
                <a:gd name="T20" fmla="*/ 236 w 1764"/>
                <a:gd name="T21" fmla="*/ 613 h 724"/>
                <a:gd name="T22" fmla="*/ 372 w 1764"/>
                <a:gd name="T23" fmla="*/ 724 h 724"/>
                <a:gd name="T24" fmla="*/ 507 w 1764"/>
                <a:gd name="T25" fmla="*/ 613 h 724"/>
                <a:gd name="T26" fmla="*/ 695 w 1764"/>
                <a:gd name="T27" fmla="*/ 204 h 724"/>
                <a:gd name="T28" fmla="*/ 722 w 1764"/>
                <a:gd name="T29" fmla="*/ 187 h 724"/>
                <a:gd name="T30" fmla="*/ 751 w 1764"/>
                <a:gd name="T31" fmla="*/ 217 h 724"/>
                <a:gd name="T32" fmla="*/ 751 w 1764"/>
                <a:gd name="T33" fmla="*/ 613 h 724"/>
                <a:gd name="T34" fmla="*/ 850 w 1764"/>
                <a:gd name="T35" fmla="*/ 724 h 724"/>
                <a:gd name="T36" fmla="*/ 951 w 1764"/>
                <a:gd name="T37" fmla="*/ 613 h 724"/>
                <a:gd name="T38" fmla="*/ 951 w 1764"/>
                <a:gd name="T39" fmla="*/ 289 h 724"/>
                <a:gd name="T40" fmla="*/ 1056 w 1764"/>
                <a:gd name="T41" fmla="*/ 186 h 724"/>
                <a:gd name="T42" fmla="*/ 1158 w 1764"/>
                <a:gd name="T43" fmla="*/ 289 h 724"/>
                <a:gd name="T44" fmla="*/ 1158 w 1764"/>
                <a:gd name="T45" fmla="*/ 613 h 724"/>
                <a:gd name="T46" fmla="*/ 1257 w 1764"/>
                <a:gd name="T47" fmla="*/ 724 h 724"/>
                <a:gd name="T48" fmla="*/ 1358 w 1764"/>
                <a:gd name="T49" fmla="*/ 613 h 724"/>
                <a:gd name="T50" fmla="*/ 1358 w 1764"/>
                <a:gd name="T51" fmla="*/ 289 h 724"/>
                <a:gd name="T52" fmla="*/ 1463 w 1764"/>
                <a:gd name="T53" fmla="*/ 186 h 724"/>
                <a:gd name="T54" fmla="*/ 1565 w 1764"/>
                <a:gd name="T55" fmla="*/ 289 h 724"/>
                <a:gd name="T56" fmla="*/ 1565 w 1764"/>
                <a:gd name="T57" fmla="*/ 613 h 724"/>
                <a:gd name="T58" fmla="*/ 1664 w 1764"/>
                <a:gd name="T59" fmla="*/ 724 h 724"/>
                <a:gd name="T60" fmla="*/ 1764 w 1764"/>
                <a:gd name="T61" fmla="*/ 613 h 724"/>
                <a:gd name="T62" fmla="*/ 1764 w 1764"/>
                <a:gd name="T63" fmla="*/ 244 h 724"/>
                <a:gd name="T64" fmla="*/ 1524 w 1764"/>
                <a:gd name="T65" fmla="*/ 13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64" h="724">
                  <a:moveTo>
                    <a:pt x="1524" y="13"/>
                  </a:moveTo>
                  <a:cubicBezTo>
                    <a:pt x="1393" y="13"/>
                    <a:pt x="1311" y="104"/>
                    <a:pt x="1311" y="104"/>
                  </a:cubicBezTo>
                  <a:cubicBezTo>
                    <a:pt x="1267" y="47"/>
                    <a:pt x="1207" y="13"/>
                    <a:pt x="1106" y="13"/>
                  </a:cubicBezTo>
                  <a:cubicBezTo>
                    <a:pt x="998" y="13"/>
                    <a:pt x="904" y="104"/>
                    <a:pt x="904" y="104"/>
                  </a:cubicBezTo>
                  <a:cubicBezTo>
                    <a:pt x="861" y="47"/>
                    <a:pt x="786" y="13"/>
                    <a:pt x="725" y="13"/>
                  </a:cubicBezTo>
                  <a:cubicBezTo>
                    <a:pt x="630" y="13"/>
                    <a:pt x="554" y="55"/>
                    <a:pt x="508" y="161"/>
                  </a:cubicBezTo>
                  <a:cubicBezTo>
                    <a:pt x="372" y="482"/>
                    <a:pt x="372" y="482"/>
                    <a:pt x="372" y="482"/>
                  </a:cubicBezTo>
                  <a:cubicBezTo>
                    <a:pt x="197" y="70"/>
                    <a:pt x="197" y="70"/>
                    <a:pt x="197" y="70"/>
                  </a:cubicBezTo>
                  <a:cubicBezTo>
                    <a:pt x="175" y="22"/>
                    <a:pt x="121" y="0"/>
                    <a:pt x="70" y="22"/>
                  </a:cubicBezTo>
                  <a:cubicBezTo>
                    <a:pt x="19" y="45"/>
                    <a:pt x="0" y="101"/>
                    <a:pt x="23" y="150"/>
                  </a:cubicBezTo>
                  <a:cubicBezTo>
                    <a:pt x="236" y="613"/>
                    <a:pt x="236" y="613"/>
                    <a:pt x="236" y="613"/>
                  </a:cubicBezTo>
                  <a:cubicBezTo>
                    <a:pt x="270" y="686"/>
                    <a:pt x="305" y="724"/>
                    <a:pt x="372" y="724"/>
                  </a:cubicBezTo>
                  <a:cubicBezTo>
                    <a:pt x="443" y="724"/>
                    <a:pt x="474" y="683"/>
                    <a:pt x="507" y="613"/>
                  </a:cubicBezTo>
                  <a:cubicBezTo>
                    <a:pt x="507" y="613"/>
                    <a:pt x="693" y="208"/>
                    <a:pt x="695" y="204"/>
                  </a:cubicBezTo>
                  <a:cubicBezTo>
                    <a:pt x="697" y="200"/>
                    <a:pt x="703" y="186"/>
                    <a:pt x="722" y="187"/>
                  </a:cubicBezTo>
                  <a:cubicBezTo>
                    <a:pt x="738" y="187"/>
                    <a:pt x="751" y="199"/>
                    <a:pt x="751" y="217"/>
                  </a:cubicBezTo>
                  <a:cubicBezTo>
                    <a:pt x="751" y="613"/>
                    <a:pt x="751" y="613"/>
                    <a:pt x="751" y="613"/>
                  </a:cubicBezTo>
                  <a:cubicBezTo>
                    <a:pt x="751" y="674"/>
                    <a:pt x="785" y="724"/>
                    <a:pt x="850" y="724"/>
                  </a:cubicBezTo>
                  <a:cubicBezTo>
                    <a:pt x="915" y="724"/>
                    <a:pt x="951" y="674"/>
                    <a:pt x="951" y="613"/>
                  </a:cubicBezTo>
                  <a:cubicBezTo>
                    <a:pt x="951" y="289"/>
                    <a:pt x="951" y="289"/>
                    <a:pt x="951" y="289"/>
                  </a:cubicBezTo>
                  <a:cubicBezTo>
                    <a:pt x="951" y="226"/>
                    <a:pt x="995" y="186"/>
                    <a:pt x="1056" y="186"/>
                  </a:cubicBezTo>
                  <a:cubicBezTo>
                    <a:pt x="1118" y="186"/>
                    <a:pt x="1158" y="228"/>
                    <a:pt x="1158" y="289"/>
                  </a:cubicBezTo>
                  <a:cubicBezTo>
                    <a:pt x="1158" y="613"/>
                    <a:pt x="1158" y="613"/>
                    <a:pt x="1158" y="613"/>
                  </a:cubicBezTo>
                  <a:cubicBezTo>
                    <a:pt x="1158" y="674"/>
                    <a:pt x="1192" y="724"/>
                    <a:pt x="1257" y="724"/>
                  </a:cubicBezTo>
                  <a:cubicBezTo>
                    <a:pt x="1322" y="724"/>
                    <a:pt x="1358" y="674"/>
                    <a:pt x="1358" y="613"/>
                  </a:cubicBezTo>
                  <a:cubicBezTo>
                    <a:pt x="1358" y="289"/>
                    <a:pt x="1358" y="289"/>
                    <a:pt x="1358" y="289"/>
                  </a:cubicBezTo>
                  <a:cubicBezTo>
                    <a:pt x="1358" y="226"/>
                    <a:pt x="1402" y="186"/>
                    <a:pt x="1463" y="186"/>
                  </a:cubicBezTo>
                  <a:cubicBezTo>
                    <a:pt x="1524" y="186"/>
                    <a:pt x="1565" y="228"/>
                    <a:pt x="1565" y="289"/>
                  </a:cubicBezTo>
                  <a:cubicBezTo>
                    <a:pt x="1565" y="613"/>
                    <a:pt x="1565" y="613"/>
                    <a:pt x="1565" y="613"/>
                  </a:cubicBezTo>
                  <a:cubicBezTo>
                    <a:pt x="1565" y="674"/>
                    <a:pt x="1599" y="724"/>
                    <a:pt x="1664" y="724"/>
                  </a:cubicBezTo>
                  <a:cubicBezTo>
                    <a:pt x="1729" y="724"/>
                    <a:pt x="1764" y="674"/>
                    <a:pt x="1764" y="613"/>
                  </a:cubicBezTo>
                  <a:cubicBezTo>
                    <a:pt x="1764" y="244"/>
                    <a:pt x="1764" y="244"/>
                    <a:pt x="1764" y="244"/>
                  </a:cubicBezTo>
                  <a:cubicBezTo>
                    <a:pt x="1764" y="108"/>
                    <a:pt x="1655" y="13"/>
                    <a:pt x="1524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33" name="Freeform 11"/>
            <p:cNvSpPr>
              <a:spLocks noEditPoints="1"/>
            </p:cNvSpPr>
            <p:nvPr/>
          </p:nvSpPr>
          <p:spPr bwMode="auto">
            <a:xfrm>
              <a:off x="3104" y="4944"/>
              <a:ext cx="103" cy="103"/>
            </a:xfrm>
            <a:custGeom>
              <a:avLst/>
              <a:gdLst>
                <a:gd name="T0" fmla="*/ 0 w 167"/>
                <a:gd name="T1" fmla="*/ 84 h 167"/>
                <a:gd name="T2" fmla="*/ 0 w 167"/>
                <a:gd name="T3" fmla="*/ 83 h 167"/>
                <a:gd name="T4" fmla="*/ 84 w 167"/>
                <a:gd name="T5" fmla="*/ 0 h 167"/>
                <a:gd name="T6" fmla="*/ 167 w 167"/>
                <a:gd name="T7" fmla="*/ 83 h 167"/>
                <a:gd name="T8" fmla="*/ 167 w 167"/>
                <a:gd name="T9" fmla="*/ 83 h 167"/>
                <a:gd name="T10" fmla="*/ 84 w 167"/>
                <a:gd name="T11" fmla="*/ 167 h 167"/>
                <a:gd name="T12" fmla="*/ 0 w 167"/>
                <a:gd name="T13" fmla="*/ 84 h 167"/>
                <a:gd name="T14" fmla="*/ 151 w 167"/>
                <a:gd name="T15" fmla="*/ 83 h 167"/>
                <a:gd name="T16" fmla="*/ 151 w 167"/>
                <a:gd name="T17" fmla="*/ 83 h 167"/>
                <a:gd name="T18" fmla="*/ 84 w 167"/>
                <a:gd name="T19" fmla="*/ 15 h 167"/>
                <a:gd name="T20" fmla="*/ 16 w 167"/>
                <a:gd name="T21" fmla="*/ 83 h 167"/>
                <a:gd name="T22" fmla="*/ 16 w 167"/>
                <a:gd name="T23" fmla="*/ 84 h 167"/>
                <a:gd name="T24" fmla="*/ 84 w 167"/>
                <a:gd name="T25" fmla="*/ 152 h 167"/>
                <a:gd name="T26" fmla="*/ 151 w 167"/>
                <a:gd name="T27" fmla="*/ 83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7" h="167">
                  <a:moveTo>
                    <a:pt x="0" y="84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0" y="38"/>
                    <a:pt x="37" y="0"/>
                    <a:pt x="84" y="0"/>
                  </a:cubicBezTo>
                  <a:cubicBezTo>
                    <a:pt x="131" y="0"/>
                    <a:pt x="167" y="38"/>
                    <a:pt x="167" y="83"/>
                  </a:cubicBezTo>
                  <a:cubicBezTo>
                    <a:pt x="167" y="83"/>
                    <a:pt x="167" y="83"/>
                    <a:pt x="167" y="83"/>
                  </a:cubicBezTo>
                  <a:cubicBezTo>
                    <a:pt x="167" y="129"/>
                    <a:pt x="130" y="167"/>
                    <a:pt x="84" y="167"/>
                  </a:cubicBezTo>
                  <a:cubicBezTo>
                    <a:pt x="36" y="167"/>
                    <a:pt x="0" y="130"/>
                    <a:pt x="0" y="84"/>
                  </a:cubicBezTo>
                  <a:moveTo>
                    <a:pt x="151" y="83"/>
                  </a:moveTo>
                  <a:cubicBezTo>
                    <a:pt x="151" y="83"/>
                    <a:pt x="151" y="83"/>
                    <a:pt x="151" y="83"/>
                  </a:cubicBezTo>
                  <a:cubicBezTo>
                    <a:pt x="151" y="46"/>
                    <a:pt x="122" y="15"/>
                    <a:pt x="84" y="15"/>
                  </a:cubicBezTo>
                  <a:cubicBezTo>
                    <a:pt x="45" y="15"/>
                    <a:pt x="16" y="46"/>
                    <a:pt x="16" y="83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6" y="121"/>
                    <a:pt x="45" y="152"/>
                    <a:pt x="84" y="152"/>
                  </a:cubicBezTo>
                  <a:cubicBezTo>
                    <a:pt x="122" y="152"/>
                    <a:pt x="151" y="121"/>
                    <a:pt x="151" y="8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34" name="Freeform 12"/>
            <p:cNvSpPr>
              <a:spLocks noEditPoints="1"/>
            </p:cNvSpPr>
            <p:nvPr/>
          </p:nvSpPr>
          <p:spPr bwMode="auto">
            <a:xfrm>
              <a:off x="3136" y="4970"/>
              <a:ext cx="42" cy="50"/>
            </a:xfrm>
            <a:custGeom>
              <a:avLst/>
              <a:gdLst>
                <a:gd name="T0" fmla="*/ 0 w 67"/>
                <a:gd name="T1" fmla="*/ 9 h 81"/>
                <a:gd name="T2" fmla="*/ 9 w 67"/>
                <a:gd name="T3" fmla="*/ 0 h 81"/>
                <a:gd name="T4" fmla="*/ 36 w 67"/>
                <a:gd name="T5" fmla="*/ 0 h 81"/>
                <a:gd name="T6" fmla="*/ 60 w 67"/>
                <a:gd name="T7" fmla="*/ 8 h 81"/>
                <a:gd name="T8" fmla="*/ 67 w 67"/>
                <a:gd name="T9" fmla="*/ 26 h 81"/>
                <a:gd name="T10" fmla="*/ 67 w 67"/>
                <a:gd name="T11" fmla="*/ 27 h 81"/>
                <a:gd name="T12" fmla="*/ 51 w 67"/>
                <a:gd name="T13" fmla="*/ 51 h 81"/>
                <a:gd name="T14" fmla="*/ 63 w 67"/>
                <a:gd name="T15" fmla="*/ 66 h 81"/>
                <a:gd name="T16" fmla="*/ 66 w 67"/>
                <a:gd name="T17" fmla="*/ 73 h 81"/>
                <a:gd name="T18" fmla="*/ 58 w 67"/>
                <a:gd name="T19" fmla="*/ 81 h 81"/>
                <a:gd name="T20" fmla="*/ 49 w 67"/>
                <a:gd name="T21" fmla="*/ 76 h 81"/>
                <a:gd name="T22" fmla="*/ 32 w 67"/>
                <a:gd name="T23" fmla="*/ 55 h 81"/>
                <a:gd name="T24" fmla="*/ 17 w 67"/>
                <a:gd name="T25" fmla="*/ 55 h 81"/>
                <a:gd name="T26" fmla="*/ 17 w 67"/>
                <a:gd name="T27" fmla="*/ 72 h 81"/>
                <a:gd name="T28" fmla="*/ 9 w 67"/>
                <a:gd name="T29" fmla="*/ 81 h 81"/>
                <a:gd name="T30" fmla="*/ 0 w 67"/>
                <a:gd name="T31" fmla="*/ 72 h 81"/>
                <a:gd name="T32" fmla="*/ 0 w 67"/>
                <a:gd name="T33" fmla="*/ 9 h 81"/>
                <a:gd name="T34" fmla="*/ 35 w 67"/>
                <a:gd name="T35" fmla="*/ 39 h 81"/>
                <a:gd name="T36" fmla="*/ 49 w 67"/>
                <a:gd name="T37" fmla="*/ 27 h 81"/>
                <a:gd name="T38" fmla="*/ 49 w 67"/>
                <a:gd name="T39" fmla="*/ 27 h 81"/>
                <a:gd name="T40" fmla="*/ 35 w 67"/>
                <a:gd name="T41" fmla="*/ 16 h 81"/>
                <a:gd name="T42" fmla="*/ 17 w 67"/>
                <a:gd name="T43" fmla="*/ 16 h 81"/>
                <a:gd name="T44" fmla="*/ 17 w 67"/>
                <a:gd name="T45" fmla="*/ 39 h 81"/>
                <a:gd name="T46" fmla="*/ 35 w 67"/>
                <a:gd name="T47" fmla="*/ 39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7" h="81">
                  <a:moveTo>
                    <a:pt x="0" y="9"/>
                  </a:moveTo>
                  <a:cubicBezTo>
                    <a:pt x="0" y="4"/>
                    <a:pt x="4" y="0"/>
                    <a:pt x="9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47" y="0"/>
                    <a:pt x="55" y="3"/>
                    <a:pt x="60" y="8"/>
                  </a:cubicBezTo>
                  <a:cubicBezTo>
                    <a:pt x="65" y="12"/>
                    <a:pt x="67" y="19"/>
                    <a:pt x="67" y="26"/>
                  </a:cubicBezTo>
                  <a:cubicBezTo>
                    <a:pt x="67" y="27"/>
                    <a:pt x="67" y="27"/>
                    <a:pt x="67" y="27"/>
                  </a:cubicBezTo>
                  <a:cubicBezTo>
                    <a:pt x="67" y="39"/>
                    <a:pt x="61" y="47"/>
                    <a:pt x="51" y="51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5" y="68"/>
                    <a:pt x="66" y="70"/>
                    <a:pt x="66" y="73"/>
                  </a:cubicBezTo>
                  <a:cubicBezTo>
                    <a:pt x="66" y="78"/>
                    <a:pt x="62" y="81"/>
                    <a:pt x="58" y="81"/>
                  </a:cubicBezTo>
                  <a:cubicBezTo>
                    <a:pt x="54" y="81"/>
                    <a:pt x="51" y="79"/>
                    <a:pt x="49" y="76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17" y="55"/>
                    <a:pt x="17" y="55"/>
                    <a:pt x="17" y="55"/>
                  </a:cubicBezTo>
                  <a:cubicBezTo>
                    <a:pt x="17" y="72"/>
                    <a:pt x="17" y="72"/>
                    <a:pt x="17" y="72"/>
                  </a:cubicBezTo>
                  <a:cubicBezTo>
                    <a:pt x="17" y="77"/>
                    <a:pt x="14" y="81"/>
                    <a:pt x="9" y="81"/>
                  </a:cubicBezTo>
                  <a:cubicBezTo>
                    <a:pt x="4" y="81"/>
                    <a:pt x="0" y="77"/>
                    <a:pt x="0" y="72"/>
                  </a:cubicBezTo>
                  <a:lnTo>
                    <a:pt x="0" y="9"/>
                  </a:lnTo>
                  <a:close/>
                  <a:moveTo>
                    <a:pt x="35" y="39"/>
                  </a:moveTo>
                  <a:cubicBezTo>
                    <a:pt x="44" y="39"/>
                    <a:pt x="49" y="34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0"/>
                    <a:pt x="44" y="16"/>
                    <a:pt x="35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39"/>
                    <a:pt x="17" y="39"/>
                    <a:pt x="17" y="39"/>
                  </a:cubicBezTo>
                  <a:lnTo>
                    <a:pt x="35" y="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Quote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-14069" y="2702444"/>
            <a:ext cx="5347871" cy="4155557"/>
          </a:xfrm>
          <a:prstGeom prst="rect">
            <a:avLst/>
          </a:prstGeom>
        </p:spPr>
      </p:pic>
      <p:sp>
        <p:nvSpPr>
          <p:cNvPr id="12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914399" y="2593231"/>
            <a:ext cx="4813303" cy="5334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596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596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None/>
              <a:defRPr sz="1596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None/>
              <a:defRPr sz="1596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None/>
              <a:defRPr sz="1596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596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None/>
              <a:defRPr sz="1596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596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596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Click to add Name, Title, Compan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843281" y="457200"/>
            <a:ext cx="4876800" cy="2011680"/>
          </a:xfrm>
        </p:spPr>
        <p:txBody>
          <a:bodyPr/>
          <a:lstStyle>
            <a:lvl1pPr marL="58609" indent="-55441">
              <a:lnSpc>
                <a:spcPct val="100000"/>
              </a:lnSpc>
              <a:spcBef>
                <a:spcPts val="0"/>
              </a:spcBef>
              <a:buNone/>
              <a:defRPr sz="2195">
                <a:solidFill>
                  <a:schemeClr val="accent3">
                    <a:lumMod val="50000"/>
                  </a:schemeClr>
                </a:solidFill>
              </a:defRPr>
            </a:lvl1pPr>
            <a:lvl2pPr marL="3168" indent="0">
              <a:lnSpc>
                <a:spcPct val="100000"/>
              </a:lnSpc>
              <a:spcBef>
                <a:spcPts val="0"/>
              </a:spcBef>
              <a:buNone/>
              <a:defRPr sz="2195">
                <a:solidFill>
                  <a:schemeClr val="accent1">
                    <a:lumMod val="50000"/>
                  </a:schemeClr>
                </a:solidFill>
              </a:defRPr>
            </a:lvl2pPr>
            <a:lvl3pPr marL="3168" indent="0">
              <a:lnSpc>
                <a:spcPct val="100000"/>
              </a:lnSpc>
              <a:spcBef>
                <a:spcPts val="0"/>
              </a:spcBef>
              <a:buNone/>
              <a:defRPr sz="2195">
                <a:solidFill>
                  <a:schemeClr val="accent1">
                    <a:lumMod val="50000"/>
                  </a:schemeClr>
                </a:solidFill>
              </a:defRPr>
            </a:lvl3pPr>
            <a:lvl4pPr marL="3168" indent="0">
              <a:lnSpc>
                <a:spcPct val="100000"/>
              </a:lnSpc>
              <a:spcBef>
                <a:spcPts val="0"/>
              </a:spcBef>
              <a:buNone/>
              <a:defRPr sz="2195">
                <a:solidFill>
                  <a:schemeClr val="accent1">
                    <a:lumMod val="50000"/>
                  </a:schemeClr>
                </a:solidFill>
              </a:defRPr>
            </a:lvl4pPr>
            <a:lvl5pPr marL="3168" indent="0">
              <a:lnSpc>
                <a:spcPct val="100000"/>
              </a:lnSpc>
              <a:spcBef>
                <a:spcPts val="0"/>
              </a:spcBef>
              <a:buNone/>
              <a:defRPr sz="2195">
                <a:solidFill>
                  <a:schemeClr val="accent1">
                    <a:lumMod val="50000"/>
                  </a:schemeClr>
                </a:solidFill>
              </a:defRPr>
            </a:lvl5pPr>
            <a:lvl6pPr marL="3168" indent="0">
              <a:lnSpc>
                <a:spcPct val="100000"/>
              </a:lnSpc>
              <a:spcBef>
                <a:spcPts val="0"/>
              </a:spcBef>
              <a:buNone/>
              <a:defRPr sz="2195">
                <a:solidFill>
                  <a:schemeClr val="accent1">
                    <a:lumMod val="50000"/>
                  </a:schemeClr>
                </a:solidFill>
              </a:defRPr>
            </a:lvl6pPr>
            <a:lvl7pPr marL="3168" indent="0">
              <a:lnSpc>
                <a:spcPct val="100000"/>
              </a:lnSpc>
              <a:spcBef>
                <a:spcPts val="0"/>
              </a:spcBef>
              <a:buNone/>
              <a:defRPr sz="2195">
                <a:solidFill>
                  <a:schemeClr val="accent1">
                    <a:lumMod val="50000"/>
                  </a:schemeClr>
                </a:solidFill>
              </a:defRPr>
            </a:lvl7pPr>
            <a:lvl8pPr marL="3168" indent="0">
              <a:lnSpc>
                <a:spcPct val="100000"/>
              </a:lnSpc>
              <a:spcBef>
                <a:spcPts val="0"/>
              </a:spcBef>
              <a:buNone/>
              <a:defRPr sz="2195">
                <a:solidFill>
                  <a:schemeClr val="accent1">
                    <a:lumMod val="50000"/>
                  </a:schemeClr>
                </a:solidFill>
              </a:defRPr>
            </a:lvl8pPr>
            <a:lvl9pPr marL="3168" indent="0">
              <a:lnSpc>
                <a:spcPct val="100000"/>
              </a:lnSpc>
              <a:spcBef>
                <a:spcPts val="0"/>
              </a:spcBef>
              <a:buNone/>
              <a:defRPr sz="2195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3" name="Group 4"/>
          <p:cNvGrpSpPr>
            <a:grpSpLocks noChangeAspect="1"/>
          </p:cNvGrpSpPr>
          <p:nvPr/>
        </p:nvGrpSpPr>
        <p:grpSpPr bwMode="auto">
          <a:xfrm>
            <a:off x="615657" y="6376993"/>
            <a:ext cx="1294204" cy="242475"/>
            <a:chOff x="-16" y="4944"/>
            <a:chExt cx="3223" cy="604"/>
          </a:xfrm>
          <a:solidFill>
            <a:schemeClr val="bg1"/>
          </a:solidFill>
        </p:grpSpPr>
        <p:sp>
          <p:nvSpPr>
            <p:cNvPr id="16" name="Freeform 5"/>
            <p:cNvSpPr>
              <a:spLocks/>
            </p:cNvSpPr>
            <p:nvPr/>
          </p:nvSpPr>
          <p:spPr bwMode="auto">
            <a:xfrm>
              <a:off x="1098" y="5116"/>
              <a:ext cx="612" cy="429"/>
            </a:xfrm>
            <a:custGeom>
              <a:avLst/>
              <a:gdLst>
                <a:gd name="T0" fmla="*/ 943 w 993"/>
                <a:gd name="T1" fmla="*/ 0 h 694"/>
                <a:gd name="T2" fmla="*/ 894 w 993"/>
                <a:gd name="T3" fmla="*/ 39 h 694"/>
                <a:gd name="T4" fmla="*/ 721 w 993"/>
                <a:gd name="T5" fmla="*/ 550 h 694"/>
                <a:gd name="T6" fmla="*/ 551 w 993"/>
                <a:gd name="T7" fmla="*/ 40 h 694"/>
                <a:gd name="T8" fmla="*/ 499 w 993"/>
                <a:gd name="T9" fmla="*/ 0 h 694"/>
                <a:gd name="T10" fmla="*/ 494 w 993"/>
                <a:gd name="T11" fmla="*/ 0 h 694"/>
                <a:gd name="T12" fmla="*/ 444 w 993"/>
                <a:gd name="T13" fmla="*/ 40 h 694"/>
                <a:gd name="T14" fmla="*/ 272 w 993"/>
                <a:gd name="T15" fmla="*/ 550 h 694"/>
                <a:gd name="T16" fmla="*/ 102 w 993"/>
                <a:gd name="T17" fmla="*/ 42 h 694"/>
                <a:gd name="T18" fmla="*/ 51 w 993"/>
                <a:gd name="T19" fmla="*/ 0 h 694"/>
                <a:gd name="T20" fmla="*/ 0 w 993"/>
                <a:gd name="T21" fmla="*/ 48 h 694"/>
                <a:gd name="T22" fmla="*/ 6 w 993"/>
                <a:gd name="T23" fmla="*/ 76 h 694"/>
                <a:gd name="T24" fmla="*/ 212 w 993"/>
                <a:gd name="T25" fmla="*/ 648 h 694"/>
                <a:gd name="T26" fmla="*/ 268 w 993"/>
                <a:gd name="T27" fmla="*/ 694 h 694"/>
                <a:gd name="T28" fmla="*/ 271 w 993"/>
                <a:gd name="T29" fmla="*/ 694 h 694"/>
                <a:gd name="T30" fmla="*/ 326 w 993"/>
                <a:gd name="T31" fmla="*/ 648 h 694"/>
                <a:gd name="T32" fmla="*/ 496 w 993"/>
                <a:gd name="T33" fmla="*/ 154 h 694"/>
                <a:gd name="T34" fmla="*/ 665 w 993"/>
                <a:gd name="T35" fmla="*/ 648 h 694"/>
                <a:gd name="T36" fmla="*/ 720 w 993"/>
                <a:gd name="T37" fmla="*/ 694 h 694"/>
                <a:gd name="T38" fmla="*/ 724 w 993"/>
                <a:gd name="T39" fmla="*/ 694 h 694"/>
                <a:gd name="T40" fmla="*/ 779 w 993"/>
                <a:gd name="T41" fmla="*/ 648 h 694"/>
                <a:gd name="T42" fmla="*/ 986 w 993"/>
                <a:gd name="T43" fmla="*/ 74 h 694"/>
                <a:gd name="T44" fmla="*/ 993 w 993"/>
                <a:gd name="T45" fmla="*/ 47 h 694"/>
                <a:gd name="T46" fmla="*/ 943 w 993"/>
                <a:gd name="T47" fmla="*/ 0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93" h="694">
                  <a:moveTo>
                    <a:pt x="943" y="0"/>
                  </a:moveTo>
                  <a:cubicBezTo>
                    <a:pt x="915" y="0"/>
                    <a:pt x="901" y="18"/>
                    <a:pt x="894" y="39"/>
                  </a:cubicBezTo>
                  <a:cubicBezTo>
                    <a:pt x="721" y="550"/>
                    <a:pt x="721" y="550"/>
                    <a:pt x="721" y="550"/>
                  </a:cubicBezTo>
                  <a:cubicBezTo>
                    <a:pt x="551" y="40"/>
                    <a:pt x="551" y="40"/>
                    <a:pt x="551" y="40"/>
                  </a:cubicBezTo>
                  <a:cubicBezTo>
                    <a:pt x="543" y="17"/>
                    <a:pt x="526" y="0"/>
                    <a:pt x="499" y="0"/>
                  </a:cubicBezTo>
                  <a:cubicBezTo>
                    <a:pt x="494" y="0"/>
                    <a:pt x="494" y="0"/>
                    <a:pt x="494" y="0"/>
                  </a:cubicBezTo>
                  <a:cubicBezTo>
                    <a:pt x="467" y="0"/>
                    <a:pt x="452" y="17"/>
                    <a:pt x="444" y="40"/>
                  </a:cubicBezTo>
                  <a:cubicBezTo>
                    <a:pt x="272" y="550"/>
                    <a:pt x="272" y="550"/>
                    <a:pt x="272" y="550"/>
                  </a:cubicBezTo>
                  <a:cubicBezTo>
                    <a:pt x="102" y="42"/>
                    <a:pt x="102" y="42"/>
                    <a:pt x="102" y="42"/>
                  </a:cubicBezTo>
                  <a:cubicBezTo>
                    <a:pt x="94" y="17"/>
                    <a:pt x="77" y="0"/>
                    <a:pt x="51" y="0"/>
                  </a:cubicBezTo>
                  <a:cubicBezTo>
                    <a:pt x="21" y="0"/>
                    <a:pt x="0" y="23"/>
                    <a:pt x="0" y="48"/>
                  </a:cubicBezTo>
                  <a:cubicBezTo>
                    <a:pt x="0" y="57"/>
                    <a:pt x="4" y="68"/>
                    <a:pt x="6" y="76"/>
                  </a:cubicBezTo>
                  <a:cubicBezTo>
                    <a:pt x="212" y="648"/>
                    <a:pt x="212" y="648"/>
                    <a:pt x="212" y="648"/>
                  </a:cubicBezTo>
                  <a:cubicBezTo>
                    <a:pt x="222" y="678"/>
                    <a:pt x="243" y="694"/>
                    <a:pt x="268" y="694"/>
                  </a:cubicBezTo>
                  <a:cubicBezTo>
                    <a:pt x="271" y="694"/>
                    <a:pt x="271" y="694"/>
                    <a:pt x="271" y="694"/>
                  </a:cubicBezTo>
                  <a:cubicBezTo>
                    <a:pt x="297" y="694"/>
                    <a:pt x="317" y="678"/>
                    <a:pt x="326" y="648"/>
                  </a:cubicBezTo>
                  <a:cubicBezTo>
                    <a:pt x="496" y="154"/>
                    <a:pt x="496" y="154"/>
                    <a:pt x="496" y="154"/>
                  </a:cubicBezTo>
                  <a:cubicBezTo>
                    <a:pt x="665" y="648"/>
                    <a:pt x="665" y="648"/>
                    <a:pt x="665" y="648"/>
                  </a:cubicBezTo>
                  <a:cubicBezTo>
                    <a:pt x="674" y="678"/>
                    <a:pt x="694" y="694"/>
                    <a:pt x="720" y="694"/>
                  </a:cubicBezTo>
                  <a:cubicBezTo>
                    <a:pt x="724" y="694"/>
                    <a:pt x="724" y="694"/>
                    <a:pt x="724" y="694"/>
                  </a:cubicBezTo>
                  <a:cubicBezTo>
                    <a:pt x="748" y="694"/>
                    <a:pt x="769" y="678"/>
                    <a:pt x="779" y="648"/>
                  </a:cubicBezTo>
                  <a:cubicBezTo>
                    <a:pt x="986" y="74"/>
                    <a:pt x="986" y="74"/>
                    <a:pt x="986" y="74"/>
                  </a:cubicBezTo>
                  <a:cubicBezTo>
                    <a:pt x="989" y="67"/>
                    <a:pt x="993" y="56"/>
                    <a:pt x="993" y="47"/>
                  </a:cubicBezTo>
                  <a:cubicBezTo>
                    <a:pt x="993" y="22"/>
                    <a:pt x="972" y="0"/>
                    <a:pt x="943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17" name="Freeform 6"/>
            <p:cNvSpPr>
              <a:spLocks noEditPoints="1"/>
            </p:cNvSpPr>
            <p:nvPr/>
          </p:nvSpPr>
          <p:spPr bwMode="auto">
            <a:xfrm>
              <a:off x="1720" y="5111"/>
              <a:ext cx="417" cy="437"/>
            </a:xfrm>
            <a:custGeom>
              <a:avLst/>
              <a:gdLst>
                <a:gd name="T0" fmla="*/ 340 w 678"/>
                <a:gd name="T1" fmla="*/ 0 h 707"/>
                <a:gd name="T2" fmla="*/ 0 w 678"/>
                <a:gd name="T3" fmla="*/ 354 h 707"/>
                <a:gd name="T4" fmla="*/ 0 w 678"/>
                <a:gd name="T5" fmla="*/ 356 h 707"/>
                <a:gd name="T6" fmla="*/ 337 w 678"/>
                <a:gd name="T7" fmla="*/ 707 h 707"/>
                <a:gd name="T8" fmla="*/ 678 w 678"/>
                <a:gd name="T9" fmla="*/ 354 h 707"/>
                <a:gd name="T10" fmla="*/ 678 w 678"/>
                <a:gd name="T11" fmla="*/ 351 h 707"/>
                <a:gd name="T12" fmla="*/ 340 w 678"/>
                <a:gd name="T13" fmla="*/ 0 h 707"/>
                <a:gd name="T14" fmla="*/ 575 w 678"/>
                <a:gd name="T15" fmla="*/ 356 h 707"/>
                <a:gd name="T16" fmla="*/ 340 w 678"/>
                <a:gd name="T17" fmla="*/ 631 h 707"/>
                <a:gd name="T18" fmla="*/ 103 w 678"/>
                <a:gd name="T19" fmla="*/ 354 h 707"/>
                <a:gd name="T20" fmla="*/ 103 w 678"/>
                <a:gd name="T21" fmla="*/ 351 h 707"/>
                <a:gd name="T22" fmla="*/ 337 w 678"/>
                <a:gd name="T23" fmla="*/ 75 h 707"/>
                <a:gd name="T24" fmla="*/ 575 w 678"/>
                <a:gd name="T25" fmla="*/ 354 h 707"/>
                <a:gd name="T26" fmla="*/ 575 w 678"/>
                <a:gd name="T27" fmla="*/ 356 h 7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78" h="707">
                  <a:moveTo>
                    <a:pt x="340" y="0"/>
                  </a:moveTo>
                  <a:cubicBezTo>
                    <a:pt x="135" y="0"/>
                    <a:pt x="0" y="162"/>
                    <a:pt x="0" y="354"/>
                  </a:cubicBezTo>
                  <a:cubicBezTo>
                    <a:pt x="0" y="356"/>
                    <a:pt x="0" y="356"/>
                    <a:pt x="0" y="356"/>
                  </a:cubicBezTo>
                  <a:cubicBezTo>
                    <a:pt x="0" y="548"/>
                    <a:pt x="134" y="707"/>
                    <a:pt x="337" y="707"/>
                  </a:cubicBezTo>
                  <a:cubicBezTo>
                    <a:pt x="541" y="707"/>
                    <a:pt x="678" y="545"/>
                    <a:pt x="678" y="354"/>
                  </a:cubicBezTo>
                  <a:cubicBezTo>
                    <a:pt x="678" y="351"/>
                    <a:pt x="678" y="351"/>
                    <a:pt x="678" y="351"/>
                  </a:cubicBezTo>
                  <a:cubicBezTo>
                    <a:pt x="678" y="160"/>
                    <a:pt x="543" y="0"/>
                    <a:pt x="340" y="0"/>
                  </a:cubicBezTo>
                  <a:moveTo>
                    <a:pt x="575" y="356"/>
                  </a:moveTo>
                  <a:cubicBezTo>
                    <a:pt x="575" y="499"/>
                    <a:pt x="486" y="631"/>
                    <a:pt x="340" y="631"/>
                  </a:cubicBezTo>
                  <a:cubicBezTo>
                    <a:pt x="197" y="631"/>
                    <a:pt x="103" y="499"/>
                    <a:pt x="103" y="354"/>
                  </a:cubicBezTo>
                  <a:cubicBezTo>
                    <a:pt x="103" y="351"/>
                    <a:pt x="103" y="351"/>
                    <a:pt x="103" y="351"/>
                  </a:cubicBezTo>
                  <a:cubicBezTo>
                    <a:pt x="103" y="208"/>
                    <a:pt x="190" y="75"/>
                    <a:pt x="337" y="75"/>
                  </a:cubicBezTo>
                  <a:cubicBezTo>
                    <a:pt x="480" y="75"/>
                    <a:pt x="575" y="208"/>
                    <a:pt x="575" y="354"/>
                  </a:cubicBezTo>
                  <a:lnTo>
                    <a:pt x="575" y="3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18" name="Freeform 7"/>
            <p:cNvSpPr>
              <a:spLocks/>
            </p:cNvSpPr>
            <p:nvPr/>
          </p:nvSpPr>
          <p:spPr bwMode="auto">
            <a:xfrm>
              <a:off x="2198" y="5115"/>
              <a:ext cx="236" cy="428"/>
            </a:xfrm>
            <a:custGeom>
              <a:avLst/>
              <a:gdLst>
                <a:gd name="T0" fmla="*/ 334 w 384"/>
                <a:gd name="T1" fmla="*/ 0 h 693"/>
                <a:gd name="T2" fmla="*/ 101 w 384"/>
                <a:gd name="T3" fmla="*/ 181 h 693"/>
                <a:gd name="T4" fmla="*/ 101 w 384"/>
                <a:gd name="T5" fmla="*/ 54 h 693"/>
                <a:gd name="T6" fmla="*/ 50 w 384"/>
                <a:gd name="T7" fmla="*/ 3 h 693"/>
                <a:gd name="T8" fmla="*/ 0 w 384"/>
                <a:gd name="T9" fmla="*/ 54 h 693"/>
                <a:gd name="T10" fmla="*/ 0 w 384"/>
                <a:gd name="T11" fmla="*/ 642 h 693"/>
                <a:gd name="T12" fmla="*/ 51 w 384"/>
                <a:gd name="T13" fmla="*/ 693 h 693"/>
                <a:gd name="T14" fmla="*/ 101 w 384"/>
                <a:gd name="T15" fmla="*/ 642 h 693"/>
                <a:gd name="T16" fmla="*/ 101 w 384"/>
                <a:gd name="T17" fmla="*/ 412 h 693"/>
                <a:gd name="T18" fmla="*/ 339 w 384"/>
                <a:gd name="T19" fmla="*/ 102 h 693"/>
                <a:gd name="T20" fmla="*/ 384 w 384"/>
                <a:gd name="T21" fmla="*/ 51 h 693"/>
                <a:gd name="T22" fmla="*/ 334 w 384"/>
                <a:gd name="T23" fmla="*/ 0 h 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4" h="693">
                  <a:moveTo>
                    <a:pt x="334" y="0"/>
                  </a:moveTo>
                  <a:cubicBezTo>
                    <a:pt x="249" y="0"/>
                    <a:pt x="151" y="68"/>
                    <a:pt x="101" y="181"/>
                  </a:cubicBezTo>
                  <a:cubicBezTo>
                    <a:pt x="101" y="54"/>
                    <a:pt x="101" y="54"/>
                    <a:pt x="101" y="54"/>
                  </a:cubicBezTo>
                  <a:cubicBezTo>
                    <a:pt x="101" y="25"/>
                    <a:pt x="79" y="3"/>
                    <a:pt x="50" y="3"/>
                  </a:cubicBezTo>
                  <a:cubicBezTo>
                    <a:pt x="22" y="3"/>
                    <a:pt x="0" y="26"/>
                    <a:pt x="0" y="54"/>
                  </a:cubicBezTo>
                  <a:cubicBezTo>
                    <a:pt x="0" y="642"/>
                    <a:pt x="0" y="642"/>
                    <a:pt x="0" y="642"/>
                  </a:cubicBezTo>
                  <a:cubicBezTo>
                    <a:pt x="0" y="671"/>
                    <a:pt x="22" y="693"/>
                    <a:pt x="51" y="693"/>
                  </a:cubicBezTo>
                  <a:cubicBezTo>
                    <a:pt x="80" y="693"/>
                    <a:pt x="101" y="670"/>
                    <a:pt x="101" y="642"/>
                  </a:cubicBezTo>
                  <a:cubicBezTo>
                    <a:pt x="101" y="412"/>
                    <a:pt x="101" y="412"/>
                    <a:pt x="101" y="412"/>
                  </a:cubicBezTo>
                  <a:cubicBezTo>
                    <a:pt x="101" y="216"/>
                    <a:pt x="208" y="118"/>
                    <a:pt x="339" y="102"/>
                  </a:cubicBezTo>
                  <a:cubicBezTo>
                    <a:pt x="365" y="98"/>
                    <a:pt x="384" y="79"/>
                    <a:pt x="384" y="51"/>
                  </a:cubicBezTo>
                  <a:cubicBezTo>
                    <a:pt x="384" y="22"/>
                    <a:pt x="364" y="0"/>
                    <a:pt x="33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19" name="Freeform 8"/>
            <p:cNvSpPr>
              <a:spLocks/>
            </p:cNvSpPr>
            <p:nvPr/>
          </p:nvSpPr>
          <p:spPr bwMode="auto">
            <a:xfrm>
              <a:off x="2500" y="4944"/>
              <a:ext cx="63" cy="599"/>
            </a:xfrm>
            <a:custGeom>
              <a:avLst/>
              <a:gdLst>
                <a:gd name="T0" fmla="*/ 49 w 101"/>
                <a:gd name="T1" fmla="*/ 0 h 969"/>
                <a:gd name="T2" fmla="*/ 0 w 101"/>
                <a:gd name="T3" fmla="*/ 51 h 969"/>
                <a:gd name="T4" fmla="*/ 0 w 101"/>
                <a:gd name="T5" fmla="*/ 918 h 969"/>
                <a:gd name="T6" fmla="*/ 51 w 101"/>
                <a:gd name="T7" fmla="*/ 969 h 969"/>
                <a:gd name="T8" fmla="*/ 101 w 101"/>
                <a:gd name="T9" fmla="*/ 918 h 969"/>
                <a:gd name="T10" fmla="*/ 101 w 101"/>
                <a:gd name="T11" fmla="*/ 51 h 969"/>
                <a:gd name="T12" fmla="*/ 49 w 101"/>
                <a:gd name="T13" fmla="*/ 0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" h="969">
                  <a:moveTo>
                    <a:pt x="49" y="0"/>
                  </a:moveTo>
                  <a:cubicBezTo>
                    <a:pt x="22" y="0"/>
                    <a:pt x="0" y="23"/>
                    <a:pt x="0" y="51"/>
                  </a:cubicBezTo>
                  <a:cubicBezTo>
                    <a:pt x="0" y="918"/>
                    <a:pt x="0" y="918"/>
                    <a:pt x="0" y="918"/>
                  </a:cubicBezTo>
                  <a:cubicBezTo>
                    <a:pt x="0" y="947"/>
                    <a:pt x="22" y="969"/>
                    <a:pt x="51" y="969"/>
                  </a:cubicBezTo>
                  <a:cubicBezTo>
                    <a:pt x="80" y="969"/>
                    <a:pt x="101" y="947"/>
                    <a:pt x="101" y="918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3"/>
                    <a:pt x="78" y="0"/>
                    <a:pt x="4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20" name="Freeform 9"/>
            <p:cNvSpPr>
              <a:spLocks noEditPoints="1"/>
            </p:cNvSpPr>
            <p:nvPr/>
          </p:nvSpPr>
          <p:spPr bwMode="auto">
            <a:xfrm>
              <a:off x="2626" y="4944"/>
              <a:ext cx="421" cy="604"/>
            </a:xfrm>
            <a:custGeom>
              <a:avLst/>
              <a:gdLst>
                <a:gd name="T0" fmla="*/ 633 w 684"/>
                <a:gd name="T1" fmla="*/ 0 h 977"/>
                <a:gd name="T2" fmla="*/ 583 w 684"/>
                <a:gd name="T3" fmla="*/ 51 h 977"/>
                <a:gd name="T4" fmla="*/ 583 w 684"/>
                <a:gd name="T5" fmla="*/ 415 h 977"/>
                <a:gd name="T6" fmla="*/ 324 w 684"/>
                <a:gd name="T7" fmla="*/ 271 h 977"/>
                <a:gd name="T8" fmla="*/ 0 w 684"/>
                <a:gd name="T9" fmla="*/ 623 h 977"/>
                <a:gd name="T10" fmla="*/ 0 w 684"/>
                <a:gd name="T11" fmla="*/ 626 h 977"/>
                <a:gd name="T12" fmla="*/ 324 w 684"/>
                <a:gd name="T13" fmla="*/ 977 h 977"/>
                <a:gd name="T14" fmla="*/ 583 w 684"/>
                <a:gd name="T15" fmla="*/ 826 h 977"/>
                <a:gd name="T16" fmla="*/ 583 w 684"/>
                <a:gd name="T17" fmla="*/ 918 h 977"/>
                <a:gd name="T18" fmla="*/ 634 w 684"/>
                <a:gd name="T19" fmla="*/ 969 h 977"/>
                <a:gd name="T20" fmla="*/ 684 w 684"/>
                <a:gd name="T21" fmla="*/ 918 h 977"/>
                <a:gd name="T22" fmla="*/ 684 w 684"/>
                <a:gd name="T23" fmla="*/ 51 h 977"/>
                <a:gd name="T24" fmla="*/ 633 w 684"/>
                <a:gd name="T25" fmla="*/ 0 h 977"/>
                <a:gd name="T26" fmla="*/ 587 w 684"/>
                <a:gd name="T27" fmla="*/ 625 h 977"/>
                <a:gd name="T28" fmla="*/ 342 w 684"/>
                <a:gd name="T29" fmla="*/ 887 h 977"/>
                <a:gd name="T30" fmla="*/ 104 w 684"/>
                <a:gd name="T31" fmla="*/ 625 h 977"/>
                <a:gd name="T32" fmla="*/ 104 w 684"/>
                <a:gd name="T33" fmla="*/ 622 h 977"/>
                <a:gd name="T34" fmla="*/ 342 w 684"/>
                <a:gd name="T35" fmla="*/ 361 h 977"/>
                <a:gd name="T36" fmla="*/ 587 w 684"/>
                <a:gd name="T37" fmla="*/ 622 h 977"/>
                <a:gd name="T38" fmla="*/ 587 w 684"/>
                <a:gd name="T39" fmla="*/ 625 h 9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84" h="977">
                  <a:moveTo>
                    <a:pt x="633" y="0"/>
                  </a:moveTo>
                  <a:cubicBezTo>
                    <a:pt x="604" y="0"/>
                    <a:pt x="583" y="22"/>
                    <a:pt x="583" y="51"/>
                  </a:cubicBezTo>
                  <a:cubicBezTo>
                    <a:pt x="583" y="415"/>
                    <a:pt x="583" y="415"/>
                    <a:pt x="583" y="415"/>
                  </a:cubicBezTo>
                  <a:cubicBezTo>
                    <a:pt x="531" y="339"/>
                    <a:pt x="450" y="271"/>
                    <a:pt x="324" y="271"/>
                  </a:cubicBezTo>
                  <a:cubicBezTo>
                    <a:pt x="161" y="271"/>
                    <a:pt x="0" y="402"/>
                    <a:pt x="0" y="623"/>
                  </a:cubicBezTo>
                  <a:cubicBezTo>
                    <a:pt x="0" y="626"/>
                    <a:pt x="0" y="626"/>
                    <a:pt x="0" y="626"/>
                  </a:cubicBezTo>
                  <a:cubicBezTo>
                    <a:pt x="0" y="849"/>
                    <a:pt x="161" y="977"/>
                    <a:pt x="324" y="977"/>
                  </a:cubicBezTo>
                  <a:cubicBezTo>
                    <a:pt x="448" y="977"/>
                    <a:pt x="528" y="908"/>
                    <a:pt x="583" y="826"/>
                  </a:cubicBezTo>
                  <a:cubicBezTo>
                    <a:pt x="583" y="918"/>
                    <a:pt x="583" y="918"/>
                    <a:pt x="583" y="918"/>
                  </a:cubicBezTo>
                  <a:cubicBezTo>
                    <a:pt x="583" y="947"/>
                    <a:pt x="605" y="969"/>
                    <a:pt x="634" y="969"/>
                  </a:cubicBezTo>
                  <a:cubicBezTo>
                    <a:pt x="662" y="969"/>
                    <a:pt x="684" y="947"/>
                    <a:pt x="684" y="918"/>
                  </a:cubicBezTo>
                  <a:cubicBezTo>
                    <a:pt x="684" y="51"/>
                    <a:pt x="684" y="51"/>
                    <a:pt x="684" y="51"/>
                  </a:cubicBezTo>
                  <a:cubicBezTo>
                    <a:pt x="684" y="22"/>
                    <a:pt x="662" y="0"/>
                    <a:pt x="633" y="0"/>
                  </a:cubicBezTo>
                  <a:moveTo>
                    <a:pt x="587" y="625"/>
                  </a:moveTo>
                  <a:cubicBezTo>
                    <a:pt x="587" y="780"/>
                    <a:pt x="468" y="887"/>
                    <a:pt x="342" y="887"/>
                  </a:cubicBezTo>
                  <a:cubicBezTo>
                    <a:pt x="215" y="887"/>
                    <a:pt x="104" y="784"/>
                    <a:pt x="104" y="625"/>
                  </a:cubicBezTo>
                  <a:cubicBezTo>
                    <a:pt x="104" y="622"/>
                    <a:pt x="104" y="622"/>
                    <a:pt x="104" y="622"/>
                  </a:cubicBezTo>
                  <a:cubicBezTo>
                    <a:pt x="104" y="458"/>
                    <a:pt x="211" y="361"/>
                    <a:pt x="342" y="361"/>
                  </a:cubicBezTo>
                  <a:cubicBezTo>
                    <a:pt x="468" y="361"/>
                    <a:pt x="587" y="466"/>
                    <a:pt x="587" y="622"/>
                  </a:cubicBezTo>
                  <a:lnTo>
                    <a:pt x="587" y="6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21" name="Freeform 10"/>
            <p:cNvSpPr>
              <a:spLocks/>
            </p:cNvSpPr>
            <p:nvPr/>
          </p:nvSpPr>
          <p:spPr bwMode="auto">
            <a:xfrm>
              <a:off x="-16" y="5101"/>
              <a:ext cx="1087" cy="447"/>
            </a:xfrm>
            <a:custGeom>
              <a:avLst/>
              <a:gdLst>
                <a:gd name="T0" fmla="*/ 1524 w 1764"/>
                <a:gd name="T1" fmla="*/ 13 h 724"/>
                <a:gd name="T2" fmla="*/ 1311 w 1764"/>
                <a:gd name="T3" fmla="*/ 104 h 724"/>
                <a:gd name="T4" fmla="*/ 1106 w 1764"/>
                <a:gd name="T5" fmla="*/ 13 h 724"/>
                <a:gd name="T6" fmla="*/ 904 w 1764"/>
                <a:gd name="T7" fmla="*/ 104 h 724"/>
                <a:gd name="T8" fmla="*/ 725 w 1764"/>
                <a:gd name="T9" fmla="*/ 13 h 724"/>
                <a:gd name="T10" fmla="*/ 508 w 1764"/>
                <a:gd name="T11" fmla="*/ 161 h 724"/>
                <a:gd name="T12" fmla="*/ 372 w 1764"/>
                <a:gd name="T13" fmla="*/ 482 h 724"/>
                <a:gd name="T14" fmla="*/ 197 w 1764"/>
                <a:gd name="T15" fmla="*/ 70 h 724"/>
                <a:gd name="T16" fmla="*/ 70 w 1764"/>
                <a:gd name="T17" fmla="*/ 22 h 724"/>
                <a:gd name="T18" fmla="*/ 23 w 1764"/>
                <a:gd name="T19" fmla="*/ 150 h 724"/>
                <a:gd name="T20" fmla="*/ 236 w 1764"/>
                <a:gd name="T21" fmla="*/ 613 h 724"/>
                <a:gd name="T22" fmla="*/ 372 w 1764"/>
                <a:gd name="T23" fmla="*/ 724 h 724"/>
                <a:gd name="T24" fmla="*/ 507 w 1764"/>
                <a:gd name="T25" fmla="*/ 613 h 724"/>
                <a:gd name="T26" fmla="*/ 695 w 1764"/>
                <a:gd name="T27" fmla="*/ 204 h 724"/>
                <a:gd name="T28" fmla="*/ 722 w 1764"/>
                <a:gd name="T29" fmla="*/ 187 h 724"/>
                <a:gd name="T30" fmla="*/ 751 w 1764"/>
                <a:gd name="T31" fmla="*/ 217 h 724"/>
                <a:gd name="T32" fmla="*/ 751 w 1764"/>
                <a:gd name="T33" fmla="*/ 613 h 724"/>
                <a:gd name="T34" fmla="*/ 850 w 1764"/>
                <a:gd name="T35" fmla="*/ 724 h 724"/>
                <a:gd name="T36" fmla="*/ 951 w 1764"/>
                <a:gd name="T37" fmla="*/ 613 h 724"/>
                <a:gd name="T38" fmla="*/ 951 w 1764"/>
                <a:gd name="T39" fmla="*/ 289 h 724"/>
                <a:gd name="T40" fmla="*/ 1056 w 1764"/>
                <a:gd name="T41" fmla="*/ 186 h 724"/>
                <a:gd name="T42" fmla="*/ 1158 w 1764"/>
                <a:gd name="T43" fmla="*/ 289 h 724"/>
                <a:gd name="T44" fmla="*/ 1158 w 1764"/>
                <a:gd name="T45" fmla="*/ 613 h 724"/>
                <a:gd name="T46" fmla="*/ 1257 w 1764"/>
                <a:gd name="T47" fmla="*/ 724 h 724"/>
                <a:gd name="T48" fmla="*/ 1358 w 1764"/>
                <a:gd name="T49" fmla="*/ 613 h 724"/>
                <a:gd name="T50" fmla="*/ 1358 w 1764"/>
                <a:gd name="T51" fmla="*/ 289 h 724"/>
                <a:gd name="T52" fmla="*/ 1463 w 1764"/>
                <a:gd name="T53" fmla="*/ 186 h 724"/>
                <a:gd name="T54" fmla="*/ 1565 w 1764"/>
                <a:gd name="T55" fmla="*/ 289 h 724"/>
                <a:gd name="T56" fmla="*/ 1565 w 1764"/>
                <a:gd name="T57" fmla="*/ 613 h 724"/>
                <a:gd name="T58" fmla="*/ 1664 w 1764"/>
                <a:gd name="T59" fmla="*/ 724 h 724"/>
                <a:gd name="T60" fmla="*/ 1764 w 1764"/>
                <a:gd name="T61" fmla="*/ 613 h 724"/>
                <a:gd name="T62" fmla="*/ 1764 w 1764"/>
                <a:gd name="T63" fmla="*/ 244 h 724"/>
                <a:gd name="T64" fmla="*/ 1524 w 1764"/>
                <a:gd name="T65" fmla="*/ 13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64" h="724">
                  <a:moveTo>
                    <a:pt x="1524" y="13"/>
                  </a:moveTo>
                  <a:cubicBezTo>
                    <a:pt x="1393" y="13"/>
                    <a:pt x="1311" y="104"/>
                    <a:pt x="1311" y="104"/>
                  </a:cubicBezTo>
                  <a:cubicBezTo>
                    <a:pt x="1267" y="47"/>
                    <a:pt x="1207" y="13"/>
                    <a:pt x="1106" y="13"/>
                  </a:cubicBezTo>
                  <a:cubicBezTo>
                    <a:pt x="998" y="13"/>
                    <a:pt x="904" y="104"/>
                    <a:pt x="904" y="104"/>
                  </a:cubicBezTo>
                  <a:cubicBezTo>
                    <a:pt x="861" y="47"/>
                    <a:pt x="786" y="13"/>
                    <a:pt x="725" y="13"/>
                  </a:cubicBezTo>
                  <a:cubicBezTo>
                    <a:pt x="630" y="13"/>
                    <a:pt x="554" y="55"/>
                    <a:pt x="508" y="161"/>
                  </a:cubicBezTo>
                  <a:cubicBezTo>
                    <a:pt x="372" y="482"/>
                    <a:pt x="372" y="482"/>
                    <a:pt x="372" y="482"/>
                  </a:cubicBezTo>
                  <a:cubicBezTo>
                    <a:pt x="197" y="70"/>
                    <a:pt x="197" y="70"/>
                    <a:pt x="197" y="70"/>
                  </a:cubicBezTo>
                  <a:cubicBezTo>
                    <a:pt x="175" y="22"/>
                    <a:pt x="121" y="0"/>
                    <a:pt x="70" y="22"/>
                  </a:cubicBezTo>
                  <a:cubicBezTo>
                    <a:pt x="19" y="45"/>
                    <a:pt x="0" y="101"/>
                    <a:pt x="23" y="150"/>
                  </a:cubicBezTo>
                  <a:cubicBezTo>
                    <a:pt x="236" y="613"/>
                    <a:pt x="236" y="613"/>
                    <a:pt x="236" y="613"/>
                  </a:cubicBezTo>
                  <a:cubicBezTo>
                    <a:pt x="270" y="686"/>
                    <a:pt x="305" y="724"/>
                    <a:pt x="372" y="724"/>
                  </a:cubicBezTo>
                  <a:cubicBezTo>
                    <a:pt x="443" y="724"/>
                    <a:pt x="474" y="683"/>
                    <a:pt x="507" y="613"/>
                  </a:cubicBezTo>
                  <a:cubicBezTo>
                    <a:pt x="507" y="613"/>
                    <a:pt x="693" y="208"/>
                    <a:pt x="695" y="204"/>
                  </a:cubicBezTo>
                  <a:cubicBezTo>
                    <a:pt x="697" y="200"/>
                    <a:pt x="703" y="186"/>
                    <a:pt x="722" y="187"/>
                  </a:cubicBezTo>
                  <a:cubicBezTo>
                    <a:pt x="738" y="187"/>
                    <a:pt x="751" y="199"/>
                    <a:pt x="751" y="217"/>
                  </a:cubicBezTo>
                  <a:cubicBezTo>
                    <a:pt x="751" y="613"/>
                    <a:pt x="751" y="613"/>
                    <a:pt x="751" y="613"/>
                  </a:cubicBezTo>
                  <a:cubicBezTo>
                    <a:pt x="751" y="674"/>
                    <a:pt x="785" y="724"/>
                    <a:pt x="850" y="724"/>
                  </a:cubicBezTo>
                  <a:cubicBezTo>
                    <a:pt x="915" y="724"/>
                    <a:pt x="951" y="674"/>
                    <a:pt x="951" y="613"/>
                  </a:cubicBezTo>
                  <a:cubicBezTo>
                    <a:pt x="951" y="289"/>
                    <a:pt x="951" y="289"/>
                    <a:pt x="951" y="289"/>
                  </a:cubicBezTo>
                  <a:cubicBezTo>
                    <a:pt x="951" y="226"/>
                    <a:pt x="995" y="186"/>
                    <a:pt x="1056" y="186"/>
                  </a:cubicBezTo>
                  <a:cubicBezTo>
                    <a:pt x="1118" y="186"/>
                    <a:pt x="1158" y="228"/>
                    <a:pt x="1158" y="289"/>
                  </a:cubicBezTo>
                  <a:cubicBezTo>
                    <a:pt x="1158" y="613"/>
                    <a:pt x="1158" y="613"/>
                    <a:pt x="1158" y="613"/>
                  </a:cubicBezTo>
                  <a:cubicBezTo>
                    <a:pt x="1158" y="674"/>
                    <a:pt x="1192" y="724"/>
                    <a:pt x="1257" y="724"/>
                  </a:cubicBezTo>
                  <a:cubicBezTo>
                    <a:pt x="1322" y="724"/>
                    <a:pt x="1358" y="674"/>
                    <a:pt x="1358" y="613"/>
                  </a:cubicBezTo>
                  <a:cubicBezTo>
                    <a:pt x="1358" y="289"/>
                    <a:pt x="1358" y="289"/>
                    <a:pt x="1358" y="289"/>
                  </a:cubicBezTo>
                  <a:cubicBezTo>
                    <a:pt x="1358" y="226"/>
                    <a:pt x="1402" y="186"/>
                    <a:pt x="1463" y="186"/>
                  </a:cubicBezTo>
                  <a:cubicBezTo>
                    <a:pt x="1524" y="186"/>
                    <a:pt x="1565" y="228"/>
                    <a:pt x="1565" y="289"/>
                  </a:cubicBezTo>
                  <a:cubicBezTo>
                    <a:pt x="1565" y="613"/>
                    <a:pt x="1565" y="613"/>
                    <a:pt x="1565" y="613"/>
                  </a:cubicBezTo>
                  <a:cubicBezTo>
                    <a:pt x="1565" y="674"/>
                    <a:pt x="1599" y="724"/>
                    <a:pt x="1664" y="724"/>
                  </a:cubicBezTo>
                  <a:cubicBezTo>
                    <a:pt x="1729" y="724"/>
                    <a:pt x="1764" y="674"/>
                    <a:pt x="1764" y="613"/>
                  </a:cubicBezTo>
                  <a:cubicBezTo>
                    <a:pt x="1764" y="244"/>
                    <a:pt x="1764" y="244"/>
                    <a:pt x="1764" y="244"/>
                  </a:cubicBezTo>
                  <a:cubicBezTo>
                    <a:pt x="1764" y="108"/>
                    <a:pt x="1655" y="13"/>
                    <a:pt x="1524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22" name="Freeform 11"/>
            <p:cNvSpPr>
              <a:spLocks noEditPoints="1"/>
            </p:cNvSpPr>
            <p:nvPr/>
          </p:nvSpPr>
          <p:spPr bwMode="auto">
            <a:xfrm>
              <a:off x="3104" y="4944"/>
              <a:ext cx="103" cy="103"/>
            </a:xfrm>
            <a:custGeom>
              <a:avLst/>
              <a:gdLst>
                <a:gd name="T0" fmla="*/ 0 w 167"/>
                <a:gd name="T1" fmla="*/ 84 h 167"/>
                <a:gd name="T2" fmla="*/ 0 w 167"/>
                <a:gd name="T3" fmla="*/ 83 h 167"/>
                <a:gd name="T4" fmla="*/ 84 w 167"/>
                <a:gd name="T5" fmla="*/ 0 h 167"/>
                <a:gd name="T6" fmla="*/ 167 w 167"/>
                <a:gd name="T7" fmla="*/ 83 h 167"/>
                <a:gd name="T8" fmla="*/ 167 w 167"/>
                <a:gd name="T9" fmla="*/ 83 h 167"/>
                <a:gd name="T10" fmla="*/ 84 w 167"/>
                <a:gd name="T11" fmla="*/ 167 h 167"/>
                <a:gd name="T12" fmla="*/ 0 w 167"/>
                <a:gd name="T13" fmla="*/ 84 h 167"/>
                <a:gd name="T14" fmla="*/ 151 w 167"/>
                <a:gd name="T15" fmla="*/ 83 h 167"/>
                <a:gd name="T16" fmla="*/ 151 w 167"/>
                <a:gd name="T17" fmla="*/ 83 h 167"/>
                <a:gd name="T18" fmla="*/ 84 w 167"/>
                <a:gd name="T19" fmla="*/ 15 h 167"/>
                <a:gd name="T20" fmla="*/ 16 w 167"/>
                <a:gd name="T21" fmla="*/ 83 h 167"/>
                <a:gd name="T22" fmla="*/ 16 w 167"/>
                <a:gd name="T23" fmla="*/ 84 h 167"/>
                <a:gd name="T24" fmla="*/ 84 w 167"/>
                <a:gd name="T25" fmla="*/ 152 h 167"/>
                <a:gd name="T26" fmla="*/ 151 w 167"/>
                <a:gd name="T27" fmla="*/ 83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7" h="167">
                  <a:moveTo>
                    <a:pt x="0" y="84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0" y="38"/>
                    <a:pt x="37" y="0"/>
                    <a:pt x="84" y="0"/>
                  </a:cubicBezTo>
                  <a:cubicBezTo>
                    <a:pt x="131" y="0"/>
                    <a:pt x="167" y="38"/>
                    <a:pt x="167" y="83"/>
                  </a:cubicBezTo>
                  <a:cubicBezTo>
                    <a:pt x="167" y="83"/>
                    <a:pt x="167" y="83"/>
                    <a:pt x="167" y="83"/>
                  </a:cubicBezTo>
                  <a:cubicBezTo>
                    <a:pt x="167" y="129"/>
                    <a:pt x="130" y="167"/>
                    <a:pt x="84" y="167"/>
                  </a:cubicBezTo>
                  <a:cubicBezTo>
                    <a:pt x="36" y="167"/>
                    <a:pt x="0" y="130"/>
                    <a:pt x="0" y="84"/>
                  </a:cubicBezTo>
                  <a:moveTo>
                    <a:pt x="151" y="83"/>
                  </a:moveTo>
                  <a:cubicBezTo>
                    <a:pt x="151" y="83"/>
                    <a:pt x="151" y="83"/>
                    <a:pt x="151" y="83"/>
                  </a:cubicBezTo>
                  <a:cubicBezTo>
                    <a:pt x="151" y="46"/>
                    <a:pt x="122" y="15"/>
                    <a:pt x="84" y="15"/>
                  </a:cubicBezTo>
                  <a:cubicBezTo>
                    <a:pt x="45" y="15"/>
                    <a:pt x="16" y="46"/>
                    <a:pt x="16" y="83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6" y="121"/>
                    <a:pt x="45" y="152"/>
                    <a:pt x="84" y="152"/>
                  </a:cubicBezTo>
                  <a:cubicBezTo>
                    <a:pt x="122" y="152"/>
                    <a:pt x="151" y="121"/>
                    <a:pt x="151" y="8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23" name="Freeform 12"/>
            <p:cNvSpPr>
              <a:spLocks noEditPoints="1"/>
            </p:cNvSpPr>
            <p:nvPr/>
          </p:nvSpPr>
          <p:spPr bwMode="auto">
            <a:xfrm>
              <a:off x="3136" y="4970"/>
              <a:ext cx="42" cy="50"/>
            </a:xfrm>
            <a:custGeom>
              <a:avLst/>
              <a:gdLst>
                <a:gd name="T0" fmla="*/ 0 w 67"/>
                <a:gd name="T1" fmla="*/ 9 h 81"/>
                <a:gd name="T2" fmla="*/ 9 w 67"/>
                <a:gd name="T3" fmla="*/ 0 h 81"/>
                <a:gd name="T4" fmla="*/ 36 w 67"/>
                <a:gd name="T5" fmla="*/ 0 h 81"/>
                <a:gd name="T6" fmla="*/ 60 w 67"/>
                <a:gd name="T7" fmla="*/ 8 h 81"/>
                <a:gd name="T8" fmla="*/ 67 w 67"/>
                <a:gd name="T9" fmla="*/ 26 h 81"/>
                <a:gd name="T10" fmla="*/ 67 w 67"/>
                <a:gd name="T11" fmla="*/ 27 h 81"/>
                <a:gd name="T12" fmla="*/ 51 w 67"/>
                <a:gd name="T13" fmla="*/ 51 h 81"/>
                <a:gd name="T14" fmla="*/ 63 w 67"/>
                <a:gd name="T15" fmla="*/ 66 h 81"/>
                <a:gd name="T16" fmla="*/ 66 w 67"/>
                <a:gd name="T17" fmla="*/ 73 h 81"/>
                <a:gd name="T18" fmla="*/ 58 w 67"/>
                <a:gd name="T19" fmla="*/ 81 h 81"/>
                <a:gd name="T20" fmla="*/ 49 w 67"/>
                <a:gd name="T21" fmla="*/ 76 h 81"/>
                <a:gd name="T22" fmla="*/ 32 w 67"/>
                <a:gd name="T23" fmla="*/ 55 h 81"/>
                <a:gd name="T24" fmla="*/ 17 w 67"/>
                <a:gd name="T25" fmla="*/ 55 h 81"/>
                <a:gd name="T26" fmla="*/ 17 w 67"/>
                <a:gd name="T27" fmla="*/ 72 h 81"/>
                <a:gd name="T28" fmla="*/ 9 w 67"/>
                <a:gd name="T29" fmla="*/ 81 h 81"/>
                <a:gd name="T30" fmla="*/ 0 w 67"/>
                <a:gd name="T31" fmla="*/ 72 h 81"/>
                <a:gd name="T32" fmla="*/ 0 w 67"/>
                <a:gd name="T33" fmla="*/ 9 h 81"/>
                <a:gd name="T34" fmla="*/ 35 w 67"/>
                <a:gd name="T35" fmla="*/ 39 h 81"/>
                <a:gd name="T36" fmla="*/ 49 w 67"/>
                <a:gd name="T37" fmla="*/ 27 h 81"/>
                <a:gd name="T38" fmla="*/ 49 w 67"/>
                <a:gd name="T39" fmla="*/ 27 h 81"/>
                <a:gd name="T40" fmla="*/ 35 w 67"/>
                <a:gd name="T41" fmla="*/ 16 h 81"/>
                <a:gd name="T42" fmla="*/ 17 w 67"/>
                <a:gd name="T43" fmla="*/ 16 h 81"/>
                <a:gd name="T44" fmla="*/ 17 w 67"/>
                <a:gd name="T45" fmla="*/ 39 h 81"/>
                <a:gd name="T46" fmla="*/ 35 w 67"/>
                <a:gd name="T47" fmla="*/ 39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7" h="81">
                  <a:moveTo>
                    <a:pt x="0" y="9"/>
                  </a:moveTo>
                  <a:cubicBezTo>
                    <a:pt x="0" y="4"/>
                    <a:pt x="4" y="0"/>
                    <a:pt x="9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47" y="0"/>
                    <a:pt x="55" y="3"/>
                    <a:pt x="60" y="8"/>
                  </a:cubicBezTo>
                  <a:cubicBezTo>
                    <a:pt x="65" y="12"/>
                    <a:pt x="67" y="19"/>
                    <a:pt x="67" y="26"/>
                  </a:cubicBezTo>
                  <a:cubicBezTo>
                    <a:pt x="67" y="27"/>
                    <a:pt x="67" y="27"/>
                    <a:pt x="67" y="27"/>
                  </a:cubicBezTo>
                  <a:cubicBezTo>
                    <a:pt x="67" y="39"/>
                    <a:pt x="61" y="47"/>
                    <a:pt x="51" y="51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5" y="68"/>
                    <a:pt x="66" y="70"/>
                    <a:pt x="66" y="73"/>
                  </a:cubicBezTo>
                  <a:cubicBezTo>
                    <a:pt x="66" y="78"/>
                    <a:pt x="62" y="81"/>
                    <a:pt x="58" y="81"/>
                  </a:cubicBezTo>
                  <a:cubicBezTo>
                    <a:pt x="54" y="81"/>
                    <a:pt x="51" y="79"/>
                    <a:pt x="49" y="76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17" y="55"/>
                    <a:pt x="17" y="55"/>
                    <a:pt x="17" y="55"/>
                  </a:cubicBezTo>
                  <a:cubicBezTo>
                    <a:pt x="17" y="72"/>
                    <a:pt x="17" y="72"/>
                    <a:pt x="17" y="72"/>
                  </a:cubicBezTo>
                  <a:cubicBezTo>
                    <a:pt x="17" y="77"/>
                    <a:pt x="14" y="81"/>
                    <a:pt x="9" y="81"/>
                  </a:cubicBezTo>
                  <a:cubicBezTo>
                    <a:pt x="4" y="81"/>
                    <a:pt x="0" y="77"/>
                    <a:pt x="0" y="72"/>
                  </a:cubicBezTo>
                  <a:lnTo>
                    <a:pt x="0" y="9"/>
                  </a:lnTo>
                  <a:close/>
                  <a:moveTo>
                    <a:pt x="35" y="39"/>
                  </a:moveTo>
                  <a:cubicBezTo>
                    <a:pt x="44" y="39"/>
                    <a:pt x="49" y="34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0"/>
                    <a:pt x="44" y="16"/>
                    <a:pt x="35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39"/>
                    <a:pt x="17" y="39"/>
                    <a:pt x="17" y="39"/>
                  </a:cubicBezTo>
                  <a:lnTo>
                    <a:pt x="35" y="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Metric 1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6492453" y="0"/>
            <a:ext cx="5699547" cy="6858000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322757" y="685800"/>
            <a:ext cx="4389120" cy="1676400"/>
          </a:xfrm>
        </p:spPr>
        <p:txBody>
          <a:bodyPr anchor="b"/>
          <a:lstStyle>
            <a:lvl1pPr marL="3168" indent="0">
              <a:spcBef>
                <a:spcPts val="0"/>
              </a:spcBef>
              <a:buNone/>
              <a:defRPr sz="10976">
                <a:solidFill>
                  <a:schemeClr val="accent3"/>
                </a:solidFill>
              </a:defRPr>
            </a:lvl1pPr>
            <a:lvl2pPr marL="3168" indent="0">
              <a:spcBef>
                <a:spcPts val="0"/>
              </a:spcBef>
              <a:buNone/>
              <a:defRPr sz="10976">
                <a:solidFill>
                  <a:schemeClr val="accent3"/>
                </a:solidFill>
              </a:defRPr>
            </a:lvl2pPr>
            <a:lvl3pPr marL="3168" indent="0">
              <a:spcBef>
                <a:spcPts val="0"/>
              </a:spcBef>
              <a:buNone/>
              <a:defRPr sz="10976">
                <a:solidFill>
                  <a:schemeClr val="accent3"/>
                </a:solidFill>
              </a:defRPr>
            </a:lvl3pPr>
            <a:lvl4pPr marL="3168" indent="0">
              <a:spcBef>
                <a:spcPts val="0"/>
              </a:spcBef>
              <a:buNone/>
              <a:defRPr sz="10976">
                <a:solidFill>
                  <a:schemeClr val="accent3"/>
                </a:solidFill>
              </a:defRPr>
            </a:lvl4pPr>
            <a:lvl5pPr marL="3168" indent="0">
              <a:spcBef>
                <a:spcPts val="0"/>
              </a:spcBef>
              <a:buNone/>
              <a:defRPr sz="10976">
                <a:solidFill>
                  <a:schemeClr val="accent3"/>
                </a:solidFill>
              </a:defRPr>
            </a:lvl5pPr>
            <a:lvl6pPr marL="3168" indent="0">
              <a:spcBef>
                <a:spcPts val="0"/>
              </a:spcBef>
              <a:buNone/>
              <a:defRPr sz="10976">
                <a:solidFill>
                  <a:schemeClr val="accent3"/>
                </a:solidFill>
              </a:defRPr>
            </a:lvl6pPr>
            <a:lvl7pPr marL="3168" indent="0">
              <a:spcBef>
                <a:spcPts val="0"/>
              </a:spcBef>
              <a:buNone/>
              <a:defRPr sz="10976">
                <a:solidFill>
                  <a:schemeClr val="accent3"/>
                </a:solidFill>
              </a:defRPr>
            </a:lvl7pPr>
            <a:lvl8pPr marL="3168" indent="0">
              <a:spcBef>
                <a:spcPts val="0"/>
              </a:spcBef>
              <a:buNone/>
              <a:defRPr sz="10976">
                <a:solidFill>
                  <a:schemeClr val="accent3"/>
                </a:solidFill>
              </a:defRPr>
            </a:lvl8pPr>
            <a:lvl9pPr marL="3168" indent="0">
              <a:spcBef>
                <a:spcPts val="0"/>
              </a:spcBef>
              <a:buNone/>
              <a:defRPr sz="10976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322757" y="2362200"/>
            <a:ext cx="4389120" cy="1066800"/>
          </a:xfrm>
        </p:spPr>
        <p:txBody>
          <a:bodyPr/>
          <a:lstStyle>
            <a:lvl1pPr marL="3168" indent="0">
              <a:spcBef>
                <a:spcPts val="0"/>
              </a:spcBef>
              <a:buNone/>
              <a:defRPr sz="2395" cap="none" baseline="0">
                <a:solidFill>
                  <a:schemeClr val="accent3"/>
                </a:solidFill>
              </a:defRPr>
            </a:lvl1pPr>
            <a:lvl2pPr marL="3168" indent="0">
              <a:spcBef>
                <a:spcPts val="0"/>
              </a:spcBef>
              <a:buNone/>
              <a:defRPr sz="1996" cap="all" baseline="0">
                <a:solidFill>
                  <a:schemeClr val="accent3"/>
                </a:solidFill>
              </a:defRPr>
            </a:lvl2pPr>
            <a:lvl3pPr marL="3168" indent="0">
              <a:spcBef>
                <a:spcPts val="0"/>
              </a:spcBef>
              <a:buNone/>
              <a:defRPr sz="1996" cap="all" baseline="0">
                <a:solidFill>
                  <a:schemeClr val="accent3"/>
                </a:solidFill>
              </a:defRPr>
            </a:lvl3pPr>
            <a:lvl4pPr marL="3168" indent="0">
              <a:spcBef>
                <a:spcPts val="0"/>
              </a:spcBef>
              <a:buNone/>
              <a:defRPr sz="1996" cap="all" baseline="0">
                <a:solidFill>
                  <a:schemeClr val="accent3"/>
                </a:solidFill>
              </a:defRPr>
            </a:lvl4pPr>
            <a:lvl5pPr marL="3168" indent="0">
              <a:spcBef>
                <a:spcPts val="0"/>
              </a:spcBef>
              <a:buNone/>
              <a:defRPr sz="1996" cap="all" baseline="0">
                <a:solidFill>
                  <a:schemeClr val="accent3"/>
                </a:solidFill>
              </a:defRPr>
            </a:lvl5pPr>
            <a:lvl6pPr marL="3168" indent="0">
              <a:spcBef>
                <a:spcPts val="0"/>
              </a:spcBef>
              <a:buNone/>
              <a:defRPr sz="1996" cap="all" baseline="0">
                <a:solidFill>
                  <a:schemeClr val="accent3"/>
                </a:solidFill>
              </a:defRPr>
            </a:lvl6pPr>
            <a:lvl7pPr marL="3168" indent="0">
              <a:spcBef>
                <a:spcPts val="0"/>
              </a:spcBef>
              <a:buNone/>
              <a:defRPr sz="1996" cap="all" baseline="0">
                <a:solidFill>
                  <a:schemeClr val="accent3"/>
                </a:solidFill>
              </a:defRPr>
            </a:lvl7pPr>
            <a:lvl8pPr marL="3168" indent="0">
              <a:spcBef>
                <a:spcPts val="0"/>
              </a:spcBef>
              <a:buNone/>
              <a:defRPr sz="1996" cap="all" baseline="0">
                <a:solidFill>
                  <a:schemeClr val="accent3"/>
                </a:solidFill>
              </a:defRPr>
            </a:lvl8pPr>
            <a:lvl9pPr marL="3168" indent="0">
              <a:spcBef>
                <a:spcPts val="0"/>
              </a:spcBef>
              <a:buNone/>
              <a:defRPr sz="1996" cap="all" baseline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3" name="Group 4"/>
          <p:cNvGrpSpPr>
            <a:grpSpLocks noChangeAspect="1"/>
          </p:cNvGrpSpPr>
          <p:nvPr/>
        </p:nvGrpSpPr>
        <p:grpSpPr bwMode="auto">
          <a:xfrm>
            <a:off x="615657" y="6376993"/>
            <a:ext cx="1294204" cy="242475"/>
            <a:chOff x="-16" y="4944"/>
            <a:chExt cx="3223" cy="604"/>
          </a:xfrm>
          <a:solidFill>
            <a:schemeClr val="tx1"/>
          </a:solidFill>
        </p:grpSpPr>
        <p:sp>
          <p:nvSpPr>
            <p:cNvPr id="15" name="Freeform 5"/>
            <p:cNvSpPr>
              <a:spLocks/>
            </p:cNvSpPr>
            <p:nvPr/>
          </p:nvSpPr>
          <p:spPr bwMode="auto">
            <a:xfrm>
              <a:off x="1098" y="5116"/>
              <a:ext cx="612" cy="429"/>
            </a:xfrm>
            <a:custGeom>
              <a:avLst/>
              <a:gdLst>
                <a:gd name="T0" fmla="*/ 943 w 993"/>
                <a:gd name="T1" fmla="*/ 0 h 694"/>
                <a:gd name="T2" fmla="*/ 894 w 993"/>
                <a:gd name="T3" fmla="*/ 39 h 694"/>
                <a:gd name="T4" fmla="*/ 721 w 993"/>
                <a:gd name="T5" fmla="*/ 550 h 694"/>
                <a:gd name="T6" fmla="*/ 551 w 993"/>
                <a:gd name="T7" fmla="*/ 40 h 694"/>
                <a:gd name="T8" fmla="*/ 499 w 993"/>
                <a:gd name="T9" fmla="*/ 0 h 694"/>
                <a:gd name="T10" fmla="*/ 494 w 993"/>
                <a:gd name="T11" fmla="*/ 0 h 694"/>
                <a:gd name="T12" fmla="*/ 444 w 993"/>
                <a:gd name="T13" fmla="*/ 40 h 694"/>
                <a:gd name="T14" fmla="*/ 272 w 993"/>
                <a:gd name="T15" fmla="*/ 550 h 694"/>
                <a:gd name="T16" fmla="*/ 102 w 993"/>
                <a:gd name="T17" fmla="*/ 42 h 694"/>
                <a:gd name="T18" fmla="*/ 51 w 993"/>
                <a:gd name="T19" fmla="*/ 0 h 694"/>
                <a:gd name="T20" fmla="*/ 0 w 993"/>
                <a:gd name="T21" fmla="*/ 48 h 694"/>
                <a:gd name="T22" fmla="*/ 6 w 993"/>
                <a:gd name="T23" fmla="*/ 76 h 694"/>
                <a:gd name="T24" fmla="*/ 212 w 993"/>
                <a:gd name="T25" fmla="*/ 648 h 694"/>
                <a:gd name="T26" fmla="*/ 268 w 993"/>
                <a:gd name="T27" fmla="*/ 694 h 694"/>
                <a:gd name="T28" fmla="*/ 271 w 993"/>
                <a:gd name="T29" fmla="*/ 694 h 694"/>
                <a:gd name="T30" fmla="*/ 326 w 993"/>
                <a:gd name="T31" fmla="*/ 648 h 694"/>
                <a:gd name="T32" fmla="*/ 496 w 993"/>
                <a:gd name="T33" fmla="*/ 154 h 694"/>
                <a:gd name="T34" fmla="*/ 665 w 993"/>
                <a:gd name="T35" fmla="*/ 648 h 694"/>
                <a:gd name="T36" fmla="*/ 720 w 993"/>
                <a:gd name="T37" fmla="*/ 694 h 694"/>
                <a:gd name="T38" fmla="*/ 724 w 993"/>
                <a:gd name="T39" fmla="*/ 694 h 694"/>
                <a:gd name="T40" fmla="*/ 779 w 993"/>
                <a:gd name="T41" fmla="*/ 648 h 694"/>
                <a:gd name="T42" fmla="*/ 986 w 993"/>
                <a:gd name="T43" fmla="*/ 74 h 694"/>
                <a:gd name="T44" fmla="*/ 993 w 993"/>
                <a:gd name="T45" fmla="*/ 47 h 694"/>
                <a:gd name="T46" fmla="*/ 943 w 993"/>
                <a:gd name="T47" fmla="*/ 0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93" h="694">
                  <a:moveTo>
                    <a:pt x="943" y="0"/>
                  </a:moveTo>
                  <a:cubicBezTo>
                    <a:pt x="915" y="0"/>
                    <a:pt x="901" y="18"/>
                    <a:pt x="894" y="39"/>
                  </a:cubicBezTo>
                  <a:cubicBezTo>
                    <a:pt x="721" y="550"/>
                    <a:pt x="721" y="550"/>
                    <a:pt x="721" y="550"/>
                  </a:cubicBezTo>
                  <a:cubicBezTo>
                    <a:pt x="551" y="40"/>
                    <a:pt x="551" y="40"/>
                    <a:pt x="551" y="40"/>
                  </a:cubicBezTo>
                  <a:cubicBezTo>
                    <a:pt x="543" y="17"/>
                    <a:pt x="526" y="0"/>
                    <a:pt x="499" y="0"/>
                  </a:cubicBezTo>
                  <a:cubicBezTo>
                    <a:pt x="494" y="0"/>
                    <a:pt x="494" y="0"/>
                    <a:pt x="494" y="0"/>
                  </a:cubicBezTo>
                  <a:cubicBezTo>
                    <a:pt x="467" y="0"/>
                    <a:pt x="452" y="17"/>
                    <a:pt x="444" y="40"/>
                  </a:cubicBezTo>
                  <a:cubicBezTo>
                    <a:pt x="272" y="550"/>
                    <a:pt x="272" y="550"/>
                    <a:pt x="272" y="550"/>
                  </a:cubicBezTo>
                  <a:cubicBezTo>
                    <a:pt x="102" y="42"/>
                    <a:pt x="102" y="42"/>
                    <a:pt x="102" y="42"/>
                  </a:cubicBezTo>
                  <a:cubicBezTo>
                    <a:pt x="94" y="17"/>
                    <a:pt x="77" y="0"/>
                    <a:pt x="51" y="0"/>
                  </a:cubicBezTo>
                  <a:cubicBezTo>
                    <a:pt x="21" y="0"/>
                    <a:pt x="0" y="23"/>
                    <a:pt x="0" y="48"/>
                  </a:cubicBezTo>
                  <a:cubicBezTo>
                    <a:pt x="0" y="57"/>
                    <a:pt x="4" y="68"/>
                    <a:pt x="6" y="76"/>
                  </a:cubicBezTo>
                  <a:cubicBezTo>
                    <a:pt x="212" y="648"/>
                    <a:pt x="212" y="648"/>
                    <a:pt x="212" y="648"/>
                  </a:cubicBezTo>
                  <a:cubicBezTo>
                    <a:pt x="222" y="678"/>
                    <a:pt x="243" y="694"/>
                    <a:pt x="268" y="694"/>
                  </a:cubicBezTo>
                  <a:cubicBezTo>
                    <a:pt x="271" y="694"/>
                    <a:pt x="271" y="694"/>
                    <a:pt x="271" y="694"/>
                  </a:cubicBezTo>
                  <a:cubicBezTo>
                    <a:pt x="297" y="694"/>
                    <a:pt x="317" y="678"/>
                    <a:pt x="326" y="648"/>
                  </a:cubicBezTo>
                  <a:cubicBezTo>
                    <a:pt x="496" y="154"/>
                    <a:pt x="496" y="154"/>
                    <a:pt x="496" y="154"/>
                  </a:cubicBezTo>
                  <a:cubicBezTo>
                    <a:pt x="665" y="648"/>
                    <a:pt x="665" y="648"/>
                    <a:pt x="665" y="648"/>
                  </a:cubicBezTo>
                  <a:cubicBezTo>
                    <a:pt x="674" y="678"/>
                    <a:pt x="694" y="694"/>
                    <a:pt x="720" y="694"/>
                  </a:cubicBezTo>
                  <a:cubicBezTo>
                    <a:pt x="724" y="694"/>
                    <a:pt x="724" y="694"/>
                    <a:pt x="724" y="694"/>
                  </a:cubicBezTo>
                  <a:cubicBezTo>
                    <a:pt x="748" y="694"/>
                    <a:pt x="769" y="678"/>
                    <a:pt x="779" y="648"/>
                  </a:cubicBezTo>
                  <a:cubicBezTo>
                    <a:pt x="986" y="74"/>
                    <a:pt x="986" y="74"/>
                    <a:pt x="986" y="74"/>
                  </a:cubicBezTo>
                  <a:cubicBezTo>
                    <a:pt x="989" y="67"/>
                    <a:pt x="993" y="56"/>
                    <a:pt x="993" y="47"/>
                  </a:cubicBezTo>
                  <a:cubicBezTo>
                    <a:pt x="993" y="22"/>
                    <a:pt x="972" y="0"/>
                    <a:pt x="943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16" name="Freeform 6"/>
            <p:cNvSpPr>
              <a:spLocks noEditPoints="1"/>
            </p:cNvSpPr>
            <p:nvPr/>
          </p:nvSpPr>
          <p:spPr bwMode="auto">
            <a:xfrm>
              <a:off x="1720" y="5111"/>
              <a:ext cx="417" cy="437"/>
            </a:xfrm>
            <a:custGeom>
              <a:avLst/>
              <a:gdLst>
                <a:gd name="T0" fmla="*/ 340 w 678"/>
                <a:gd name="T1" fmla="*/ 0 h 707"/>
                <a:gd name="T2" fmla="*/ 0 w 678"/>
                <a:gd name="T3" fmla="*/ 354 h 707"/>
                <a:gd name="T4" fmla="*/ 0 w 678"/>
                <a:gd name="T5" fmla="*/ 356 h 707"/>
                <a:gd name="T6" fmla="*/ 337 w 678"/>
                <a:gd name="T7" fmla="*/ 707 h 707"/>
                <a:gd name="T8" fmla="*/ 678 w 678"/>
                <a:gd name="T9" fmla="*/ 354 h 707"/>
                <a:gd name="T10" fmla="*/ 678 w 678"/>
                <a:gd name="T11" fmla="*/ 351 h 707"/>
                <a:gd name="T12" fmla="*/ 340 w 678"/>
                <a:gd name="T13" fmla="*/ 0 h 707"/>
                <a:gd name="T14" fmla="*/ 575 w 678"/>
                <a:gd name="T15" fmla="*/ 356 h 707"/>
                <a:gd name="T16" fmla="*/ 340 w 678"/>
                <a:gd name="T17" fmla="*/ 631 h 707"/>
                <a:gd name="T18" fmla="*/ 103 w 678"/>
                <a:gd name="T19" fmla="*/ 354 h 707"/>
                <a:gd name="T20" fmla="*/ 103 w 678"/>
                <a:gd name="T21" fmla="*/ 351 h 707"/>
                <a:gd name="T22" fmla="*/ 337 w 678"/>
                <a:gd name="T23" fmla="*/ 75 h 707"/>
                <a:gd name="T24" fmla="*/ 575 w 678"/>
                <a:gd name="T25" fmla="*/ 354 h 707"/>
                <a:gd name="T26" fmla="*/ 575 w 678"/>
                <a:gd name="T27" fmla="*/ 356 h 7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78" h="707">
                  <a:moveTo>
                    <a:pt x="340" y="0"/>
                  </a:moveTo>
                  <a:cubicBezTo>
                    <a:pt x="135" y="0"/>
                    <a:pt x="0" y="162"/>
                    <a:pt x="0" y="354"/>
                  </a:cubicBezTo>
                  <a:cubicBezTo>
                    <a:pt x="0" y="356"/>
                    <a:pt x="0" y="356"/>
                    <a:pt x="0" y="356"/>
                  </a:cubicBezTo>
                  <a:cubicBezTo>
                    <a:pt x="0" y="548"/>
                    <a:pt x="134" y="707"/>
                    <a:pt x="337" y="707"/>
                  </a:cubicBezTo>
                  <a:cubicBezTo>
                    <a:pt x="541" y="707"/>
                    <a:pt x="678" y="545"/>
                    <a:pt x="678" y="354"/>
                  </a:cubicBezTo>
                  <a:cubicBezTo>
                    <a:pt x="678" y="351"/>
                    <a:pt x="678" y="351"/>
                    <a:pt x="678" y="351"/>
                  </a:cubicBezTo>
                  <a:cubicBezTo>
                    <a:pt x="678" y="160"/>
                    <a:pt x="543" y="0"/>
                    <a:pt x="340" y="0"/>
                  </a:cubicBezTo>
                  <a:moveTo>
                    <a:pt x="575" y="356"/>
                  </a:moveTo>
                  <a:cubicBezTo>
                    <a:pt x="575" y="499"/>
                    <a:pt x="486" y="631"/>
                    <a:pt x="340" y="631"/>
                  </a:cubicBezTo>
                  <a:cubicBezTo>
                    <a:pt x="197" y="631"/>
                    <a:pt x="103" y="499"/>
                    <a:pt x="103" y="354"/>
                  </a:cubicBezTo>
                  <a:cubicBezTo>
                    <a:pt x="103" y="351"/>
                    <a:pt x="103" y="351"/>
                    <a:pt x="103" y="351"/>
                  </a:cubicBezTo>
                  <a:cubicBezTo>
                    <a:pt x="103" y="208"/>
                    <a:pt x="190" y="75"/>
                    <a:pt x="337" y="75"/>
                  </a:cubicBezTo>
                  <a:cubicBezTo>
                    <a:pt x="480" y="75"/>
                    <a:pt x="575" y="208"/>
                    <a:pt x="575" y="354"/>
                  </a:cubicBezTo>
                  <a:lnTo>
                    <a:pt x="575" y="3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2198" y="5115"/>
              <a:ext cx="236" cy="428"/>
            </a:xfrm>
            <a:custGeom>
              <a:avLst/>
              <a:gdLst>
                <a:gd name="T0" fmla="*/ 334 w 384"/>
                <a:gd name="T1" fmla="*/ 0 h 693"/>
                <a:gd name="T2" fmla="*/ 101 w 384"/>
                <a:gd name="T3" fmla="*/ 181 h 693"/>
                <a:gd name="T4" fmla="*/ 101 w 384"/>
                <a:gd name="T5" fmla="*/ 54 h 693"/>
                <a:gd name="T6" fmla="*/ 50 w 384"/>
                <a:gd name="T7" fmla="*/ 3 h 693"/>
                <a:gd name="T8" fmla="*/ 0 w 384"/>
                <a:gd name="T9" fmla="*/ 54 h 693"/>
                <a:gd name="T10" fmla="*/ 0 w 384"/>
                <a:gd name="T11" fmla="*/ 642 h 693"/>
                <a:gd name="T12" fmla="*/ 51 w 384"/>
                <a:gd name="T13" fmla="*/ 693 h 693"/>
                <a:gd name="T14" fmla="*/ 101 w 384"/>
                <a:gd name="T15" fmla="*/ 642 h 693"/>
                <a:gd name="T16" fmla="*/ 101 w 384"/>
                <a:gd name="T17" fmla="*/ 412 h 693"/>
                <a:gd name="T18" fmla="*/ 339 w 384"/>
                <a:gd name="T19" fmla="*/ 102 h 693"/>
                <a:gd name="T20" fmla="*/ 384 w 384"/>
                <a:gd name="T21" fmla="*/ 51 h 693"/>
                <a:gd name="T22" fmla="*/ 334 w 384"/>
                <a:gd name="T23" fmla="*/ 0 h 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4" h="693">
                  <a:moveTo>
                    <a:pt x="334" y="0"/>
                  </a:moveTo>
                  <a:cubicBezTo>
                    <a:pt x="249" y="0"/>
                    <a:pt x="151" y="68"/>
                    <a:pt x="101" y="181"/>
                  </a:cubicBezTo>
                  <a:cubicBezTo>
                    <a:pt x="101" y="54"/>
                    <a:pt x="101" y="54"/>
                    <a:pt x="101" y="54"/>
                  </a:cubicBezTo>
                  <a:cubicBezTo>
                    <a:pt x="101" y="25"/>
                    <a:pt x="79" y="3"/>
                    <a:pt x="50" y="3"/>
                  </a:cubicBezTo>
                  <a:cubicBezTo>
                    <a:pt x="22" y="3"/>
                    <a:pt x="0" y="26"/>
                    <a:pt x="0" y="54"/>
                  </a:cubicBezTo>
                  <a:cubicBezTo>
                    <a:pt x="0" y="642"/>
                    <a:pt x="0" y="642"/>
                    <a:pt x="0" y="642"/>
                  </a:cubicBezTo>
                  <a:cubicBezTo>
                    <a:pt x="0" y="671"/>
                    <a:pt x="22" y="693"/>
                    <a:pt x="51" y="693"/>
                  </a:cubicBezTo>
                  <a:cubicBezTo>
                    <a:pt x="80" y="693"/>
                    <a:pt x="101" y="670"/>
                    <a:pt x="101" y="642"/>
                  </a:cubicBezTo>
                  <a:cubicBezTo>
                    <a:pt x="101" y="412"/>
                    <a:pt x="101" y="412"/>
                    <a:pt x="101" y="412"/>
                  </a:cubicBezTo>
                  <a:cubicBezTo>
                    <a:pt x="101" y="216"/>
                    <a:pt x="208" y="118"/>
                    <a:pt x="339" y="102"/>
                  </a:cubicBezTo>
                  <a:cubicBezTo>
                    <a:pt x="365" y="98"/>
                    <a:pt x="384" y="79"/>
                    <a:pt x="384" y="51"/>
                  </a:cubicBezTo>
                  <a:cubicBezTo>
                    <a:pt x="384" y="22"/>
                    <a:pt x="364" y="0"/>
                    <a:pt x="33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18" name="Freeform 8"/>
            <p:cNvSpPr>
              <a:spLocks/>
            </p:cNvSpPr>
            <p:nvPr/>
          </p:nvSpPr>
          <p:spPr bwMode="auto">
            <a:xfrm>
              <a:off x="2500" y="4944"/>
              <a:ext cx="63" cy="599"/>
            </a:xfrm>
            <a:custGeom>
              <a:avLst/>
              <a:gdLst>
                <a:gd name="T0" fmla="*/ 49 w 101"/>
                <a:gd name="T1" fmla="*/ 0 h 969"/>
                <a:gd name="T2" fmla="*/ 0 w 101"/>
                <a:gd name="T3" fmla="*/ 51 h 969"/>
                <a:gd name="T4" fmla="*/ 0 w 101"/>
                <a:gd name="T5" fmla="*/ 918 h 969"/>
                <a:gd name="T6" fmla="*/ 51 w 101"/>
                <a:gd name="T7" fmla="*/ 969 h 969"/>
                <a:gd name="T8" fmla="*/ 101 w 101"/>
                <a:gd name="T9" fmla="*/ 918 h 969"/>
                <a:gd name="T10" fmla="*/ 101 w 101"/>
                <a:gd name="T11" fmla="*/ 51 h 969"/>
                <a:gd name="T12" fmla="*/ 49 w 101"/>
                <a:gd name="T13" fmla="*/ 0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" h="969">
                  <a:moveTo>
                    <a:pt x="49" y="0"/>
                  </a:moveTo>
                  <a:cubicBezTo>
                    <a:pt x="22" y="0"/>
                    <a:pt x="0" y="23"/>
                    <a:pt x="0" y="51"/>
                  </a:cubicBezTo>
                  <a:cubicBezTo>
                    <a:pt x="0" y="918"/>
                    <a:pt x="0" y="918"/>
                    <a:pt x="0" y="918"/>
                  </a:cubicBezTo>
                  <a:cubicBezTo>
                    <a:pt x="0" y="947"/>
                    <a:pt x="22" y="969"/>
                    <a:pt x="51" y="969"/>
                  </a:cubicBezTo>
                  <a:cubicBezTo>
                    <a:pt x="80" y="969"/>
                    <a:pt x="101" y="947"/>
                    <a:pt x="101" y="918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3"/>
                    <a:pt x="78" y="0"/>
                    <a:pt x="4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19" name="Freeform 9"/>
            <p:cNvSpPr>
              <a:spLocks noEditPoints="1"/>
            </p:cNvSpPr>
            <p:nvPr/>
          </p:nvSpPr>
          <p:spPr bwMode="auto">
            <a:xfrm>
              <a:off x="2626" y="4944"/>
              <a:ext cx="421" cy="604"/>
            </a:xfrm>
            <a:custGeom>
              <a:avLst/>
              <a:gdLst>
                <a:gd name="T0" fmla="*/ 633 w 684"/>
                <a:gd name="T1" fmla="*/ 0 h 977"/>
                <a:gd name="T2" fmla="*/ 583 w 684"/>
                <a:gd name="T3" fmla="*/ 51 h 977"/>
                <a:gd name="T4" fmla="*/ 583 w 684"/>
                <a:gd name="T5" fmla="*/ 415 h 977"/>
                <a:gd name="T6" fmla="*/ 324 w 684"/>
                <a:gd name="T7" fmla="*/ 271 h 977"/>
                <a:gd name="T8" fmla="*/ 0 w 684"/>
                <a:gd name="T9" fmla="*/ 623 h 977"/>
                <a:gd name="T10" fmla="*/ 0 w 684"/>
                <a:gd name="T11" fmla="*/ 626 h 977"/>
                <a:gd name="T12" fmla="*/ 324 w 684"/>
                <a:gd name="T13" fmla="*/ 977 h 977"/>
                <a:gd name="T14" fmla="*/ 583 w 684"/>
                <a:gd name="T15" fmla="*/ 826 h 977"/>
                <a:gd name="T16" fmla="*/ 583 w 684"/>
                <a:gd name="T17" fmla="*/ 918 h 977"/>
                <a:gd name="T18" fmla="*/ 634 w 684"/>
                <a:gd name="T19" fmla="*/ 969 h 977"/>
                <a:gd name="T20" fmla="*/ 684 w 684"/>
                <a:gd name="T21" fmla="*/ 918 h 977"/>
                <a:gd name="T22" fmla="*/ 684 w 684"/>
                <a:gd name="T23" fmla="*/ 51 h 977"/>
                <a:gd name="T24" fmla="*/ 633 w 684"/>
                <a:gd name="T25" fmla="*/ 0 h 977"/>
                <a:gd name="T26" fmla="*/ 587 w 684"/>
                <a:gd name="T27" fmla="*/ 625 h 977"/>
                <a:gd name="T28" fmla="*/ 342 w 684"/>
                <a:gd name="T29" fmla="*/ 887 h 977"/>
                <a:gd name="T30" fmla="*/ 104 w 684"/>
                <a:gd name="T31" fmla="*/ 625 h 977"/>
                <a:gd name="T32" fmla="*/ 104 w 684"/>
                <a:gd name="T33" fmla="*/ 622 h 977"/>
                <a:gd name="T34" fmla="*/ 342 w 684"/>
                <a:gd name="T35" fmla="*/ 361 h 977"/>
                <a:gd name="T36" fmla="*/ 587 w 684"/>
                <a:gd name="T37" fmla="*/ 622 h 977"/>
                <a:gd name="T38" fmla="*/ 587 w 684"/>
                <a:gd name="T39" fmla="*/ 625 h 9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84" h="977">
                  <a:moveTo>
                    <a:pt x="633" y="0"/>
                  </a:moveTo>
                  <a:cubicBezTo>
                    <a:pt x="604" y="0"/>
                    <a:pt x="583" y="22"/>
                    <a:pt x="583" y="51"/>
                  </a:cubicBezTo>
                  <a:cubicBezTo>
                    <a:pt x="583" y="415"/>
                    <a:pt x="583" y="415"/>
                    <a:pt x="583" y="415"/>
                  </a:cubicBezTo>
                  <a:cubicBezTo>
                    <a:pt x="531" y="339"/>
                    <a:pt x="450" y="271"/>
                    <a:pt x="324" y="271"/>
                  </a:cubicBezTo>
                  <a:cubicBezTo>
                    <a:pt x="161" y="271"/>
                    <a:pt x="0" y="402"/>
                    <a:pt x="0" y="623"/>
                  </a:cubicBezTo>
                  <a:cubicBezTo>
                    <a:pt x="0" y="626"/>
                    <a:pt x="0" y="626"/>
                    <a:pt x="0" y="626"/>
                  </a:cubicBezTo>
                  <a:cubicBezTo>
                    <a:pt x="0" y="849"/>
                    <a:pt x="161" y="977"/>
                    <a:pt x="324" y="977"/>
                  </a:cubicBezTo>
                  <a:cubicBezTo>
                    <a:pt x="448" y="977"/>
                    <a:pt x="528" y="908"/>
                    <a:pt x="583" y="826"/>
                  </a:cubicBezTo>
                  <a:cubicBezTo>
                    <a:pt x="583" y="918"/>
                    <a:pt x="583" y="918"/>
                    <a:pt x="583" y="918"/>
                  </a:cubicBezTo>
                  <a:cubicBezTo>
                    <a:pt x="583" y="947"/>
                    <a:pt x="605" y="969"/>
                    <a:pt x="634" y="969"/>
                  </a:cubicBezTo>
                  <a:cubicBezTo>
                    <a:pt x="662" y="969"/>
                    <a:pt x="684" y="947"/>
                    <a:pt x="684" y="918"/>
                  </a:cubicBezTo>
                  <a:cubicBezTo>
                    <a:pt x="684" y="51"/>
                    <a:pt x="684" y="51"/>
                    <a:pt x="684" y="51"/>
                  </a:cubicBezTo>
                  <a:cubicBezTo>
                    <a:pt x="684" y="22"/>
                    <a:pt x="662" y="0"/>
                    <a:pt x="633" y="0"/>
                  </a:cubicBezTo>
                  <a:moveTo>
                    <a:pt x="587" y="625"/>
                  </a:moveTo>
                  <a:cubicBezTo>
                    <a:pt x="587" y="780"/>
                    <a:pt x="468" y="887"/>
                    <a:pt x="342" y="887"/>
                  </a:cubicBezTo>
                  <a:cubicBezTo>
                    <a:pt x="215" y="887"/>
                    <a:pt x="104" y="784"/>
                    <a:pt x="104" y="625"/>
                  </a:cubicBezTo>
                  <a:cubicBezTo>
                    <a:pt x="104" y="622"/>
                    <a:pt x="104" y="622"/>
                    <a:pt x="104" y="622"/>
                  </a:cubicBezTo>
                  <a:cubicBezTo>
                    <a:pt x="104" y="458"/>
                    <a:pt x="211" y="361"/>
                    <a:pt x="342" y="361"/>
                  </a:cubicBezTo>
                  <a:cubicBezTo>
                    <a:pt x="468" y="361"/>
                    <a:pt x="587" y="466"/>
                    <a:pt x="587" y="622"/>
                  </a:cubicBezTo>
                  <a:lnTo>
                    <a:pt x="587" y="6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auto">
            <a:xfrm>
              <a:off x="-16" y="5101"/>
              <a:ext cx="1087" cy="447"/>
            </a:xfrm>
            <a:custGeom>
              <a:avLst/>
              <a:gdLst>
                <a:gd name="T0" fmla="*/ 1524 w 1764"/>
                <a:gd name="T1" fmla="*/ 13 h 724"/>
                <a:gd name="T2" fmla="*/ 1311 w 1764"/>
                <a:gd name="T3" fmla="*/ 104 h 724"/>
                <a:gd name="T4" fmla="*/ 1106 w 1764"/>
                <a:gd name="T5" fmla="*/ 13 h 724"/>
                <a:gd name="T6" fmla="*/ 904 w 1764"/>
                <a:gd name="T7" fmla="*/ 104 h 724"/>
                <a:gd name="T8" fmla="*/ 725 w 1764"/>
                <a:gd name="T9" fmla="*/ 13 h 724"/>
                <a:gd name="T10" fmla="*/ 508 w 1764"/>
                <a:gd name="T11" fmla="*/ 161 h 724"/>
                <a:gd name="T12" fmla="*/ 372 w 1764"/>
                <a:gd name="T13" fmla="*/ 482 h 724"/>
                <a:gd name="T14" fmla="*/ 197 w 1764"/>
                <a:gd name="T15" fmla="*/ 70 h 724"/>
                <a:gd name="T16" fmla="*/ 70 w 1764"/>
                <a:gd name="T17" fmla="*/ 22 h 724"/>
                <a:gd name="T18" fmla="*/ 23 w 1764"/>
                <a:gd name="T19" fmla="*/ 150 h 724"/>
                <a:gd name="T20" fmla="*/ 236 w 1764"/>
                <a:gd name="T21" fmla="*/ 613 h 724"/>
                <a:gd name="T22" fmla="*/ 372 w 1764"/>
                <a:gd name="T23" fmla="*/ 724 h 724"/>
                <a:gd name="T24" fmla="*/ 507 w 1764"/>
                <a:gd name="T25" fmla="*/ 613 h 724"/>
                <a:gd name="T26" fmla="*/ 695 w 1764"/>
                <a:gd name="T27" fmla="*/ 204 h 724"/>
                <a:gd name="T28" fmla="*/ 722 w 1764"/>
                <a:gd name="T29" fmla="*/ 187 h 724"/>
                <a:gd name="T30" fmla="*/ 751 w 1764"/>
                <a:gd name="T31" fmla="*/ 217 h 724"/>
                <a:gd name="T32" fmla="*/ 751 w 1764"/>
                <a:gd name="T33" fmla="*/ 613 h 724"/>
                <a:gd name="T34" fmla="*/ 850 w 1764"/>
                <a:gd name="T35" fmla="*/ 724 h 724"/>
                <a:gd name="T36" fmla="*/ 951 w 1764"/>
                <a:gd name="T37" fmla="*/ 613 h 724"/>
                <a:gd name="T38" fmla="*/ 951 w 1764"/>
                <a:gd name="T39" fmla="*/ 289 h 724"/>
                <a:gd name="T40" fmla="*/ 1056 w 1764"/>
                <a:gd name="T41" fmla="*/ 186 h 724"/>
                <a:gd name="T42" fmla="*/ 1158 w 1764"/>
                <a:gd name="T43" fmla="*/ 289 h 724"/>
                <a:gd name="T44" fmla="*/ 1158 w 1764"/>
                <a:gd name="T45" fmla="*/ 613 h 724"/>
                <a:gd name="T46" fmla="*/ 1257 w 1764"/>
                <a:gd name="T47" fmla="*/ 724 h 724"/>
                <a:gd name="T48" fmla="*/ 1358 w 1764"/>
                <a:gd name="T49" fmla="*/ 613 h 724"/>
                <a:gd name="T50" fmla="*/ 1358 w 1764"/>
                <a:gd name="T51" fmla="*/ 289 h 724"/>
                <a:gd name="T52" fmla="*/ 1463 w 1764"/>
                <a:gd name="T53" fmla="*/ 186 h 724"/>
                <a:gd name="T54" fmla="*/ 1565 w 1764"/>
                <a:gd name="T55" fmla="*/ 289 h 724"/>
                <a:gd name="T56" fmla="*/ 1565 w 1764"/>
                <a:gd name="T57" fmla="*/ 613 h 724"/>
                <a:gd name="T58" fmla="*/ 1664 w 1764"/>
                <a:gd name="T59" fmla="*/ 724 h 724"/>
                <a:gd name="T60" fmla="*/ 1764 w 1764"/>
                <a:gd name="T61" fmla="*/ 613 h 724"/>
                <a:gd name="T62" fmla="*/ 1764 w 1764"/>
                <a:gd name="T63" fmla="*/ 244 h 724"/>
                <a:gd name="T64" fmla="*/ 1524 w 1764"/>
                <a:gd name="T65" fmla="*/ 13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64" h="724">
                  <a:moveTo>
                    <a:pt x="1524" y="13"/>
                  </a:moveTo>
                  <a:cubicBezTo>
                    <a:pt x="1393" y="13"/>
                    <a:pt x="1311" y="104"/>
                    <a:pt x="1311" y="104"/>
                  </a:cubicBezTo>
                  <a:cubicBezTo>
                    <a:pt x="1267" y="47"/>
                    <a:pt x="1207" y="13"/>
                    <a:pt x="1106" y="13"/>
                  </a:cubicBezTo>
                  <a:cubicBezTo>
                    <a:pt x="998" y="13"/>
                    <a:pt x="904" y="104"/>
                    <a:pt x="904" y="104"/>
                  </a:cubicBezTo>
                  <a:cubicBezTo>
                    <a:pt x="861" y="47"/>
                    <a:pt x="786" y="13"/>
                    <a:pt x="725" y="13"/>
                  </a:cubicBezTo>
                  <a:cubicBezTo>
                    <a:pt x="630" y="13"/>
                    <a:pt x="554" y="55"/>
                    <a:pt x="508" y="161"/>
                  </a:cubicBezTo>
                  <a:cubicBezTo>
                    <a:pt x="372" y="482"/>
                    <a:pt x="372" y="482"/>
                    <a:pt x="372" y="482"/>
                  </a:cubicBezTo>
                  <a:cubicBezTo>
                    <a:pt x="197" y="70"/>
                    <a:pt x="197" y="70"/>
                    <a:pt x="197" y="70"/>
                  </a:cubicBezTo>
                  <a:cubicBezTo>
                    <a:pt x="175" y="22"/>
                    <a:pt x="121" y="0"/>
                    <a:pt x="70" y="22"/>
                  </a:cubicBezTo>
                  <a:cubicBezTo>
                    <a:pt x="19" y="45"/>
                    <a:pt x="0" y="101"/>
                    <a:pt x="23" y="150"/>
                  </a:cubicBezTo>
                  <a:cubicBezTo>
                    <a:pt x="236" y="613"/>
                    <a:pt x="236" y="613"/>
                    <a:pt x="236" y="613"/>
                  </a:cubicBezTo>
                  <a:cubicBezTo>
                    <a:pt x="270" y="686"/>
                    <a:pt x="305" y="724"/>
                    <a:pt x="372" y="724"/>
                  </a:cubicBezTo>
                  <a:cubicBezTo>
                    <a:pt x="443" y="724"/>
                    <a:pt x="474" y="683"/>
                    <a:pt x="507" y="613"/>
                  </a:cubicBezTo>
                  <a:cubicBezTo>
                    <a:pt x="507" y="613"/>
                    <a:pt x="693" y="208"/>
                    <a:pt x="695" y="204"/>
                  </a:cubicBezTo>
                  <a:cubicBezTo>
                    <a:pt x="697" y="200"/>
                    <a:pt x="703" y="186"/>
                    <a:pt x="722" y="187"/>
                  </a:cubicBezTo>
                  <a:cubicBezTo>
                    <a:pt x="738" y="187"/>
                    <a:pt x="751" y="199"/>
                    <a:pt x="751" y="217"/>
                  </a:cubicBezTo>
                  <a:cubicBezTo>
                    <a:pt x="751" y="613"/>
                    <a:pt x="751" y="613"/>
                    <a:pt x="751" y="613"/>
                  </a:cubicBezTo>
                  <a:cubicBezTo>
                    <a:pt x="751" y="674"/>
                    <a:pt x="785" y="724"/>
                    <a:pt x="850" y="724"/>
                  </a:cubicBezTo>
                  <a:cubicBezTo>
                    <a:pt x="915" y="724"/>
                    <a:pt x="951" y="674"/>
                    <a:pt x="951" y="613"/>
                  </a:cubicBezTo>
                  <a:cubicBezTo>
                    <a:pt x="951" y="289"/>
                    <a:pt x="951" y="289"/>
                    <a:pt x="951" y="289"/>
                  </a:cubicBezTo>
                  <a:cubicBezTo>
                    <a:pt x="951" y="226"/>
                    <a:pt x="995" y="186"/>
                    <a:pt x="1056" y="186"/>
                  </a:cubicBezTo>
                  <a:cubicBezTo>
                    <a:pt x="1118" y="186"/>
                    <a:pt x="1158" y="228"/>
                    <a:pt x="1158" y="289"/>
                  </a:cubicBezTo>
                  <a:cubicBezTo>
                    <a:pt x="1158" y="613"/>
                    <a:pt x="1158" y="613"/>
                    <a:pt x="1158" y="613"/>
                  </a:cubicBezTo>
                  <a:cubicBezTo>
                    <a:pt x="1158" y="674"/>
                    <a:pt x="1192" y="724"/>
                    <a:pt x="1257" y="724"/>
                  </a:cubicBezTo>
                  <a:cubicBezTo>
                    <a:pt x="1322" y="724"/>
                    <a:pt x="1358" y="674"/>
                    <a:pt x="1358" y="613"/>
                  </a:cubicBezTo>
                  <a:cubicBezTo>
                    <a:pt x="1358" y="289"/>
                    <a:pt x="1358" y="289"/>
                    <a:pt x="1358" y="289"/>
                  </a:cubicBezTo>
                  <a:cubicBezTo>
                    <a:pt x="1358" y="226"/>
                    <a:pt x="1402" y="186"/>
                    <a:pt x="1463" y="186"/>
                  </a:cubicBezTo>
                  <a:cubicBezTo>
                    <a:pt x="1524" y="186"/>
                    <a:pt x="1565" y="228"/>
                    <a:pt x="1565" y="289"/>
                  </a:cubicBezTo>
                  <a:cubicBezTo>
                    <a:pt x="1565" y="613"/>
                    <a:pt x="1565" y="613"/>
                    <a:pt x="1565" y="613"/>
                  </a:cubicBezTo>
                  <a:cubicBezTo>
                    <a:pt x="1565" y="674"/>
                    <a:pt x="1599" y="724"/>
                    <a:pt x="1664" y="724"/>
                  </a:cubicBezTo>
                  <a:cubicBezTo>
                    <a:pt x="1729" y="724"/>
                    <a:pt x="1764" y="674"/>
                    <a:pt x="1764" y="613"/>
                  </a:cubicBezTo>
                  <a:cubicBezTo>
                    <a:pt x="1764" y="244"/>
                    <a:pt x="1764" y="244"/>
                    <a:pt x="1764" y="244"/>
                  </a:cubicBezTo>
                  <a:cubicBezTo>
                    <a:pt x="1764" y="108"/>
                    <a:pt x="1655" y="13"/>
                    <a:pt x="1524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21" name="Freeform 11"/>
            <p:cNvSpPr>
              <a:spLocks noEditPoints="1"/>
            </p:cNvSpPr>
            <p:nvPr/>
          </p:nvSpPr>
          <p:spPr bwMode="auto">
            <a:xfrm>
              <a:off x="3104" y="4944"/>
              <a:ext cx="103" cy="103"/>
            </a:xfrm>
            <a:custGeom>
              <a:avLst/>
              <a:gdLst>
                <a:gd name="T0" fmla="*/ 0 w 167"/>
                <a:gd name="T1" fmla="*/ 84 h 167"/>
                <a:gd name="T2" fmla="*/ 0 w 167"/>
                <a:gd name="T3" fmla="*/ 83 h 167"/>
                <a:gd name="T4" fmla="*/ 84 w 167"/>
                <a:gd name="T5" fmla="*/ 0 h 167"/>
                <a:gd name="T6" fmla="*/ 167 w 167"/>
                <a:gd name="T7" fmla="*/ 83 h 167"/>
                <a:gd name="T8" fmla="*/ 167 w 167"/>
                <a:gd name="T9" fmla="*/ 83 h 167"/>
                <a:gd name="T10" fmla="*/ 84 w 167"/>
                <a:gd name="T11" fmla="*/ 167 h 167"/>
                <a:gd name="T12" fmla="*/ 0 w 167"/>
                <a:gd name="T13" fmla="*/ 84 h 167"/>
                <a:gd name="T14" fmla="*/ 151 w 167"/>
                <a:gd name="T15" fmla="*/ 83 h 167"/>
                <a:gd name="T16" fmla="*/ 151 w 167"/>
                <a:gd name="T17" fmla="*/ 83 h 167"/>
                <a:gd name="T18" fmla="*/ 84 w 167"/>
                <a:gd name="T19" fmla="*/ 15 h 167"/>
                <a:gd name="T20" fmla="*/ 16 w 167"/>
                <a:gd name="T21" fmla="*/ 83 h 167"/>
                <a:gd name="T22" fmla="*/ 16 w 167"/>
                <a:gd name="T23" fmla="*/ 84 h 167"/>
                <a:gd name="T24" fmla="*/ 84 w 167"/>
                <a:gd name="T25" fmla="*/ 152 h 167"/>
                <a:gd name="T26" fmla="*/ 151 w 167"/>
                <a:gd name="T27" fmla="*/ 83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7" h="167">
                  <a:moveTo>
                    <a:pt x="0" y="84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0" y="38"/>
                    <a:pt x="37" y="0"/>
                    <a:pt x="84" y="0"/>
                  </a:cubicBezTo>
                  <a:cubicBezTo>
                    <a:pt x="131" y="0"/>
                    <a:pt x="167" y="38"/>
                    <a:pt x="167" y="83"/>
                  </a:cubicBezTo>
                  <a:cubicBezTo>
                    <a:pt x="167" y="83"/>
                    <a:pt x="167" y="83"/>
                    <a:pt x="167" y="83"/>
                  </a:cubicBezTo>
                  <a:cubicBezTo>
                    <a:pt x="167" y="129"/>
                    <a:pt x="130" y="167"/>
                    <a:pt x="84" y="167"/>
                  </a:cubicBezTo>
                  <a:cubicBezTo>
                    <a:pt x="36" y="167"/>
                    <a:pt x="0" y="130"/>
                    <a:pt x="0" y="84"/>
                  </a:cubicBezTo>
                  <a:moveTo>
                    <a:pt x="151" y="83"/>
                  </a:moveTo>
                  <a:cubicBezTo>
                    <a:pt x="151" y="83"/>
                    <a:pt x="151" y="83"/>
                    <a:pt x="151" y="83"/>
                  </a:cubicBezTo>
                  <a:cubicBezTo>
                    <a:pt x="151" y="46"/>
                    <a:pt x="122" y="15"/>
                    <a:pt x="84" y="15"/>
                  </a:cubicBezTo>
                  <a:cubicBezTo>
                    <a:pt x="45" y="15"/>
                    <a:pt x="16" y="46"/>
                    <a:pt x="16" y="83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6" y="121"/>
                    <a:pt x="45" y="152"/>
                    <a:pt x="84" y="152"/>
                  </a:cubicBezTo>
                  <a:cubicBezTo>
                    <a:pt x="122" y="152"/>
                    <a:pt x="151" y="121"/>
                    <a:pt x="151" y="8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22" name="Freeform 12"/>
            <p:cNvSpPr>
              <a:spLocks noEditPoints="1"/>
            </p:cNvSpPr>
            <p:nvPr/>
          </p:nvSpPr>
          <p:spPr bwMode="auto">
            <a:xfrm>
              <a:off x="3136" y="4970"/>
              <a:ext cx="42" cy="50"/>
            </a:xfrm>
            <a:custGeom>
              <a:avLst/>
              <a:gdLst>
                <a:gd name="T0" fmla="*/ 0 w 67"/>
                <a:gd name="T1" fmla="*/ 9 h 81"/>
                <a:gd name="T2" fmla="*/ 9 w 67"/>
                <a:gd name="T3" fmla="*/ 0 h 81"/>
                <a:gd name="T4" fmla="*/ 36 w 67"/>
                <a:gd name="T5" fmla="*/ 0 h 81"/>
                <a:gd name="T6" fmla="*/ 60 w 67"/>
                <a:gd name="T7" fmla="*/ 8 h 81"/>
                <a:gd name="T8" fmla="*/ 67 w 67"/>
                <a:gd name="T9" fmla="*/ 26 h 81"/>
                <a:gd name="T10" fmla="*/ 67 w 67"/>
                <a:gd name="T11" fmla="*/ 27 h 81"/>
                <a:gd name="T12" fmla="*/ 51 w 67"/>
                <a:gd name="T13" fmla="*/ 51 h 81"/>
                <a:gd name="T14" fmla="*/ 63 w 67"/>
                <a:gd name="T15" fmla="*/ 66 h 81"/>
                <a:gd name="T16" fmla="*/ 66 w 67"/>
                <a:gd name="T17" fmla="*/ 73 h 81"/>
                <a:gd name="T18" fmla="*/ 58 w 67"/>
                <a:gd name="T19" fmla="*/ 81 h 81"/>
                <a:gd name="T20" fmla="*/ 49 w 67"/>
                <a:gd name="T21" fmla="*/ 76 h 81"/>
                <a:gd name="T22" fmla="*/ 32 w 67"/>
                <a:gd name="T23" fmla="*/ 55 h 81"/>
                <a:gd name="T24" fmla="*/ 17 w 67"/>
                <a:gd name="T25" fmla="*/ 55 h 81"/>
                <a:gd name="T26" fmla="*/ 17 w 67"/>
                <a:gd name="T27" fmla="*/ 72 h 81"/>
                <a:gd name="T28" fmla="*/ 9 w 67"/>
                <a:gd name="T29" fmla="*/ 81 h 81"/>
                <a:gd name="T30" fmla="*/ 0 w 67"/>
                <a:gd name="T31" fmla="*/ 72 h 81"/>
                <a:gd name="T32" fmla="*/ 0 w 67"/>
                <a:gd name="T33" fmla="*/ 9 h 81"/>
                <a:gd name="T34" fmla="*/ 35 w 67"/>
                <a:gd name="T35" fmla="*/ 39 h 81"/>
                <a:gd name="T36" fmla="*/ 49 w 67"/>
                <a:gd name="T37" fmla="*/ 27 h 81"/>
                <a:gd name="T38" fmla="*/ 49 w 67"/>
                <a:gd name="T39" fmla="*/ 27 h 81"/>
                <a:gd name="T40" fmla="*/ 35 w 67"/>
                <a:gd name="T41" fmla="*/ 16 h 81"/>
                <a:gd name="T42" fmla="*/ 17 w 67"/>
                <a:gd name="T43" fmla="*/ 16 h 81"/>
                <a:gd name="T44" fmla="*/ 17 w 67"/>
                <a:gd name="T45" fmla="*/ 39 h 81"/>
                <a:gd name="T46" fmla="*/ 35 w 67"/>
                <a:gd name="T47" fmla="*/ 39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7" h="81">
                  <a:moveTo>
                    <a:pt x="0" y="9"/>
                  </a:moveTo>
                  <a:cubicBezTo>
                    <a:pt x="0" y="4"/>
                    <a:pt x="4" y="0"/>
                    <a:pt x="9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47" y="0"/>
                    <a:pt x="55" y="3"/>
                    <a:pt x="60" y="8"/>
                  </a:cubicBezTo>
                  <a:cubicBezTo>
                    <a:pt x="65" y="12"/>
                    <a:pt x="67" y="19"/>
                    <a:pt x="67" y="26"/>
                  </a:cubicBezTo>
                  <a:cubicBezTo>
                    <a:pt x="67" y="27"/>
                    <a:pt x="67" y="27"/>
                    <a:pt x="67" y="27"/>
                  </a:cubicBezTo>
                  <a:cubicBezTo>
                    <a:pt x="67" y="39"/>
                    <a:pt x="61" y="47"/>
                    <a:pt x="51" y="51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5" y="68"/>
                    <a:pt x="66" y="70"/>
                    <a:pt x="66" y="73"/>
                  </a:cubicBezTo>
                  <a:cubicBezTo>
                    <a:pt x="66" y="78"/>
                    <a:pt x="62" y="81"/>
                    <a:pt x="58" y="81"/>
                  </a:cubicBezTo>
                  <a:cubicBezTo>
                    <a:pt x="54" y="81"/>
                    <a:pt x="51" y="79"/>
                    <a:pt x="49" y="76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17" y="55"/>
                    <a:pt x="17" y="55"/>
                    <a:pt x="17" y="55"/>
                  </a:cubicBezTo>
                  <a:cubicBezTo>
                    <a:pt x="17" y="72"/>
                    <a:pt x="17" y="72"/>
                    <a:pt x="17" y="72"/>
                  </a:cubicBezTo>
                  <a:cubicBezTo>
                    <a:pt x="17" y="77"/>
                    <a:pt x="14" y="81"/>
                    <a:pt x="9" y="81"/>
                  </a:cubicBezTo>
                  <a:cubicBezTo>
                    <a:pt x="4" y="81"/>
                    <a:pt x="0" y="77"/>
                    <a:pt x="0" y="72"/>
                  </a:cubicBezTo>
                  <a:lnTo>
                    <a:pt x="0" y="9"/>
                  </a:lnTo>
                  <a:close/>
                  <a:moveTo>
                    <a:pt x="35" y="39"/>
                  </a:moveTo>
                  <a:cubicBezTo>
                    <a:pt x="44" y="39"/>
                    <a:pt x="49" y="34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0"/>
                    <a:pt x="44" y="16"/>
                    <a:pt x="35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39"/>
                    <a:pt x="17" y="39"/>
                    <a:pt x="17" y="39"/>
                  </a:cubicBezTo>
                  <a:lnTo>
                    <a:pt x="35" y="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Metric 2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2453" y="0"/>
            <a:ext cx="5699547" cy="6858000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05600" y="2209800"/>
            <a:ext cx="4389120" cy="1676400"/>
          </a:xfrm>
        </p:spPr>
        <p:txBody>
          <a:bodyPr anchor="b"/>
          <a:lstStyle>
            <a:lvl1pPr marL="3168" indent="0">
              <a:spcBef>
                <a:spcPts val="0"/>
              </a:spcBef>
              <a:buNone/>
              <a:defRPr sz="10976">
                <a:solidFill>
                  <a:schemeClr val="bg1"/>
                </a:solidFill>
              </a:defRPr>
            </a:lvl1pPr>
            <a:lvl2pPr marL="3168" indent="0">
              <a:spcBef>
                <a:spcPts val="0"/>
              </a:spcBef>
              <a:buNone/>
              <a:defRPr sz="10976">
                <a:solidFill>
                  <a:schemeClr val="bg1"/>
                </a:solidFill>
              </a:defRPr>
            </a:lvl2pPr>
            <a:lvl3pPr marL="3168" indent="0">
              <a:spcBef>
                <a:spcPts val="0"/>
              </a:spcBef>
              <a:buNone/>
              <a:defRPr sz="10976">
                <a:solidFill>
                  <a:schemeClr val="bg1"/>
                </a:solidFill>
              </a:defRPr>
            </a:lvl3pPr>
            <a:lvl4pPr marL="3168" indent="0">
              <a:spcBef>
                <a:spcPts val="0"/>
              </a:spcBef>
              <a:buNone/>
              <a:defRPr sz="10976">
                <a:solidFill>
                  <a:schemeClr val="bg1"/>
                </a:solidFill>
              </a:defRPr>
            </a:lvl4pPr>
            <a:lvl5pPr marL="3168" indent="0">
              <a:spcBef>
                <a:spcPts val="0"/>
              </a:spcBef>
              <a:buNone/>
              <a:defRPr sz="10976">
                <a:solidFill>
                  <a:schemeClr val="bg1"/>
                </a:solidFill>
              </a:defRPr>
            </a:lvl5pPr>
            <a:lvl6pPr marL="3168" indent="0">
              <a:spcBef>
                <a:spcPts val="0"/>
              </a:spcBef>
              <a:buNone/>
              <a:defRPr sz="10976">
                <a:solidFill>
                  <a:schemeClr val="bg1"/>
                </a:solidFill>
              </a:defRPr>
            </a:lvl6pPr>
            <a:lvl7pPr marL="3168" indent="0">
              <a:spcBef>
                <a:spcPts val="0"/>
              </a:spcBef>
              <a:buNone/>
              <a:defRPr sz="10976">
                <a:solidFill>
                  <a:schemeClr val="bg1"/>
                </a:solidFill>
              </a:defRPr>
            </a:lvl7pPr>
            <a:lvl8pPr marL="3168" indent="0">
              <a:spcBef>
                <a:spcPts val="0"/>
              </a:spcBef>
              <a:buNone/>
              <a:defRPr sz="10976">
                <a:solidFill>
                  <a:schemeClr val="bg1"/>
                </a:solidFill>
              </a:defRPr>
            </a:lvl8pPr>
            <a:lvl9pPr marL="3168" indent="0">
              <a:spcBef>
                <a:spcPts val="0"/>
              </a:spcBef>
              <a:buNone/>
              <a:defRPr sz="10976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705600" y="3886200"/>
            <a:ext cx="4389120" cy="1066800"/>
          </a:xfrm>
        </p:spPr>
        <p:txBody>
          <a:bodyPr/>
          <a:lstStyle>
            <a:lvl1pPr marL="3168" indent="0">
              <a:spcBef>
                <a:spcPts val="0"/>
              </a:spcBef>
              <a:buNone/>
              <a:defRPr sz="2395" cap="none" baseline="0">
                <a:solidFill>
                  <a:schemeClr val="bg1"/>
                </a:solidFill>
              </a:defRPr>
            </a:lvl1pPr>
            <a:lvl2pPr marL="3168" indent="0">
              <a:spcBef>
                <a:spcPts val="0"/>
              </a:spcBef>
              <a:buNone/>
              <a:defRPr sz="2395" cap="none" baseline="0">
                <a:solidFill>
                  <a:schemeClr val="bg1"/>
                </a:solidFill>
              </a:defRPr>
            </a:lvl2pPr>
            <a:lvl3pPr marL="3168" indent="0">
              <a:spcBef>
                <a:spcPts val="0"/>
              </a:spcBef>
              <a:buNone/>
              <a:defRPr sz="1996" cap="all" baseline="0">
                <a:solidFill>
                  <a:schemeClr val="bg1"/>
                </a:solidFill>
              </a:defRPr>
            </a:lvl3pPr>
            <a:lvl4pPr marL="3168" indent="0">
              <a:spcBef>
                <a:spcPts val="0"/>
              </a:spcBef>
              <a:buNone/>
              <a:defRPr sz="1996" cap="all" baseline="0">
                <a:solidFill>
                  <a:schemeClr val="bg1"/>
                </a:solidFill>
              </a:defRPr>
            </a:lvl4pPr>
            <a:lvl5pPr marL="3168" indent="0">
              <a:spcBef>
                <a:spcPts val="0"/>
              </a:spcBef>
              <a:buNone/>
              <a:defRPr sz="1996" cap="all" baseline="0">
                <a:solidFill>
                  <a:schemeClr val="bg1"/>
                </a:solidFill>
              </a:defRPr>
            </a:lvl5pPr>
            <a:lvl6pPr marL="3168" indent="0">
              <a:spcBef>
                <a:spcPts val="0"/>
              </a:spcBef>
              <a:buNone/>
              <a:defRPr sz="1996" cap="all" baseline="0">
                <a:solidFill>
                  <a:schemeClr val="bg1"/>
                </a:solidFill>
              </a:defRPr>
            </a:lvl6pPr>
            <a:lvl7pPr marL="3168" indent="0">
              <a:spcBef>
                <a:spcPts val="0"/>
              </a:spcBef>
              <a:buNone/>
              <a:defRPr sz="1996" cap="all" baseline="0">
                <a:solidFill>
                  <a:schemeClr val="bg1"/>
                </a:solidFill>
              </a:defRPr>
            </a:lvl7pPr>
            <a:lvl8pPr marL="3168" indent="0">
              <a:spcBef>
                <a:spcPts val="0"/>
              </a:spcBef>
              <a:buNone/>
              <a:defRPr sz="1996" cap="all" baseline="0">
                <a:solidFill>
                  <a:schemeClr val="bg1"/>
                </a:solidFill>
              </a:defRPr>
            </a:lvl8pPr>
            <a:lvl9pPr marL="3168" indent="0">
              <a:spcBef>
                <a:spcPts val="0"/>
              </a:spcBef>
              <a:buNone/>
              <a:defRPr sz="1996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grpSp>
        <p:nvGrpSpPr>
          <p:cNvPr id="13" name="Group 4"/>
          <p:cNvGrpSpPr>
            <a:grpSpLocks noChangeAspect="1"/>
          </p:cNvGrpSpPr>
          <p:nvPr/>
        </p:nvGrpSpPr>
        <p:grpSpPr bwMode="auto">
          <a:xfrm>
            <a:off x="615657" y="6376993"/>
            <a:ext cx="1294204" cy="242475"/>
            <a:chOff x="-16" y="4944"/>
            <a:chExt cx="3223" cy="604"/>
          </a:xfrm>
          <a:solidFill>
            <a:schemeClr val="bg1"/>
          </a:solidFill>
        </p:grpSpPr>
        <p:sp>
          <p:nvSpPr>
            <p:cNvPr id="15" name="Freeform 5"/>
            <p:cNvSpPr>
              <a:spLocks/>
            </p:cNvSpPr>
            <p:nvPr/>
          </p:nvSpPr>
          <p:spPr bwMode="auto">
            <a:xfrm>
              <a:off x="1098" y="5116"/>
              <a:ext cx="612" cy="429"/>
            </a:xfrm>
            <a:custGeom>
              <a:avLst/>
              <a:gdLst>
                <a:gd name="T0" fmla="*/ 943 w 993"/>
                <a:gd name="T1" fmla="*/ 0 h 694"/>
                <a:gd name="T2" fmla="*/ 894 w 993"/>
                <a:gd name="T3" fmla="*/ 39 h 694"/>
                <a:gd name="T4" fmla="*/ 721 w 993"/>
                <a:gd name="T5" fmla="*/ 550 h 694"/>
                <a:gd name="T6" fmla="*/ 551 w 993"/>
                <a:gd name="T7" fmla="*/ 40 h 694"/>
                <a:gd name="T8" fmla="*/ 499 w 993"/>
                <a:gd name="T9" fmla="*/ 0 h 694"/>
                <a:gd name="T10" fmla="*/ 494 w 993"/>
                <a:gd name="T11" fmla="*/ 0 h 694"/>
                <a:gd name="T12" fmla="*/ 444 w 993"/>
                <a:gd name="T13" fmla="*/ 40 h 694"/>
                <a:gd name="T14" fmla="*/ 272 w 993"/>
                <a:gd name="T15" fmla="*/ 550 h 694"/>
                <a:gd name="T16" fmla="*/ 102 w 993"/>
                <a:gd name="T17" fmla="*/ 42 h 694"/>
                <a:gd name="T18" fmla="*/ 51 w 993"/>
                <a:gd name="T19" fmla="*/ 0 h 694"/>
                <a:gd name="T20" fmla="*/ 0 w 993"/>
                <a:gd name="T21" fmla="*/ 48 h 694"/>
                <a:gd name="T22" fmla="*/ 6 w 993"/>
                <a:gd name="T23" fmla="*/ 76 h 694"/>
                <a:gd name="T24" fmla="*/ 212 w 993"/>
                <a:gd name="T25" fmla="*/ 648 h 694"/>
                <a:gd name="T26" fmla="*/ 268 w 993"/>
                <a:gd name="T27" fmla="*/ 694 h 694"/>
                <a:gd name="T28" fmla="*/ 271 w 993"/>
                <a:gd name="T29" fmla="*/ 694 h 694"/>
                <a:gd name="T30" fmla="*/ 326 w 993"/>
                <a:gd name="T31" fmla="*/ 648 h 694"/>
                <a:gd name="T32" fmla="*/ 496 w 993"/>
                <a:gd name="T33" fmla="*/ 154 h 694"/>
                <a:gd name="T34" fmla="*/ 665 w 993"/>
                <a:gd name="T35" fmla="*/ 648 h 694"/>
                <a:gd name="T36" fmla="*/ 720 w 993"/>
                <a:gd name="T37" fmla="*/ 694 h 694"/>
                <a:gd name="T38" fmla="*/ 724 w 993"/>
                <a:gd name="T39" fmla="*/ 694 h 694"/>
                <a:gd name="T40" fmla="*/ 779 w 993"/>
                <a:gd name="T41" fmla="*/ 648 h 694"/>
                <a:gd name="T42" fmla="*/ 986 w 993"/>
                <a:gd name="T43" fmla="*/ 74 h 694"/>
                <a:gd name="T44" fmla="*/ 993 w 993"/>
                <a:gd name="T45" fmla="*/ 47 h 694"/>
                <a:gd name="T46" fmla="*/ 943 w 993"/>
                <a:gd name="T47" fmla="*/ 0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93" h="694">
                  <a:moveTo>
                    <a:pt x="943" y="0"/>
                  </a:moveTo>
                  <a:cubicBezTo>
                    <a:pt x="915" y="0"/>
                    <a:pt x="901" y="18"/>
                    <a:pt x="894" y="39"/>
                  </a:cubicBezTo>
                  <a:cubicBezTo>
                    <a:pt x="721" y="550"/>
                    <a:pt x="721" y="550"/>
                    <a:pt x="721" y="550"/>
                  </a:cubicBezTo>
                  <a:cubicBezTo>
                    <a:pt x="551" y="40"/>
                    <a:pt x="551" y="40"/>
                    <a:pt x="551" y="40"/>
                  </a:cubicBezTo>
                  <a:cubicBezTo>
                    <a:pt x="543" y="17"/>
                    <a:pt x="526" y="0"/>
                    <a:pt x="499" y="0"/>
                  </a:cubicBezTo>
                  <a:cubicBezTo>
                    <a:pt x="494" y="0"/>
                    <a:pt x="494" y="0"/>
                    <a:pt x="494" y="0"/>
                  </a:cubicBezTo>
                  <a:cubicBezTo>
                    <a:pt x="467" y="0"/>
                    <a:pt x="452" y="17"/>
                    <a:pt x="444" y="40"/>
                  </a:cubicBezTo>
                  <a:cubicBezTo>
                    <a:pt x="272" y="550"/>
                    <a:pt x="272" y="550"/>
                    <a:pt x="272" y="550"/>
                  </a:cubicBezTo>
                  <a:cubicBezTo>
                    <a:pt x="102" y="42"/>
                    <a:pt x="102" y="42"/>
                    <a:pt x="102" y="42"/>
                  </a:cubicBezTo>
                  <a:cubicBezTo>
                    <a:pt x="94" y="17"/>
                    <a:pt x="77" y="0"/>
                    <a:pt x="51" y="0"/>
                  </a:cubicBezTo>
                  <a:cubicBezTo>
                    <a:pt x="21" y="0"/>
                    <a:pt x="0" y="23"/>
                    <a:pt x="0" y="48"/>
                  </a:cubicBezTo>
                  <a:cubicBezTo>
                    <a:pt x="0" y="57"/>
                    <a:pt x="4" y="68"/>
                    <a:pt x="6" y="76"/>
                  </a:cubicBezTo>
                  <a:cubicBezTo>
                    <a:pt x="212" y="648"/>
                    <a:pt x="212" y="648"/>
                    <a:pt x="212" y="648"/>
                  </a:cubicBezTo>
                  <a:cubicBezTo>
                    <a:pt x="222" y="678"/>
                    <a:pt x="243" y="694"/>
                    <a:pt x="268" y="694"/>
                  </a:cubicBezTo>
                  <a:cubicBezTo>
                    <a:pt x="271" y="694"/>
                    <a:pt x="271" y="694"/>
                    <a:pt x="271" y="694"/>
                  </a:cubicBezTo>
                  <a:cubicBezTo>
                    <a:pt x="297" y="694"/>
                    <a:pt x="317" y="678"/>
                    <a:pt x="326" y="648"/>
                  </a:cubicBezTo>
                  <a:cubicBezTo>
                    <a:pt x="496" y="154"/>
                    <a:pt x="496" y="154"/>
                    <a:pt x="496" y="154"/>
                  </a:cubicBezTo>
                  <a:cubicBezTo>
                    <a:pt x="665" y="648"/>
                    <a:pt x="665" y="648"/>
                    <a:pt x="665" y="648"/>
                  </a:cubicBezTo>
                  <a:cubicBezTo>
                    <a:pt x="674" y="678"/>
                    <a:pt x="694" y="694"/>
                    <a:pt x="720" y="694"/>
                  </a:cubicBezTo>
                  <a:cubicBezTo>
                    <a:pt x="724" y="694"/>
                    <a:pt x="724" y="694"/>
                    <a:pt x="724" y="694"/>
                  </a:cubicBezTo>
                  <a:cubicBezTo>
                    <a:pt x="748" y="694"/>
                    <a:pt x="769" y="678"/>
                    <a:pt x="779" y="648"/>
                  </a:cubicBezTo>
                  <a:cubicBezTo>
                    <a:pt x="986" y="74"/>
                    <a:pt x="986" y="74"/>
                    <a:pt x="986" y="74"/>
                  </a:cubicBezTo>
                  <a:cubicBezTo>
                    <a:pt x="989" y="67"/>
                    <a:pt x="993" y="56"/>
                    <a:pt x="993" y="47"/>
                  </a:cubicBezTo>
                  <a:cubicBezTo>
                    <a:pt x="993" y="22"/>
                    <a:pt x="972" y="0"/>
                    <a:pt x="943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16" name="Freeform 6"/>
            <p:cNvSpPr>
              <a:spLocks noEditPoints="1"/>
            </p:cNvSpPr>
            <p:nvPr/>
          </p:nvSpPr>
          <p:spPr bwMode="auto">
            <a:xfrm>
              <a:off x="1720" y="5111"/>
              <a:ext cx="417" cy="437"/>
            </a:xfrm>
            <a:custGeom>
              <a:avLst/>
              <a:gdLst>
                <a:gd name="T0" fmla="*/ 340 w 678"/>
                <a:gd name="T1" fmla="*/ 0 h 707"/>
                <a:gd name="T2" fmla="*/ 0 w 678"/>
                <a:gd name="T3" fmla="*/ 354 h 707"/>
                <a:gd name="T4" fmla="*/ 0 w 678"/>
                <a:gd name="T5" fmla="*/ 356 h 707"/>
                <a:gd name="T6" fmla="*/ 337 w 678"/>
                <a:gd name="T7" fmla="*/ 707 h 707"/>
                <a:gd name="T8" fmla="*/ 678 w 678"/>
                <a:gd name="T9" fmla="*/ 354 h 707"/>
                <a:gd name="T10" fmla="*/ 678 w 678"/>
                <a:gd name="T11" fmla="*/ 351 h 707"/>
                <a:gd name="T12" fmla="*/ 340 w 678"/>
                <a:gd name="T13" fmla="*/ 0 h 707"/>
                <a:gd name="T14" fmla="*/ 575 w 678"/>
                <a:gd name="T15" fmla="*/ 356 h 707"/>
                <a:gd name="T16" fmla="*/ 340 w 678"/>
                <a:gd name="T17" fmla="*/ 631 h 707"/>
                <a:gd name="T18" fmla="*/ 103 w 678"/>
                <a:gd name="T19" fmla="*/ 354 h 707"/>
                <a:gd name="T20" fmla="*/ 103 w 678"/>
                <a:gd name="T21" fmla="*/ 351 h 707"/>
                <a:gd name="T22" fmla="*/ 337 w 678"/>
                <a:gd name="T23" fmla="*/ 75 h 707"/>
                <a:gd name="T24" fmla="*/ 575 w 678"/>
                <a:gd name="T25" fmla="*/ 354 h 707"/>
                <a:gd name="T26" fmla="*/ 575 w 678"/>
                <a:gd name="T27" fmla="*/ 356 h 7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78" h="707">
                  <a:moveTo>
                    <a:pt x="340" y="0"/>
                  </a:moveTo>
                  <a:cubicBezTo>
                    <a:pt x="135" y="0"/>
                    <a:pt x="0" y="162"/>
                    <a:pt x="0" y="354"/>
                  </a:cubicBezTo>
                  <a:cubicBezTo>
                    <a:pt x="0" y="356"/>
                    <a:pt x="0" y="356"/>
                    <a:pt x="0" y="356"/>
                  </a:cubicBezTo>
                  <a:cubicBezTo>
                    <a:pt x="0" y="548"/>
                    <a:pt x="134" y="707"/>
                    <a:pt x="337" y="707"/>
                  </a:cubicBezTo>
                  <a:cubicBezTo>
                    <a:pt x="541" y="707"/>
                    <a:pt x="678" y="545"/>
                    <a:pt x="678" y="354"/>
                  </a:cubicBezTo>
                  <a:cubicBezTo>
                    <a:pt x="678" y="351"/>
                    <a:pt x="678" y="351"/>
                    <a:pt x="678" y="351"/>
                  </a:cubicBezTo>
                  <a:cubicBezTo>
                    <a:pt x="678" y="160"/>
                    <a:pt x="543" y="0"/>
                    <a:pt x="340" y="0"/>
                  </a:cubicBezTo>
                  <a:moveTo>
                    <a:pt x="575" y="356"/>
                  </a:moveTo>
                  <a:cubicBezTo>
                    <a:pt x="575" y="499"/>
                    <a:pt x="486" y="631"/>
                    <a:pt x="340" y="631"/>
                  </a:cubicBezTo>
                  <a:cubicBezTo>
                    <a:pt x="197" y="631"/>
                    <a:pt x="103" y="499"/>
                    <a:pt x="103" y="354"/>
                  </a:cubicBezTo>
                  <a:cubicBezTo>
                    <a:pt x="103" y="351"/>
                    <a:pt x="103" y="351"/>
                    <a:pt x="103" y="351"/>
                  </a:cubicBezTo>
                  <a:cubicBezTo>
                    <a:pt x="103" y="208"/>
                    <a:pt x="190" y="75"/>
                    <a:pt x="337" y="75"/>
                  </a:cubicBezTo>
                  <a:cubicBezTo>
                    <a:pt x="480" y="75"/>
                    <a:pt x="575" y="208"/>
                    <a:pt x="575" y="354"/>
                  </a:cubicBezTo>
                  <a:lnTo>
                    <a:pt x="575" y="3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2198" y="5115"/>
              <a:ext cx="236" cy="428"/>
            </a:xfrm>
            <a:custGeom>
              <a:avLst/>
              <a:gdLst>
                <a:gd name="T0" fmla="*/ 334 w 384"/>
                <a:gd name="T1" fmla="*/ 0 h 693"/>
                <a:gd name="T2" fmla="*/ 101 w 384"/>
                <a:gd name="T3" fmla="*/ 181 h 693"/>
                <a:gd name="T4" fmla="*/ 101 w 384"/>
                <a:gd name="T5" fmla="*/ 54 h 693"/>
                <a:gd name="T6" fmla="*/ 50 w 384"/>
                <a:gd name="T7" fmla="*/ 3 h 693"/>
                <a:gd name="T8" fmla="*/ 0 w 384"/>
                <a:gd name="T9" fmla="*/ 54 h 693"/>
                <a:gd name="T10" fmla="*/ 0 w 384"/>
                <a:gd name="T11" fmla="*/ 642 h 693"/>
                <a:gd name="T12" fmla="*/ 51 w 384"/>
                <a:gd name="T13" fmla="*/ 693 h 693"/>
                <a:gd name="T14" fmla="*/ 101 w 384"/>
                <a:gd name="T15" fmla="*/ 642 h 693"/>
                <a:gd name="T16" fmla="*/ 101 w 384"/>
                <a:gd name="T17" fmla="*/ 412 h 693"/>
                <a:gd name="T18" fmla="*/ 339 w 384"/>
                <a:gd name="T19" fmla="*/ 102 h 693"/>
                <a:gd name="T20" fmla="*/ 384 w 384"/>
                <a:gd name="T21" fmla="*/ 51 h 693"/>
                <a:gd name="T22" fmla="*/ 334 w 384"/>
                <a:gd name="T23" fmla="*/ 0 h 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4" h="693">
                  <a:moveTo>
                    <a:pt x="334" y="0"/>
                  </a:moveTo>
                  <a:cubicBezTo>
                    <a:pt x="249" y="0"/>
                    <a:pt x="151" y="68"/>
                    <a:pt x="101" y="181"/>
                  </a:cubicBezTo>
                  <a:cubicBezTo>
                    <a:pt x="101" y="54"/>
                    <a:pt x="101" y="54"/>
                    <a:pt x="101" y="54"/>
                  </a:cubicBezTo>
                  <a:cubicBezTo>
                    <a:pt x="101" y="25"/>
                    <a:pt x="79" y="3"/>
                    <a:pt x="50" y="3"/>
                  </a:cubicBezTo>
                  <a:cubicBezTo>
                    <a:pt x="22" y="3"/>
                    <a:pt x="0" y="26"/>
                    <a:pt x="0" y="54"/>
                  </a:cubicBezTo>
                  <a:cubicBezTo>
                    <a:pt x="0" y="642"/>
                    <a:pt x="0" y="642"/>
                    <a:pt x="0" y="642"/>
                  </a:cubicBezTo>
                  <a:cubicBezTo>
                    <a:pt x="0" y="671"/>
                    <a:pt x="22" y="693"/>
                    <a:pt x="51" y="693"/>
                  </a:cubicBezTo>
                  <a:cubicBezTo>
                    <a:pt x="80" y="693"/>
                    <a:pt x="101" y="670"/>
                    <a:pt x="101" y="642"/>
                  </a:cubicBezTo>
                  <a:cubicBezTo>
                    <a:pt x="101" y="412"/>
                    <a:pt x="101" y="412"/>
                    <a:pt x="101" y="412"/>
                  </a:cubicBezTo>
                  <a:cubicBezTo>
                    <a:pt x="101" y="216"/>
                    <a:pt x="208" y="118"/>
                    <a:pt x="339" y="102"/>
                  </a:cubicBezTo>
                  <a:cubicBezTo>
                    <a:pt x="365" y="98"/>
                    <a:pt x="384" y="79"/>
                    <a:pt x="384" y="51"/>
                  </a:cubicBezTo>
                  <a:cubicBezTo>
                    <a:pt x="384" y="22"/>
                    <a:pt x="364" y="0"/>
                    <a:pt x="33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18" name="Freeform 8"/>
            <p:cNvSpPr>
              <a:spLocks/>
            </p:cNvSpPr>
            <p:nvPr/>
          </p:nvSpPr>
          <p:spPr bwMode="auto">
            <a:xfrm>
              <a:off x="2500" y="4944"/>
              <a:ext cx="63" cy="599"/>
            </a:xfrm>
            <a:custGeom>
              <a:avLst/>
              <a:gdLst>
                <a:gd name="T0" fmla="*/ 49 w 101"/>
                <a:gd name="T1" fmla="*/ 0 h 969"/>
                <a:gd name="T2" fmla="*/ 0 w 101"/>
                <a:gd name="T3" fmla="*/ 51 h 969"/>
                <a:gd name="T4" fmla="*/ 0 w 101"/>
                <a:gd name="T5" fmla="*/ 918 h 969"/>
                <a:gd name="T6" fmla="*/ 51 w 101"/>
                <a:gd name="T7" fmla="*/ 969 h 969"/>
                <a:gd name="T8" fmla="*/ 101 w 101"/>
                <a:gd name="T9" fmla="*/ 918 h 969"/>
                <a:gd name="T10" fmla="*/ 101 w 101"/>
                <a:gd name="T11" fmla="*/ 51 h 969"/>
                <a:gd name="T12" fmla="*/ 49 w 101"/>
                <a:gd name="T13" fmla="*/ 0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" h="969">
                  <a:moveTo>
                    <a:pt x="49" y="0"/>
                  </a:moveTo>
                  <a:cubicBezTo>
                    <a:pt x="22" y="0"/>
                    <a:pt x="0" y="23"/>
                    <a:pt x="0" y="51"/>
                  </a:cubicBezTo>
                  <a:cubicBezTo>
                    <a:pt x="0" y="918"/>
                    <a:pt x="0" y="918"/>
                    <a:pt x="0" y="918"/>
                  </a:cubicBezTo>
                  <a:cubicBezTo>
                    <a:pt x="0" y="947"/>
                    <a:pt x="22" y="969"/>
                    <a:pt x="51" y="969"/>
                  </a:cubicBezTo>
                  <a:cubicBezTo>
                    <a:pt x="80" y="969"/>
                    <a:pt x="101" y="947"/>
                    <a:pt x="101" y="918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3"/>
                    <a:pt x="78" y="0"/>
                    <a:pt x="4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19" name="Freeform 9"/>
            <p:cNvSpPr>
              <a:spLocks noEditPoints="1"/>
            </p:cNvSpPr>
            <p:nvPr/>
          </p:nvSpPr>
          <p:spPr bwMode="auto">
            <a:xfrm>
              <a:off x="2626" y="4944"/>
              <a:ext cx="421" cy="604"/>
            </a:xfrm>
            <a:custGeom>
              <a:avLst/>
              <a:gdLst>
                <a:gd name="T0" fmla="*/ 633 w 684"/>
                <a:gd name="T1" fmla="*/ 0 h 977"/>
                <a:gd name="T2" fmla="*/ 583 w 684"/>
                <a:gd name="T3" fmla="*/ 51 h 977"/>
                <a:gd name="T4" fmla="*/ 583 w 684"/>
                <a:gd name="T5" fmla="*/ 415 h 977"/>
                <a:gd name="T6" fmla="*/ 324 w 684"/>
                <a:gd name="T7" fmla="*/ 271 h 977"/>
                <a:gd name="T8" fmla="*/ 0 w 684"/>
                <a:gd name="T9" fmla="*/ 623 h 977"/>
                <a:gd name="T10" fmla="*/ 0 w 684"/>
                <a:gd name="T11" fmla="*/ 626 h 977"/>
                <a:gd name="T12" fmla="*/ 324 w 684"/>
                <a:gd name="T13" fmla="*/ 977 h 977"/>
                <a:gd name="T14" fmla="*/ 583 w 684"/>
                <a:gd name="T15" fmla="*/ 826 h 977"/>
                <a:gd name="T16" fmla="*/ 583 w 684"/>
                <a:gd name="T17" fmla="*/ 918 h 977"/>
                <a:gd name="T18" fmla="*/ 634 w 684"/>
                <a:gd name="T19" fmla="*/ 969 h 977"/>
                <a:gd name="T20" fmla="*/ 684 w 684"/>
                <a:gd name="T21" fmla="*/ 918 h 977"/>
                <a:gd name="T22" fmla="*/ 684 w 684"/>
                <a:gd name="T23" fmla="*/ 51 h 977"/>
                <a:gd name="T24" fmla="*/ 633 w 684"/>
                <a:gd name="T25" fmla="*/ 0 h 977"/>
                <a:gd name="T26" fmla="*/ 587 w 684"/>
                <a:gd name="T27" fmla="*/ 625 h 977"/>
                <a:gd name="T28" fmla="*/ 342 w 684"/>
                <a:gd name="T29" fmla="*/ 887 h 977"/>
                <a:gd name="T30" fmla="*/ 104 w 684"/>
                <a:gd name="T31" fmla="*/ 625 h 977"/>
                <a:gd name="T32" fmla="*/ 104 w 684"/>
                <a:gd name="T33" fmla="*/ 622 h 977"/>
                <a:gd name="T34" fmla="*/ 342 w 684"/>
                <a:gd name="T35" fmla="*/ 361 h 977"/>
                <a:gd name="T36" fmla="*/ 587 w 684"/>
                <a:gd name="T37" fmla="*/ 622 h 977"/>
                <a:gd name="T38" fmla="*/ 587 w 684"/>
                <a:gd name="T39" fmla="*/ 625 h 9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84" h="977">
                  <a:moveTo>
                    <a:pt x="633" y="0"/>
                  </a:moveTo>
                  <a:cubicBezTo>
                    <a:pt x="604" y="0"/>
                    <a:pt x="583" y="22"/>
                    <a:pt x="583" y="51"/>
                  </a:cubicBezTo>
                  <a:cubicBezTo>
                    <a:pt x="583" y="415"/>
                    <a:pt x="583" y="415"/>
                    <a:pt x="583" y="415"/>
                  </a:cubicBezTo>
                  <a:cubicBezTo>
                    <a:pt x="531" y="339"/>
                    <a:pt x="450" y="271"/>
                    <a:pt x="324" y="271"/>
                  </a:cubicBezTo>
                  <a:cubicBezTo>
                    <a:pt x="161" y="271"/>
                    <a:pt x="0" y="402"/>
                    <a:pt x="0" y="623"/>
                  </a:cubicBezTo>
                  <a:cubicBezTo>
                    <a:pt x="0" y="626"/>
                    <a:pt x="0" y="626"/>
                    <a:pt x="0" y="626"/>
                  </a:cubicBezTo>
                  <a:cubicBezTo>
                    <a:pt x="0" y="849"/>
                    <a:pt x="161" y="977"/>
                    <a:pt x="324" y="977"/>
                  </a:cubicBezTo>
                  <a:cubicBezTo>
                    <a:pt x="448" y="977"/>
                    <a:pt x="528" y="908"/>
                    <a:pt x="583" y="826"/>
                  </a:cubicBezTo>
                  <a:cubicBezTo>
                    <a:pt x="583" y="918"/>
                    <a:pt x="583" y="918"/>
                    <a:pt x="583" y="918"/>
                  </a:cubicBezTo>
                  <a:cubicBezTo>
                    <a:pt x="583" y="947"/>
                    <a:pt x="605" y="969"/>
                    <a:pt x="634" y="969"/>
                  </a:cubicBezTo>
                  <a:cubicBezTo>
                    <a:pt x="662" y="969"/>
                    <a:pt x="684" y="947"/>
                    <a:pt x="684" y="918"/>
                  </a:cubicBezTo>
                  <a:cubicBezTo>
                    <a:pt x="684" y="51"/>
                    <a:pt x="684" y="51"/>
                    <a:pt x="684" y="51"/>
                  </a:cubicBezTo>
                  <a:cubicBezTo>
                    <a:pt x="684" y="22"/>
                    <a:pt x="662" y="0"/>
                    <a:pt x="633" y="0"/>
                  </a:cubicBezTo>
                  <a:moveTo>
                    <a:pt x="587" y="625"/>
                  </a:moveTo>
                  <a:cubicBezTo>
                    <a:pt x="587" y="780"/>
                    <a:pt x="468" y="887"/>
                    <a:pt x="342" y="887"/>
                  </a:cubicBezTo>
                  <a:cubicBezTo>
                    <a:pt x="215" y="887"/>
                    <a:pt x="104" y="784"/>
                    <a:pt x="104" y="625"/>
                  </a:cubicBezTo>
                  <a:cubicBezTo>
                    <a:pt x="104" y="622"/>
                    <a:pt x="104" y="622"/>
                    <a:pt x="104" y="622"/>
                  </a:cubicBezTo>
                  <a:cubicBezTo>
                    <a:pt x="104" y="458"/>
                    <a:pt x="211" y="361"/>
                    <a:pt x="342" y="361"/>
                  </a:cubicBezTo>
                  <a:cubicBezTo>
                    <a:pt x="468" y="361"/>
                    <a:pt x="587" y="466"/>
                    <a:pt x="587" y="622"/>
                  </a:cubicBezTo>
                  <a:lnTo>
                    <a:pt x="587" y="6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auto">
            <a:xfrm>
              <a:off x="-16" y="5101"/>
              <a:ext cx="1087" cy="447"/>
            </a:xfrm>
            <a:custGeom>
              <a:avLst/>
              <a:gdLst>
                <a:gd name="T0" fmla="*/ 1524 w 1764"/>
                <a:gd name="T1" fmla="*/ 13 h 724"/>
                <a:gd name="T2" fmla="*/ 1311 w 1764"/>
                <a:gd name="T3" fmla="*/ 104 h 724"/>
                <a:gd name="T4" fmla="*/ 1106 w 1764"/>
                <a:gd name="T5" fmla="*/ 13 h 724"/>
                <a:gd name="T6" fmla="*/ 904 w 1764"/>
                <a:gd name="T7" fmla="*/ 104 h 724"/>
                <a:gd name="T8" fmla="*/ 725 w 1764"/>
                <a:gd name="T9" fmla="*/ 13 h 724"/>
                <a:gd name="T10" fmla="*/ 508 w 1764"/>
                <a:gd name="T11" fmla="*/ 161 h 724"/>
                <a:gd name="T12" fmla="*/ 372 w 1764"/>
                <a:gd name="T13" fmla="*/ 482 h 724"/>
                <a:gd name="T14" fmla="*/ 197 w 1764"/>
                <a:gd name="T15" fmla="*/ 70 h 724"/>
                <a:gd name="T16" fmla="*/ 70 w 1764"/>
                <a:gd name="T17" fmla="*/ 22 h 724"/>
                <a:gd name="T18" fmla="*/ 23 w 1764"/>
                <a:gd name="T19" fmla="*/ 150 h 724"/>
                <a:gd name="T20" fmla="*/ 236 w 1764"/>
                <a:gd name="T21" fmla="*/ 613 h 724"/>
                <a:gd name="T22" fmla="*/ 372 w 1764"/>
                <a:gd name="T23" fmla="*/ 724 h 724"/>
                <a:gd name="T24" fmla="*/ 507 w 1764"/>
                <a:gd name="T25" fmla="*/ 613 h 724"/>
                <a:gd name="T26" fmla="*/ 695 w 1764"/>
                <a:gd name="T27" fmla="*/ 204 h 724"/>
                <a:gd name="T28" fmla="*/ 722 w 1764"/>
                <a:gd name="T29" fmla="*/ 187 h 724"/>
                <a:gd name="T30" fmla="*/ 751 w 1764"/>
                <a:gd name="T31" fmla="*/ 217 h 724"/>
                <a:gd name="T32" fmla="*/ 751 w 1764"/>
                <a:gd name="T33" fmla="*/ 613 h 724"/>
                <a:gd name="T34" fmla="*/ 850 w 1764"/>
                <a:gd name="T35" fmla="*/ 724 h 724"/>
                <a:gd name="T36" fmla="*/ 951 w 1764"/>
                <a:gd name="T37" fmla="*/ 613 h 724"/>
                <a:gd name="T38" fmla="*/ 951 w 1764"/>
                <a:gd name="T39" fmla="*/ 289 h 724"/>
                <a:gd name="T40" fmla="*/ 1056 w 1764"/>
                <a:gd name="T41" fmla="*/ 186 h 724"/>
                <a:gd name="T42" fmla="*/ 1158 w 1764"/>
                <a:gd name="T43" fmla="*/ 289 h 724"/>
                <a:gd name="T44" fmla="*/ 1158 w 1764"/>
                <a:gd name="T45" fmla="*/ 613 h 724"/>
                <a:gd name="T46" fmla="*/ 1257 w 1764"/>
                <a:gd name="T47" fmla="*/ 724 h 724"/>
                <a:gd name="T48" fmla="*/ 1358 w 1764"/>
                <a:gd name="T49" fmla="*/ 613 h 724"/>
                <a:gd name="T50" fmla="*/ 1358 w 1764"/>
                <a:gd name="T51" fmla="*/ 289 h 724"/>
                <a:gd name="T52" fmla="*/ 1463 w 1764"/>
                <a:gd name="T53" fmla="*/ 186 h 724"/>
                <a:gd name="T54" fmla="*/ 1565 w 1764"/>
                <a:gd name="T55" fmla="*/ 289 h 724"/>
                <a:gd name="T56" fmla="*/ 1565 w 1764"/>
                <a:gd name="T57" fmla="*/ 613 h 724"/>
                <a:gd name="T58" fmla="*/ 1664 w 1764"/>
                <a:gd name="T59" fmla="*/ 724 h 724"/>
                <a:gd name="T60" fmla="*/ 1764 w 1764"/>
                <a:gd name="T61" fmla="*/ 613 h 724"/>
                <a:gd name="T62" fmla="*/ 1764 w 1764"/>
                <a:gd name="T63" fmla="*/ 244 h 724"/>
                <a:gd name="T64" fmla="*/ 1524 w 1764"/>
                <a:gd name="T65" fmla="*/ 13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64" h="724">
                  <a:moveTo>
                    <a:pt x="1524" y="13"/>
                  </a:moveTo>
                  <a:cubicBezTo>
                    <a:pt x="1393" y="13"/>
                    <a:pt x="1311" y="104"/>
                    <a:pt x="1311" y="104"/>
                  </a:cubicBezTo>
                  <a:cubicBezTo>
                    <a:pt x="1267" y="47"/>
                    <a:pt x="1207" y="13"/>
                    <a:pt x="1106" y="13"/>
                  </a:cubicBezTo>
                  <a:cubicBezTo>
                    <a:pt x="998" y="13"/>
                    <a:pt x="904" y="104"/>
                    <a:pt x="904" y="104"/>
                  </a:cubicBezTo>
                  <a:cubicBezTo>
                    <a:pt x="861" y="47"/>
                    <a:pt x="786" y="13"/>
                    <a:pt x="725" y="13"/>
                  </a:cubicBezTo>
                  <a:cubicBezTo>
                    <a:pt x="630" y="13"/>
                    <a:pt x="554" y="55"/>
                    <a:pt x="508" y="161"/>
                  </a:cubicBezTo>
                  <a:cubicBezTo>
                    <a:pt x="372" y="482"/>
                    <a:pt x="372" y="482"/>
                    <a:pt x="372" y="482"/>
                  </a:cubicBezTo>
                  <a:cubicBezTo>
                    <a:pt x="197" y="70"/>
                    <a:pt x="197" y="70"/>
                    <a:pt x="197" y="70"/>
                  </a:cubicBezTo>
                  <a:cubicBezTo>
                    <a:pt x="175" y="22"/>
                    <a:pt x="121" y="0"/>
                    <a:pt x="70" y="22"/>
                  </a:cubicBezTo>
                  <a:cubicBezTo>
                    <a:pt x="19" y="45"/>
                    <a:pt x="0" y="101"/>
                    <a:pt x="23" y="150"/>
                  </a:cubicBezTo>
                  <a:cubicBezTo>
                    <a:pt x="236" y="613"/>
                    <a:pt x="236" y="613"/>
                    <a:pt x="236" y="613"/>
                  </a:cubicBezTo>
                  <a:cubicBezTo>
                    <a:pt x="270" y="686"/>
                    <a:pt x="305" y="724"/>
                    <a:pt x="372" y="724"/>
                  </a:cubicBezTo>
                  <a:cubicBezTo>
                    <a:pt x="443" y="724"/>
                    <a:pt x="474" y="683"/>
                    <a:pt x="507" y="613"/>
                  </a:cubicBezTo>
                  <a:cubicBezTo>
                    <a:pt x="507" y="613"/>
                    <a:pt x="693" y="208"/>
                    <a:pt x="695" y="204"/>
                  </a:cubicBezTo>
                  <a:cubicBezTo>
                    <a:pt x="697" y="200"/>
                    <a:pt x="703" y="186"/>
                    <a:pt x="722" y="187"/>
                  </a:cubicBezTo>
                  <a:cubicBezTo>
                    <a:pt x="738" y="187"/>
                    <a:pt x="751" y="199"/>
                    <a:pt x="751" y="217"/>
                  </a:cubicBezTo>
                  <a:cubicBezTo>
                    <a:pt x="751" y="613"/>
                    <a:pt x="751" y="613"/>
                    <a:pt x="751" y="613"/>
                  </a:cubicBezTo>
                  <a:cubicBezTo>
                    <a:pt x="751" y="674"/>
                    <a:pt x="785" y="724"/>
                    <a:pt x="850" y="724"/>
                  </a:cubicBezTo>
                  <a:cubicBezTo>
                    <a:pt x="915" y="724"/>
                    <a:pt x="951" y="674"/>
                    <a:pt x="951" y="613"/>
                  </a:cubicBezTo>
                  <a:cubicBezTo>
                    <a:pt x="951" y="289"/>
                    <a:pt x="951" y="289"/>
                    <a:pt x="951" y="289"/>
                  </a:cubicBezTo>
                  <a:cubicBezTo>
                    <a:pt x="951" y="226"/>
                    <a:pt x="995" y="186"/>
                    <a:pt x="1056" y="186"/>
                  </a:cubicBezTo>
                  <a:cubicBezTo>
                    <a:pt x="1118" y="186"/>
                    <a:pt x="1158" y="228"/>
                    <a:pt x="1158" y="289"/>
                  </a:cubicBezTo>
                  <a:cubicBezTo>
                    <a:pt x="1158" y="613"/>
                    <a:pt x="1158" y="613"/>
                    <a:pt x="1158" y="613"/>
                  </a:cubicBezTo>
                  <a:cubicBezTo>
                    <a:pt x="1158" y="674"/>
                    <a:pt x="1192" y="724"/>
                    <a:pt x="1257" y="724"/>
                  </a:cubicBezTo>
                  <a:cubicBezTo>
                    <a:pt x="1322" y="724"/>
                    <a:pt x="1358" y="674"/>
                    <a:pt x="1358" y="613"/>
                  </a:cubicBezTo>
                  <a:cubicBezTo>
                    <a:pt x="1358" y="289"/>
                    <a:pt x="1358" y="289"/>
                    <a:pt x="1358" y="289"/>
                  </a:cubicBezTo>
                  <a:cubicBezTo>
                    <a:pt x="1358" y="226"/>
                    <a:pt x="1402" y="186"/>
                    <a:pt x="1463" y="186"/>
                  </a:cubicBezTo>
                  <a:cubicBezTo>
                    <a:pt x="1524" y="186"/>
                    <a:pt x="1565" y="228"/>
                    <a:pt x="1565" y="289"/>
                  </a:cubicBezTo>
                  <a:cubicBezTo>
                    <a:pt x="1565" y="613"/>
                    <a:pt x="1565" y="613"/>
                    <a:pt x="1565" y="613"/>
                  </a:cubicBezTo>
                  <a:cubicBezTo>
                    <a:pt x="1565" y="674"/>
                    <a:pt x="1599" y="724"/>
                    <a:pt x="1664" y="724"/>
                  </a:cubicBezTo>
                  <a:cubicBezTo>
                    <a:pt x="1729" y="724"/>
                    <a:pt x="1764" y="674"/>
                    <a:pt x="1764" y="613"/>
                  </a:cubicBezTo>
                  <a:cubicBezTo>
                    <a:pt x="1764" y="244"/>
                    <a:pt x="1764" y="244"/>
                    <a:pt x="1764" y="244"/>
                  </a:cubicBezTo>
                  <a:cubicBezTo>
                    <a:pt x="1764" y="108"/>
                    <a:pt x="1655" y="13"/>
                    <a:pt x="1524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21" name="Freeform 11"/>
            <p:cNvSpPr>
              <a:spLocks noEditPoints="1"/>
            </p:cNvSpPr>
            <p:nvPr/>
          </p:nvSpPr>
          <p:spPr bwMode="auto">
            <a:xfrm>
              <a:off x="3104" y="4944"/>
              <a:ext cx="103" cy="103"/>
            </a:xfrm>
            <a:custGeom>
              <a:avLst/>
              <a:gdLst>
                <a:gd name="T0" fmla="*/ 0 w 167"/>
                <a:gd name="T1" fmla="*/ 84 h 167"/>
                <a:gd name="T2" fmla="*/ 0 w 167"/>
                <a:gd name="T3" fmla="*/ 83 h 167"/>
                <a:gd name="T4" fmla="*/ 84 w 167"/>
                <a:gd name="T5" fmla="*/ 0 h 167"/>
                <a:gd name="T6" fmla="*/ 167 w 167"/>
                <a:gd name="T7" fmla="*/ 83 h 167"/>
                <a:gd name="T8" fmla="*/ 167 w 167"/>
                <a:gd name="T9" fmla="*/ 83 h 167"/>
                <a:gd name="T10" fmla="*/ 84 w 167"/>
                <a:gd name="T11" fmla="*/ 167 h 167"/>
                <a:gd name="T12" fmla="*/ 0 w 167"/>
                <a:gd name="T13" fmla="*/ 84 h 167"/>
                <a:gd name="T14" fmla="*/ 151 w 167"/>
                <a:gd name="T15" fmla="*/ 83 h 167"/>
                <a:gd name="T16" fmla="*/ 151 w 167"/>
                <a:gd name="T17" fmla="*/ 83 h 167"/>
                <a:gd name="T18" fmla="*/ 84 w 167"/>
                <a:gd name="T19" fmla="*/ 15 h 167"/>
                <a:gd name="T20" fmla="*/ 16 w 167"/>
                <a:gd name="T21" fmla="*/ 83 h 167"/>
                <a:gd name="T22" fmla="*/ 16 w 167"/>
                <a:gd name="T23" fmla="*/ 84 h 167"/>
                <a:gd name="T24" fmla="*/ 84 w 167"/>
                <a:gd name="T25" fmla="*/ 152 h 167"/>
                <a:gd name="T26" fmla="*/ 151 w 167"/>
                <a:gd name="T27" fmla="*/ 83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7" h="167">
                  <a:moveTo>
                    <a:pt x="0" y="84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0" y="38"/>
                    <a:pt x="37" y="0"/>
                    <a:pt x="84" y="0"/>
                  </a:cubicBezTo>
                  <a:cubicBezTo>
                    <a:pt x="131" y="0"/>
                    <a:pt x="167" y="38"/>
                    <a:pt x="167" y="83"/>
                  </a:cubicBezTo>
                  <a:cubicBezTo>
                    <a:pt x="167" y="83"/>
                    <a:pt x="167" y="83"/>
                    <a:pt x="167" y="83"/>
                  </a:cubicBezTo>
                  <a:cubicBezTo>
                    <a:pt x="167" y="129"/>
                    <a:pt x="130" y="167"/>
                    <a:pt x="84" y="167"/>
                  </a:cubicBezTo>
                  <a:cubicBezTo>
                    <a:pt x="36" y="167"/>
                    <a:pt x="0" y="130"/>
                    <a:pt x="0" y="84"/>
                  </a:cubicBezTo>
                  <a:moveTo>
                    <a:pt x="151" y="83"/>
                  </a:moveTo>
                  <a:cubicBezTo>
                    <a:pt x="151" y="83"/>
                    <a:pt x="151" y="83"/>
                    <a:pt x="151" y="83"/>
                  </a:cubicBezTo>
                  <a:cubicBezTo>
                    <a:pt x="151" y="46"/>
                    <a:pt x="122" y="15"/>
                    <a:pt x="84" y="15"/>
                  </a:cubicBezTo>
                  <a:cubicBezTo>
                    <a:pt x="45" y="15"/>
                    <a:pt x="16" y="46"/>
                    <a:pt x="16" y="83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6" y="121"/>
                    <a:pt x="45" y="152"/>
                    <a:pt x="84" y="152"/>
                  </a:cubicBezTo>
                  <a:cubicBezTo>
                    <a:pt x="122" y="152"/>
                    <a:pt x="151" y="121"/>
                    <a:pt x="151" y="8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22" name="Freeform 12"/>
            <p:cNvSpPr>
              <a:spLocks noEditPoints="1"/>
            </p:cNvSpPr>
            <p:nvPr/>
          </p:nvSpPr>
          <p:spPr bwMode="auto">
            <a:xfrm>
              <a:off x="3136" y="4970"/>
              <a:ext cx="42" cy="50"/>
            </a:xfrm>
            <a:custGeom>
              <a:avLst/>
              <a:gdLst>
                <a:gd name="T0" fmla="*/ 0 w 67"/>
                <a:gd name="T1" fmla="*/ 9 h 81"/>
                <a:gd name="T2" fmla="*/ 9 w 67"/>
                <a:gd name="T3" fmla="*/ 0 h 81"/>
                <a:gd name="T4" fmla="*/ 36 w 67"/>
                <a:gd name="T5" fmla="*/ 0 h 81"/>
                <a:gd name="T6" fmla="*/ 60 w 67"/>
                <a:gd name="T7" fmla="*/ 8 h 81"/>
                <a:gd name="T8" fmla="*/ 67 w 67"/>
                <a:gd name="T9" fmla="*/ 26 h 81"/>
                <a:gd name="T10" fmla="*/ 67 w 67"/>
                <a:gd name="T11" fmla="*/ 27 h 81"/>
                <a:gd name="T12" fmla="*/ 51 w 67"/>
                <a:gd name="T13" fmla="*/ 51 h 81"/>
                <a:gd name="T14" fmla="*/ 63 w 67"/>
                <a:gd name="T15" fmla="*/ 66 h 81"/>
                <a:gd name="T16" fmla="*/ 66 w 67"/>
                <a:gd name="T17" fmla="*/ 73 h 81"/>
                <a:gd name="T18" fmla="*/ 58 w 67"/>
                <a:gd name="T19" fmla="*/ 81 h 81"/>
                <a:gd name="T20" fmla="*/ 49 w 67"/>
                <a:gd name="T21" fmla="*/ 76 h 81"/>
                <a:gd name="T22" fmla="*/ 32 w 67"/>
                <a:gd name="T23" fmla="*/ 55 h 81"/>
                <a:gd name="T24" fmla="*/ 17 w 67"/>
                <a:gd name="T25" fmla="*/ 55 h 81"/>
                <a:gd name="T26" fmla="*/ 17 w 67"/>
                <a:gd name="T27" fmla="*/ 72 h 81"/>
                <a:gd name="T28" fmla="*/ 9 w 67"/>
                <a:gd name="T29" fmla="*/ 81 h 81"/>
                <a:gd name="T30" fmla="*/ 0 w 67"/>
                <a:gd name="T31" fmla="*/ 72 h 81"/>
                <a:gd name="T32" fmla="*/ 0 w 67"/>
                <a:gd name="T33" fmla="*/ 9 h 81"/>
                <a:gd name="T34" fmla="*/ 35 w 67"/>
                <a:gd name="T35" fmla="*/ 39 h 81"/>
                <a:gd name="T36" fmla="*/ 49 w 67"/>
                <a:gd name="T37" fmla="*/ 27 h 81"/>
                <a:gd name="T38" fmla="*/ 49 w 67"/>
                <a:gd name="T39" fmla="*/ 27 h 81"/>
                <a:gd name="T40" fmla="*/ 35 w 67"/>
                <a:gd name="T41" fmla="*/ 16 h 81"/>
                <a:gd name="T42" fmla="*/ 17 w 67"/>
                <a:gd name="T43" fmla="*/ 16 h 81"/>
                <a:gd name="T44" fmla="*/ 17 w 67"/>
                <a:gd name="T45" fmla="*/ 39 h 81"/>
                <a:gd name="T46" fmla="*/ 35 w 67"/>
                <a:gd name="T47" fmla="*/ 39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7" h="81">
                  <a:moveTo>
                    <a:pt x="0" y="9"/>
                  </a:moveTo>
                  <a:cubicBezTo>
                    <a:pt x="0" y="4"/>
                    <a:pt x="4" y="0"/>
                    <a:pt x="9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47" y="0"/>
                    <a:pt x="55" y="3"/>
                    <a:pt x="60" y="8"/>
                  </a:cubicBezTo>
                  <a:cubicBezTo>
                    <a:pt x="65" y="12"/>
                    <a:pt x="67" y="19"/>
                    <a:pt x="67" y="26"/>
                  </a:cubicBezTo>
                  <a:cubicBezTo>
                    <a:pt x="67" y="27"/>
                    <a:pt x="67" y="27"/>
                    <a:pt x="67" y="27"/>
                  </a:cubicBezTo>
                  <a:cubicBezTo>
                    <a:pt x="67" y="39"/>
                    <a:pt x="61" y="47"/>
                    <a:pt x="51" y="51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5" y="68"/>
                    <a:pt x="66" y="70"/>
                    <a:pt x="66" y="73"/>
                  </a:cubicBezTo>
                  <a:cubicBezTo>
                    <a:pt x="66" y="78"/>
                    <a:pt x="62" y="81"/>
                    <a:pt x="58" y="81"/>
                  </a:cubicBezTo>
                  <a:cubicBezTo>
                    <a:pt x="54" y="81"/>
                    <a:pt x="51" y="79"/>
                    <a:pt x="49" y="76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17" y="55"/>
                    <a:pt x="17" y="55"/>
                    <a:pt x="17" y="55"/>
                  </a:cubicBezTo>
                  <a:cubicBezTo>
                    <a:pt x="17" y="72"/>
                    <a:pt x="17" y="72"/>
                    <a:pt x="17" y="72"/>
                  </a:cubicBezTo>
                  <a:cubicBezTo>
                    <a:pt x="17" y="77"/>
                    <a:pt x="14" y="81"/>
                    <a:pt x="9" y="81"/>
                  </a:cubicBezTo>
                  <a:cubicBezTo>
                    <a:pt x="4" y="81"/>
                    <a:pt x="0" y="77"/>
                    <a:pt x="0" y="72"/>
                  </a:cubicBezTo>
                  <a:lnTo>
                    <a:pt x="0" y="9"/>
                  </a:lnTo>
                  <a:close/>
                  <a:moveTo>
                    <a:pt x="35" y="39"/>
                  </a:moveTo>
                  <a:cubicBezTo>
                    <a:pt x="44" y="39"/>
                    <a:pt x="49" y="34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0"/>
                    <a:pt x="44" y="16"/>
                    <a:pt x="35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39"/>
                    <a:pt x="17" y="39"/>
                    <a:pt x="17" y="39"/>
                  </a:cubicBezTo>
                  <a:lnTo>
                    <a:pt x="35" y="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Metric 3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568503"/>
            <a:ext cx="12192127" cy="6289499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27201" y="4740499"/>
            <a:ext cx="4064000" cy="1415602"/>
          </a:xfrm>
        </p:spPr>
        <p:txBody>
          <a:bodyPr anchor="ctr"/>
          <a:lstStyle>
            <a:lvl1pPr marL="3168" indent="0" algn="r">
              <a:spcBef>
                <a:spcPts val="0"/>
              </a:spcBef>
              <a:buNone/>
              <a:defRPr sz="8781">
                <a:solidFill>
                  <a:schemeClr val="accent3">
                    <a:lumMod val="50000"/>
                  </a:schemeClr>
                </a:solidFill>
              </a:defRPr>
            </a:lvl1pPr>
            <a:lvl2pPr marL="3168" indent="0">
              <a:spcBef>
                <a:spcPts val="0"/>
              </a:spcBef>
              <a:buNone/>
              <a:defRPr sz="8781">
                <a:solidFill>
                  <a:schemeClr val="accent1">
                    <a:lumMod val="50000"/>
                  </a:schemeClr>
                </a:solidFill>
              </a:defRPr>
            </a:lvl2pPr>
            <a:lvl3pPr marL="3168" indent="0">
              <a:spcBef>
                <a:spcPts val="0"/>
              </a:spcBef>
              <a:buNone/>
              <a:defRPr sz="8781">
                <a:solidFill>
                  <a:schemeClr val="accent1">
                    <a:lumMod val="50000"/>
                  </a:schemeClr>
                </a:solidFill>
              </a:defRPr>
            </a:lvl3pPr>
            <a:lvl4pPr marL="3168" indent="0">
              <a:spcBef>
                <a:spcPts val="0"/>
              </a:spcBef>
              <a:buNone/>
              <a:defRPr sz="8781">
                <a:solidFill>
                  <a:schemeClr val="accent1">
                    <a:lumMod val="50000"/>
                  </a:schemeClr>
                </a:solidFill>
              </a:defRPr>
            </a:lvl4pPr>
            <a:lvl5pPr marL="3168" indent="0">
              <a:spcBef>
                <a:spcPts val="0"/>
              </a:spcBef>
              <a:buNone/>
              <a:defRPr sz="8781">
                <a:solidFill>
                  <a:schemeClr val="accent1">
                    <a:lumMod val="50000"/>
                  </a:schemeClr>
                </a:solidFill>
              </a:defRPr>
            </a:lvl5pPr>
            <a:lvl6pPr marL="3168" indent="0">
              <a:spcBef>
                <a:spcPts val="0"/>
              </a:spcBef>
              <a:buNone/>
              <a:defRPr sz="8781">
                <a:solidFill>
                  <a:schemeClr val="accent1">
                    <a:lumMod val="50000"/>
                  </a:schemeClr>
                </a:solidFill>
              </a:defRPr>
            </a:lvl6pPr>
            <a:lvl7pPr marL="3168" indent="0">
              <a:spcBef>
                <a:spcPts val="0"/>
              </a:spcBef>
              <a:buNone/>
              <a:defRPr sz="8781">
                <a:solidFill>
                  <a:schemeClr val="accent1">
                    <a:lumMod val="50000"/>
                  </a:schemeClr>
                </a:solidFill>
              </a:defRPr>
            </a:lvl7pPr>
            <a:lvl8pPr marL="3168" indent="0">
              <a:spcBef>
                <a:spcPts val="0"/>
              </a:spcBef>
              <a:buNone/>
              <a:defRPr sz="8781">
                <a:solidFill>
                  <a:schemeClr val="accent1">
                    <a:lumMod val="50000"/>
                  </a:schemeClr>
                </a:solidFill>
              </a:defRPr>
            </a:lvl8pPr>
            <a:lvl9pPr marL="3168" indent="0">
              <a:spcBef>
                <a:spcPts val="0"/>
              </a:spcBef>
              <a:buNone/>
              <a:defRPr sz="8781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6096001" y="4740499"/>
            <a:ext cx="4511040" cy="1415602"/>
          </a:xfrm>
        </p:spPr>
        <p:txBody>
          <a:bodyPr anchor="ctr"/>
          <a:lstStyle>
            <a:lvl1pPr marL="3168" indent="0">
              <a:spcBef>
                <a:spcPts val="0"/>
              </a:spcBef>
              <a:buNone/>
              <a:defRPr sz="2395">
                <a:solidFill>
                  <a:schemeClr val="accent3">
                    <a:lumMod val="50000"/>
                  </a:schemeClr>
                </a:solidFill>
              </a:defRPr>
            </a:lvl1pPr>
            <a:lvl2pPr marL="3168" indent="0">
              <a:spcBef>
                <a:spcPts val="0"/>
              </a:spcBef>
              <a:buNone/>
              <a:defRPr sz="1996">
                <a:solidFill>
                  <a:schemeClr val="accent1">
                    <a:lumMod val="50000"/>
                  </a:schemeClr>
                </a:solidFill>
              </a:defRPr>
            </a:lvl2pPr>
            <a:lvl3pPr marL="3168" indent="0">
              <a:spcBef>
                <a:spcPts val="0"/>
              </a:spcBef>
              <a:buNone/>
              <a:defRPr sz="1996">
                <a:solidFill>
                  <a:schemeClr val="accent1">
                    <a:lumMod val="50000"/>
                  </a:schemeClr>
                </a:solidFill>
              </a:defRPr>
            </a:lvl3pPr>
            <a:lvl4pPr marL="3168" indent="0">
              <a:spcBef>
                <a:spcPts val="0"/>
              </a:spcBef>
              <a:buNone/>
              <a:defRPr sz="1996">
                <a:solidFill>
                  <a:schemeClr val="accent1">
                    <a:lumMod val="50000"/>
                  </a:schemeClr>
                </a:solidFill>
              </a:defRPr>
            </a:lvl4pPr>
            <a:lvl5pPr marL="3168" indent="0">
              <a:spcBef>
                <a:spcPts val="0"/>
              </a:spcBef>
              <a:buNone/>
              <a:defRPr sz="1996">
                <a:solidFill>
                  <a:schemeClr val="accent1">
                    <a:lumMod val="50000"/>
                  </a:schemeClr>
                </a:solidFill>
              </a:defRPr>
            </a:lvl5pPr>
            <a:lvl6pPr marL="3168" indent="0">
              <a:spcBef>
                <a:spcPts val="0"/>
              </a:spcBef>
              <a:buNone/>
              <a:defRPr sz="1996">
                <a:solidFill>
                  <a:schemeClr val="accent1">
                    <a:lumMod val="50000"/>
                  </a:schemeClr>
                </a:solidFill>
              </a:defRPr>
            </a:lvl6pPr>
            <a:lvl7pPr marL="3168" indent="0">
              <a:spcBef>
                <a:spcPts val="0"/>
              </a:spcBef>
              <a:buNone/>
              <a:defRPr sz="1996">
                <a:solidFill>
                  <a:schemeClr val="accent1">
                    <a:lumMod val="50000"/>
                  </a:schemeClr>
                </a:solidFill>
              </a:defRPr>
            </a:lvl7pPr>
            <a:lvl8pPr marL="3168" indent="0">
              <a:spcBef>
                <a:spcPts val="0"/>
              </a:spcBef>
              <a:buNone/>
              <a:defRPr sz="1996">
                <a:solidFill>
                  <a:schemeClr val="accent1">
                    <a:lumMod val="50000"/>
                  </a:schemeClr>
                </a:solidFill>
              </a:defRPr>
            </a:lvl8pPr>
            <a:lvl9pPr marL="3168" indent="0">
              <a:spcBef>
                <a:spcPts val="0"/>
              </a:spcBef>
              <a:buNone/>
              <a:defRPr sz="1996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3" name="Group 4"/>
          <p:cNvGrpSpPr>
            <a:grpSpLocks noChangeAspect="1"/>
          </p:cNvGrpSpPr>
          <p:nvPr/>
        </p:nvGrpSpPr>
        <p:grpSpPr bwMode="auto">
          <a:xfrm>
            <a:off x="615657" y="6376993"/>
            <a:ext cx="1294204" cy="242475"/>
            <a:chOff x="-16" y="4944"/>
            <a:chExt cx="3223" cy="604"/>
          </a:xfrm>
          <a:solidFill>
            <a:schemeClr val="tx1"/>
          </a:solidFill>
        </p:grpSpPr>
        <p:sp>
          <p:nvSpPr>
            <p:cNvPr id="15" name="Freeform 5"/>
            <p:cNvSpPr>
              <a:spLocks/>
            </p:cNvSpPr>
            <p:nvPr/>
          </p:nvSpPr>
          <p:spPr bwMode="auto">
            <a:xfrm>
              <a:off x="1098" y="5116"/>
              <a:ext cx="612" cy="429"/>
            </a:xfrm>
            <a:custGeom>
              <a:avLst/>
              <a:gdLst>
                <a:gd name="T0" fmla="*/ 943 w 993"/>
                <a:gd name="T1" fmla="*/ 0 h 694"/>
                <a:gd name="T2" fmla="*/ 894 w 993"/>
                <a:gd name="T3" fmla="*/ 39 h 694"/>
                <a:gd name="T4" fmla="*/ 721 w 993"/>
                <a:gd name="T5" fmla="*/ 550 h 694"/>
                <a:gd name="T6" fmla="*/ 551 w 993"/>
                <a:gd name="T7" fmla="*/ 40 h 694"/>
                <a:gd name="T8" fmla="*/ 499 w 993"/>
                <a:gd name="T9" fmla="*/ 0 h 694"/>
                <a:gd name="T10" fmla="*/ 494 w 993"/>
                <a:gd name="T11" fmla="*/ 0 h 694"/>
                <a:gd name="T12" fmla="*/ 444 w 993"/>
                <a:gd name="T13" fmla="*/ 40 h 694"/>
                <a:gd name="T14" fmla="*/ 272 w 993"/>
                <a:gd name="T15" fmla="*/ 550 h 694"/>
                <a:gd name="T16" fmla="*/ 102 w 993"/>
                <a:gd name="T17" fmla="*/ 42 h 694"/>
                <a:gd name="T18" fmla="*/ 51 w 993"/>
                <a:gd name="T19" fmla="*/ 0 h 694"/>
                <a:gd name="T20" fmla="*/ 0 w 993"/>
                <a:gd name="T21" fmla="*/ 48 h 694"/>
                <a:gd name="T22" fmla="*/ 6 w 993"/>
                <a:gd name="T23" fmla="*/ 76 h 694"/>
                <a:gd name="T24" fmla="*/ 212 w 993"/>
                <a:gd name="T25" fmla="*/ 648 h 694"/>
                <a:gd name="T26" fmla="*/ 268 w 993"/>
                <a:gd name="T27" fmla="*/ 694 h 694"/>
                <a:gd name="T28" fmla="*/ 271 w 993"/>
                <a:gd name="T29" fmla="*/ 694 h 694"/>
                <a:gd name="T30" fmla="*/ 326 w 993"/>
                <a:gd name="T31" fmla="*/ 648 h 694"/>
                <a:gd name="T32" fmla="*/ 496 w 993"/>
                <a:gd name="T33" fmla="*/ 154 h 694"/>
                <a:gd name="T34" fmla="*/ 665 w 993"/>
                <a:gd name="T35" fmla="*/ 648 h 694"/>
                <a:gd name="T36" fmla="*/ 720 w 993"/>
                <a:gd name="T37" fmla="*/ 694 h 694"/>
                <a:gd name="T38" fmla="*/ 724 w 993"/>
                <a:gd name="T39" fmla="*/ 694 h 694"/>
                <a:gd name="T40" fmla="*/ 779 w 993"/>
                <a:gd name="T41" fmla="*/ 648 h 694"/>
                <a:gd name="T42" fmla="*/ 986 w 993"/>
                <a:gd name="T43" fmla="*/ 74 h 694"/>
                <a:gd name="T44" fmla="*/ 993 w 993"/>
                <a:gd name="T45" fmla="*/ 47 h 694"/>
                <a:gd name="T46" fmla="*/ 943 w 993"/>
                <a:gd name="T47" fmla="*/ 0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93" h="694">
                  <a:moveTo>
                    <a:pt x="943" y="0"/>
                  </a:moveTo>
                  <a:cubicBezTo>
                    <a:pt x="915" y="0"/>
                    <a:pt x="901" y="18"/>
                    <a:pt x="894" y="39"/>
                  </a:cubicBezTo>
                  <a:cubicBezTo>
                    <a:pt x="721" y="550"/>
                    <a:pt x="721" y="550"/>
                    <a:pt x="721" y="550"/>
                  </a:cubicBezTo>
                  <a:cubicBezTo>
                    <a:pt x="551" y="40"/>
                    <a:pt x="551" y="40"/>
                    <a:pt x="551" y="40"/>
                  </a:cubicBezTo>
                  <a:cubicBezTo>
                    <a:pt x="543" y="17"/>
                    <a:pt x="526" y="0"/>
                    <a:pt x="499" y="0"/>
                  </a:cubicBezTo>
                  <a:cubicBezTo>
                    <a:pt x="494" y="0"/>
                    <a:pt x="494" y="0"/>
                    <a:pt x="494" y="0"/>
                  </a:cubicBezTo>
                  <a:cubicBezTo>
                    <a:pt x="467" y="0"/>
                    <a:pt x="452" y="17"/>
                    <a:pt x="444" y="40"/>
                  </a:cubicBezTo>
                  <a:cubicBezTo>
                    <a:pt x="272" y="550"/>
                    <a:pt x="272" y="550"/>
                    <a:pt x="272" y="550"/>
                  </a:cubicBezTo>
                  <a:cubicBezTo>
                    <a:pt x="102" y="42"/>
                    <a:pt x="102" y="42"/>
                    <a:pt x="102" y="42"/>
                  </a:cubicBezTo>
                  <a:cubicBezTo>
                    <a:pt x="94" y="17"/>
                    <a:pt x="77" y="0"/>
                    <a:pt x="51" y="0"/>
                  </a:cubicBezTo>
                  <a:cubicBezTo>
                    <a:pt x="21" y="0"/>
                    <a:pt x="0" y="23"/>
                    <a:pt x="0" y="48"/>
                  </a:cubicBezTo>
                  <a:cubicBezTo>
                    <a:pt x="0" y="57"/>
                    <a:pt x="4" y="68"/>
                    <a:pt x="6" y="76"/>
                  </a:cubicBezTo>
                  <a:cubicBezTo>
                    <a:pt x="212" y="648"/>
                    <a:pt x="212" y="648"/>
                    <a:pt x="212" y="648"/>
                  </a:cubicBezTo>
                  <a:cubicBezTo>
                    <a:pt x="222" y="678"/>
                    <a:pt x="243" y="694"/>
                    <a:pt x="268" y="694"/>
                  </a:cubicBezTo>
                  <a:cubicBezTo>
                    <a:pt x="271" y="694"/>
                    <a:pt x="271" y="694"/>
                    <a:pt x="271" y="694"/>
                  </a:cubicBezTo>
                  <a:cubicBezTo>
                    <a:pt x="297" y="694"/>
                    <a:pt x="317" y="678"/>
                    <a:pt x="326" y="648"/>
                  </a:cubicBezTo>
                  <a:cubicBezTo>
                    <a:pt x="496" y="154"/>
                    <a:pt x="496" y="154"/>
                    <a:pt x="496" y="154"/>
                  </a:cubicBezTo>
                  <a:cubicBezTo>
                    <a:pt x="665" y="648"/>
                    <a:pt x="665" y="648"/>
                    <a:pt x="665" y="648"/>
                  </a:cubicBezTo>
                  <a:cubicBezTo>
                    <a:pt x="674" y="678"/>
                    <a:pt x="694" y="694"/>
                    <a:pt x="720" y="694"/>
                  </a:cubicBezTo>
                  <a:cubicBezTo>
                    <a:pt x="724" y="694"/>
                    <a:pt x="724" y="694"/>
                    <a:pt x="724" y="694"/>
                  </a:cubicBezTo>
                  <a:cubicBezTo>
                    <a:pt x="748" y="694"/>
                    <a:pt x="769" y="678"/>
                    <a:pt x="779" y="648"/>
                  </a:cubicBezTo>
                  <a:cubicBezTo>
                    <a:pt x="986" y="74"/>
                    <a:pt x="986" y="74"/>
                    <a:pt x="986" y="74"/>
                  </a:cubicBezTo>
                  <a:cubicBezTo>
                    <a:pt x="989" y="67"/>
                    <a:pt x="993" y="56"/>
                    <a:pt x="993" y="47"/>
                  </a:cubicBezTo>
                  <a:cubicBezTo>
                    <a:pt x="993" y="22"/>
                    <a:pt x="972" y="0"/>
                    <a:pt x="943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16" name="Freeform 6"/>
            <p:cNvSpPr>
              <a:spLocks noEditPoints="1"/>
            </p:cNvSpPr>
            <p:nvPr/>
          </p:nvSpPr>
          <p:spPr bwMode="auto">
            <a:xfrm>
              <a:off x="1720" y="5111"/>
              <a:ext cx="417" cy="437"/>
            </a:xfrm>
            <a:custGeom>
              <a:avLst/>
              <a:gdLst>
                <a:gd name="T0" fmla="*/ 340 w 678"/>
                <a:gd name="T1" fmla="*/ 0 h 707"/>
                <a:gd name="T2" fmla="*/ 0 w 678"/>
                <a:gd name="T3" fmla="*/ 354 h 707"/>
                <a:gd name="T4" fmla="*/ 0 w 678"/>
                <a:gd name="T5" fmla="*/ 356 h 707"/>
                <a:gd name="T6" fmla="*/ 337 w 678"/>
                <a:gd name="T7" fmla="*/ 707 h 707"/>
                <a:gd name="T8" fmla="*/ 678 w 678"/>
                <a:gd name="T9" fmla="*/ 354 h 707"/>
                <a:gd name="T10" fmla="*/ 678 w 678"/>
                <a:gd name="T11" fmla="*/ 351 h 707"/>
                <a:gd name="T12" fmla="*/ 340 w 678"/>
                <a:gd name="T13" fmla="*/ 0 h 707"/>
                <a:gd name="T14" fmla="*/ 575 w 678"/>
                <a:gd name="T15" fmla="*/ 356 h 707"/>
                <a:gd name="T16" fmla="*/ 340 w 678"/>
                <a:gd name="T17" fmla="*/ 631 h 707"/>
                <a:gd name="T18" fmla="*/ 103 w 678"/>
                <a:gd name="T19" fmla="*/ 354 h 707"/>
                <a:gd name="T20" fmla="*/ 103 w 678"/>
                <a:gd name="T21" fmla="*/ 351 h 707"/>
                <a:gd name="T22" fmla="*/ 337 w 678"/>
                <a:gd name="T23" fmla="*/ 75 h 707"/>
                <a:gd name="T24" fmla="*/ 575 w 678"/>
                <a:gd name="T25" fmla="*/ 354 h 707"/>
                <a:gd name="T26" fmla="*/ 575 w 678"/>
                <a:gd name="T27" fmla="*/ 356 h 7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78" h="707">
                  <a:moveTo>
                    <a:pt x="340" y="0"/>
                  </a:moveTo>
                  <a:cubicBezTo>
                    <a:pt x="135" y="0"/>
                    <a:pt x="0" y="162"/>
                    <a:pt x="0" y="354"/>
                  </a:cubicBezTo>
                  <a:cubicBezTo>
                    <a:pt x="0" y="356"/>
                    <a:pt x="0" y="356"/>
                    <a:pt x="0" y="356"/>
                  </a:cubicBezTo>
                  <a:cubicBezTo>
                    <a:pt x="0" y="548"/>
                    <a:pt x="134" y="707"/>
                    <a:pt x="337" y="707"/>
                  </a:cubicBezTo>
                  <a:cubicBezTo>
                    <a:pt x="541" y="707"/>
                    <a:pt x="678" y="545"/>
                    <a:pt x="678" y="354"/>
                  </a:cubicBezTo>
                  <a:cubicBezTo>
                    <a:pt x="678" y="351"/>
                    <a:pt x="678" y="351"/>
                    <a:pt x="678" y="351"/>
                  </a:cubicBezTo>
                  <a:cubicBezTo>
                    <a:pt x="678" y="160"/>
                    <a:pt x="543" y="0"/>
                    <a:pt x="340" y="0"/>
                  </a:cubicBezTo>
                  <a:moveTo>
                    <a:pt x="575" y="356"/>
                  </a:moveTo>
                  <a:cubicBezTo>
                    <a:pt x="575" y="499"/>
                    <a:pt x="486" y="631"/>
                    <a:pt x="340" y="631"/>
                  </a:cubicBezTo>
                  <a:cubicBezTo>
                    <a:pt x="197" y="631"/>
                    <a:pt x="103" y="499"/>
                    <a:pt x="103" y="354"/>
                  </a:cubicBezTo>
                  <a:cubicBezTo>
                    <a:pt x="103" y="351"/>
                    <a:pt x="103" y="351"/>
                    <a:pt x="103" y="351"/>
                  </a:cubicBezTo>
                  <a:cubicBezTo>
                    <a:pt x="103" y="208"/>
                    <a:pt x="190" y="75"/>
                    <a:pt x="337" y="75"/>
                  </a:cubicBezTo>
                  <a:cubicBezTo>
                    <a:pt x="480" y="75"/>
                    <a:pt x="575" y="208"/>
                    <a:pt x="575" y="354"/>
                  </a:cubicBezTo>
                  <a:lnTo>
                    <a:pt x="575" y="3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2198" y="5115"/>
              <a:ext cx="236" cy="428"/>
            </a:xfrm>
            <a:custGeom>
              <a:avLst/>
              <a:gdLst>
                <a:gd name="T0" fmla="*/ 334 w 384"/>
                <a:gd name="T1" fmla="*/ 0 h 693"/>
                <a:gd name="T2" fmla="*/ 101 w 384"/>
                <a:gd name="T3" fmla="*/ 181 h 693"/>
                <a:gd name="T4" fmla="*/ 101 w 384"/>
                <a:gd name="T5" fmla="*/ 54 h 693"/>
                <a:gd name="T6" fmla="*/ 50 w 384"/>
                <a:gd name="T7" fmla="*/ 3 h 693"/>
                <a:gd name="T8" fmla="*/ 0 w 384"/>
                <a:gd name="T9" fmla="*/ 54 h 693"/>
                <a:gd name="T10" fmla="*/ 0 w 384"/>
                <a:gd name="T11" fmla="*/ 642 h 693"/>
                <a:gd name="T12" fmla="*/ 51 w 384"/>
                <a:gd name="T13" fmla="*/ 693 h 693"/>
                <a:gd name="T14" fmla="*/ 101 w 384"/>
                <a:gd name="T15" fmla="*/ 642 h 693"/>
                <a:gd name="T16" fmla="*/ 101 w 384"/>
                <a:gd name="T17" fmla="*/ 412 h 693"/>
                <a:gd name="T18" fmla="*/ 339 w 384"/>
                <a:gd name="T19" fmla="*/ 102 h 693"/>
                <a:gd name="T20" fmla="*/ 384 w 384"/>
                <a:gd name="T21" fmla="*/ 51 h 693"/>
                <a:gd name="T22" fmla="*/ 334 w 384"/>
                <a:gd name="T23" fmla="*/ 0 h 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4" h="693">
                  <a:moveTo>
                    <a:pt x="334" y="0"/>
                  </a:moveTo>
                  <a:cubicBezTo>
                    <a:pt x="249" y="0"/>
                    <a:pt x="151" y="68"/>
                    <a:pt x="101" y="181"/>
                  </a:cubicBezTo>
                  <a:cubicBezTo>
                    <a:pt x="101" y="54"/>
                    <a:pt x="101" y="54"/>
                    <a:pt x="101" y="54"/>
                  </a:cubicBezTo>
                  <a:cubicBezTo>
                    <a:pt x="101" y="25"/>
                    <a:pt x="79" y="3"/>
                    <a:pt x="50" y="3"/>
                  </a:cubicBezTo>
                  <a:cubicBezTo>
                    <a:pt x="22" y="3"/>
                    <a:pt x="0" y="26"/>
                    <a:pt x="0" y="54"/>
                  </a:cubicBezTo>
                  <a:cubicBezTo>
                    <a:pt x="0" y="642"/>
                    <a:pt x="0" y="642"/>
                    <a:pt x="0" y="642"/>
                  </a:cubicBezTo>
                  <a:cubicBezTo>
                    <a:pt x="0" y="671"/>
                    <a:pt x="22" y="693"/>
                    <a:pt x="51" y="693"/>
                  </a:cubicBezTo>
                  <a:cubicBezTo>
                    <a:pt x="80" y="693"/>
                    <a:pt x="101" y="670"/>
                    <a:pt x="101" y="642"/>
                  </a:cubicBezTo>
                  <a:cubicBezTo>
                    <a:pt x="101" y="412"/>
                    <a:pt x="101" y="412"/>
                    <a:pt x="101" y="412"/>
                  </a:cubicBezTo>
                  <a:cubicBezTo>
                    <a:pt x="101" y="216"/>
                    <a:pt x="208" y="118"/>
                    <a:pt x="339" y="102"/>
                  </a:cubicBezTo>
                  <a:cubicBezTo>
                    <a:pt x="365" y="98"/>
                    <a:pt x="384" y="79"/>
                    <a:pt x="384" y="51"/>
                  </a:cubicBezTo>
                  <a:cubicBezTo>
                    <a:pt x="384" y="22"/>
                    <a:pt x="364" y="0"/>
                    <a:pt x="33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18" name="Freeform 8"/>
            <p:cNvSpPr>
              <a:spLocks/>
            </p:cNvSpPr>
            <p:nvPr/>
          </p:nvSpPr>
          <p:spPr bwMode="auto">
            <a:xfrm>
              <a:off x="2500" y="4944"/>
              <a:ext cx="63" cy="599"/>
            </a:xfrm>
            <a:custGeom>
              <a:avLst/>
              <a:gdLst>
                <a:gd name="T0" fmla="*/ 49 w 101"/>
                <a:gd name="T1" fmla="*/ 0 h 969"/>
                <a:gd name="T2" fmla="*/ 0 w 101"/>
                <a:gd name="T3" fmla="*/ 51 h 969"/>
                <a:gd name="T4" fmla="*/ 0 w 101"/>
                <a:gd name="T5" fmla="*/ 918 h 969"/>
                <a:gd name="T6" fmla="*/ 51 w 101"/>
                <a:gd name="T7" fmla="*/ 969 h 969"/>
                <a:gd name="T8" fmla="*/ 101 w 101"/>
                <a:gd name="T9" fmla="*/ 918 h 969"/>
                <a:gd name="T10" fmla="*/ 101 w 101"/>
                <a:gd name="T11" fmla="*/ 51 h 969"/>
                <a:gd name="T12" fmla="*/ 49 w 101"/>
                <a:gd name="T13" fmla="*/ 0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" h="969">
                  <a:moveTo>
                    <a:pt x="49" y="0"/>
                  </a:moveTo>
                  <a:cubicBezTo>
                    <a:pt x="22" y="0"/>
                    <a:pt x="0" y="23"/>
                    <a:pt x="0" y="51"/>
                  </a:cubicBezTo>
                  <a:cubicBezTo>
                    <a:pt x="0" y="918"/>
                    <a:pt x="0" y="918"/>
                    <a:pt x="0" y="918"/>
                  </a:cubicBezTo>
                  <a:cubicBezTo>
                    <a:pt x="0" y="947"/>
                    <a:pt x="22" y="969"/>
                    <a:pt x="51" y="969"/>
                  </a:cubicBezTo>
                  <a:cubicBezTo>
                    <a:pt x="80" y="969"/>
                    <a:pt x="101" y="947"/>
                    <a:pt x="101" y="918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3"/>
                    <a:pt x="78" y="0"/>
                    <a:pt x="4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19" name="Freeform 9"/>
            <p:cNvSpPr>
              <a:spLocks noEditPoints="1"/>
            </p:cNvSpPr>
            <p:nvPr/>
          </p:nvSpPr>
          <p:spPr bwMode="auto">
            <a:xfrm>
              <a:off x="2626" y="4944"/>
              <a:ext cx="421" cy="604"/>
            </a:xfrm>
            <a:custGeom>
              <a:avLst/>
              <a:gdLst>
                <a:gd name="T0" fmla="*/ 633 w 684"/>
                <a:gd name="T1" fmla="*/ 0 h 977"/>
                <a:gd name="T2" fmla="*/ 583 w 684"/>
                <a:gd name="T3" fmla="*/ 51 h 977"/>
                <a:gd name="T4" fmla="*/ 583 w 684"/>
                <a:gd name="T5" fmla="*/ 415 h 977"/>
                <a:gd name="T6" fmla="*/ 324 w 684"/>
                <a:gd name="T7" fmla="*/ 271 h 977"/>
                <a:gd name="T8" fmla="*/ 0 w 684"/>
                <a:gd name="T9" fmla="*/ 623 h 977"/>
                <a:gd name="T10" fmla="*/ 0 w 684"/>
                <a:gd name="T11" fmla="*/ 626 h 977"/>
                <a:gd name="T12" fmla="*/ 324 w 684"/>
                <a:gd name="T13" fmla="*/ 977 h 977"/>
                <a:gd name="T14" fmla="*/ 583 w 684"/>
                <a:gd name="T15" fmla="*/ 826 h 977"/>
                <a:gd name="T16" fmla="*/ 583 w 684"/>
                <a:gd name="T17" fmla="*/ 918 h 977"/>
                <a:gd name="T18" fmla="*/ 634 w 684"/>
                <a:gd name="T19" fmla="*/ 969 h 977"/>
                <a:gd name="T20" fmla="*/ 684 w 684"/>
                <a:gd name="T21" fmla="*/ 918 h 977"/>
                <a:gd name="T22" fmla="*/ 684 w 684"/>
                <a:gd name="T23" fmla="*/ 51 h 977"/>
                <a:gd name="T24" fmla="*/ 633 w 684"/>
                <a:gd name="T25" fmla="*/ 0 h 977"/>
                <a:gd name="T26" fmla="*/ 587 w 684"/>
                <a:gd name="T27" fmla="*/ 625 h 977"/>
                <a:gd name="T28" fmla="*/ 342 w 684"/>
                <a:gd name="T29" fmla="*/ 887 h 977"/>
                <a:gd name="T30" fmla="*/ 104 w 684"/>
                <a:gd name="T31" fmla="*/ 625 h 977"/>
                <a:gd name="T32" fmla="*/ 104 w 684"/>
                <a:gd name="T33" fmla="*/ 622 h 977"/>
                <a:gd name="T34" fmla="*/ 342 w 684"/>
                <a:gd name="T35" fmla="*/ 361 h 977"/>
                <a:gd name="T36" fmla="*/ 587 w 684"/>
                <a:gd name="T37" fmla="*/ 622 h 977"/>
                <a:gd name="T38" fmla="*/ 587 w 684"/>
                <a:gd name="T39" fmla="*/ 625 h 9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84" h="977">
                  <a:moveTo>
                    <a:pt x="633" y="0"/>
                  </a:moveTo>
                  <a:cubicBezTo>
                    <a:pt x="604" y="0"/>
                    <a:pt x="583" y="22"/>
                    <a:pt x="583" y="51"/>
                  </a:cubicBezTo>
                  <a:cubicBezTo>
                    <a:pt x="583" y="415"/>
                    <a:pt x="583" y="415"/>
                    <a:pt x="583" y="415"/>
                  </a:cubicBezTo>
                  <a:cubicBezTo>
                    <a:pt x="531" y="339"/>
                    <a:pt x="450" y="271"/>
                    <a:pt x="324" y="271"/>
                  </a:cubicBezTo>
                  <a:cubicBezTo>
                    <a:pt x="161" y="271"/>
                    <a:pt x="0" y="402"/>
                    <a:pt x="0" y="623"/>
                  </a:cubicBezTo>
                  <a:cubicBezTo>
                    <a:pt x="0" y="626"/>
                    <a:pt x="0" y="626"/>
                    <a:pt x="0" y="626"/>
                  </a:cubicBezTo>
                  <a:cubicBezTo>
                    <a:pt x="0" y="849"/>
                    <a:pt x="161" y="977"/>
                    <a:pt x="324" y="977"/>
                  </a:cubicBezTo>
                  <a:cubicBezTo>
                    <a:pt x="448" y="977"/>
                    <a:pt x="528" y="908"/>
                    <a:pt x="583" y="826"/>
                  </a:cubicBezTo>
                  <a:cubicBezTo>
                    <a:pt x="583" y="918"/>
                    <a:pt x="583" y="918"/>
                    <a:pt x="583" y="918"/>
                  </a:cubicBezTo>
                  <a:cubicBezTo>
                    <a:pt x="583" y="947"/>
                    <a:pt x="605" y="969"/>
                    <a:pt x="634" y="969"/>
                  </a:cubicBezTo>
                  <a:cubicBezTo>
                    <a:pt x="662" y="969"/>
                    <a:pt x="684" y="947"/>
                    <a:pt x="684" y="918"/>
                  </a:cubicBezTo>
                  <a:cubicBezTo>
                    <a:pt x="684" y="51"/>
                    <a:pt x="684" y="51"/>
                    <a:pt x="684" y="51"/>
                  </a:cubicBezTo>
                  <a:cubicBezTo>
                    <a:pt x="684" y="22"/>
                    <a:pt x="662" y="0"/>
                    <a:pt x="633" y="0"/>
                  </a:cubicBezTo>
                  <a:moveTo>
                    <a:pt x="587" y="625"/>
                  </a:moveTo>
                  <a:cubicBezTo>
                    <a:pt x="587" y="780"/>
                    <a:pt x="468" y="887"/>
                    <a:pt x="342" y="887"/>
                  </a:cubicBezTo>
                  <a:cubicBezTo>
                    <a:pt x="215" y="887"/>
                    <a:pt x="104" y="784"/>
                    <a:pt x="104" y="625"/>
                  </a:cubicBezTo>
                  <a:cubicBezTo>
                    <a:pt x="104" y="622"/>
                    <a:pt x="104" y="622"/>
                    <a:pt x="104" y="622"/>
                  </a:cubicBezTo>
                  <a:cubicBezTo>
                    <a:pt x="104" y="458"/>
                    <a:pt x="211" y="361"/>
                    <a:pt x="342" y="361"/>
                  </a:cubicBezTo>
                  <a:cubicBezTo>
                    <a:pt x="468" y="361"/>
                    <a:pt x="587" y="466"/>
                    <a:pt x="587" y="622"/>
                  </a:cubicBezTo>
                  <a:lnTo>
                    <a:pt x="587" y="6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auto">
            <a:xfrm>
              <a:off x="-16" y="5101"/>
              <a:ext cx="1087" cy="447"/>
            </a:xfrm>
            <a:custGeom>
              <a:avLst/>
              <a:gdLst>
                <a:gd name="T0" fmla="*/ 1524 w 1764"/>
                <a:gd name="T1" fmla="*/ 13 h 724"/>
                <a:gd name="T2" fmla="*/ 1311 w 1764"/>
                <a:gd name="T3" fmla="*/ 104 h 724"/>
                <a:gd name="T4" fmla="*/ 1106 w 1764"/>
                <a:gd name="T5" fmla="*/ 13 h 724"/>
                <a:gd name="T6" fmla="*/ 904 w 1764"/>
                <a:gd name="T7" fmla="*/ 104 h 724"/>
                <a:gd name="T8" fmla="*/ 725 w 1764"/>
                <a:gd name="T9" fmla="*/ 13 h 724"/>
                <a:gd name="T10" fmla="*/ 508 w 1764"/>
                <a:gd name="T11" fmla="*/ 161 h 724"/>
                <a:gd name="T12" fmla="*/ 372 w 1764"/>
                <a:gd name="T13" fmla="*/ 482 h 724"/>
                <a:gd name="T14" fmla="*/ 197 w 1764"/>
                <a:gd name="T15" fmla="*/ 70 h 724"/>
                <a:gd name="T16" fmla="*/ 70 w 1764"/>
                <a:gd name="T17" fmla="*/ 22 h 724"/>
                <a:gd name="T18" fmla="*/ 23 w 1764"/>
                <a:gd name="T19" fmla="*/ 150 h 724"/>
                <a:gd name="T20" fmla="*/ 236 w 1764"/>
                <a:gd name="T21" fmla="*/ 613 h 724"/>
                <a:gd name="T22" fmla="*/ 372 w 1764"/>
                <a:gd name="T23" fmla="*/ 724 h 724"/>
                <a:gd name="T24" fmla="*/ 507 w 1764"/>
                <a:gd name="T25" fmla="*/ 613 h 724"/>
                <a:gd name="T26" fmla="*/ 695 w 1764"/>
                <a:gd name="T27" fmla="*/ 204 h 724"/>
                <a:gd name="T28" fmla="*/ 722 w 1764"/>
                <a:gd name="T29" fmla="*/ 187 h 724"/>
                <a:gd name="T30" fmla="*/ 751 w 1764"/>
                <a:gd name="T31" fmla="*/ 217 h 724"/>
                <a:gd name="T32" fmla="*/ 751 w 1764"/>
                <a:gd name="T33" fmla="*/ 613 h 724"/>
                <a:gd name="T34" fmla="*/ 850 w 1764"/>
                <a:gd name="T35" fmla="*/ 724 h 724"/>
                <a:gd name="T36" fmla="*/ 951 w 1764"/>
                <a:gd name="T37" fmla="*/ 613 h 724"/>
                <a:gd name="T38" fmla="*/ 951 w 1764"/>
                <a:gd name="T39" fmla="*/ 289 h 724"/>
                <a:gd name="T40" fmla="*/ 1056 w 1764"/>
                <a:gd name="T41" fmla="*/ 186 h 724"/>
                <a:gd name="T42" fmla="*/ 1158 w 1764"/>
                <a:gd name="T43" fmla="*/ 289 h 724"/>
                <a:gd name="T44" fmla="*/ 1158 w 1764"/>
                <a:gd name="T45" fmla="*/ 613 h 724"/>
                <a:gd name="T46" fmla="*/ 1257 w 1764"/>
                <a:gd name="T47" fmla="*/ 724 h 724"/>
                <a:gd name="T48" fmla="*/ 1358 w 1764"/>
                <a:gd name="T49" fmla="*/ 613 h 724"/>
                <a:gd name="T50" fmla="*/ 1358 w 1764"/>
                <a:gd name="T51" fmla="*/ 289 h 724"/>
                <a:gd name="T52" fmla="*/ 1463 w 1764"/>
                <a:gd name="T53" fmla="*/ 186 h 724"/>
                <a:gd name="T54" fmla="*/ 1565 w 1764"/>
                <a:gd name="T55" fmla="*/ 289 h 724"/>
                <a:gd name="T56" fmla="*/ 1565 w 1764"/>
                <a:gd name="T57" fmla="*/ 613 h 724"/>
                <a:gd name="T58" fmla="*/ 1664 w 1764"/>
                <a:gd name="T59" fmla="*/ 724 h 724"/>
                <a:gd name="T60" fmla="*/ 1764 w 1764"/>
                <a:gd name="T61" fmla="*/ 613 h 724"/>
                <a:gd name="T62" fmla="*/ 1764 w 1764"/>
                <a:gd name="T63" fmla="*/ 244 h 724"/>
                <a:gd name="T64" fmla="*/ 1524 w 1764"/>
                <a:gd name="T65" fmla="*/ 13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64" h="724">
                  <a:moveTo>
                    <a:pt x="1524" y="13"/>
                  </a:moveTo>
                  <a:cubicBezTo>
                    <a:pt x="1393" y="13"/>
                    <a:pt x="1311" y="104"/>
                    <a:pt x="1311" y="104"/>
                  </a:cubicBezTo>
                  <a:cubicBezTo>
                    <a:pt x="1267" y="47"/>
                    <a:pt x="1207" y="13"/>
                    <a:pt x="1106" y="13"/>
                  </a:cubicBezTo>
                  <a:cubicBezTo>
                    <a:pt x="998" y="13"/>
                    <a:pt x="904" y="104"/>
                    <a:pt x="904" y="104"/>
                  </a:cubicBezTo>
                  <a:cubicBezTo>
                    <a:pt x="861" y="47"/>
                    <a:pt x="786" y="13"/>
                    <a:pt x="725" y="13"/>
                  </a:cubicBezTo>
                  <a:cubicBezTo>
                    <a:pt x="630" y="13"/>
                    <a:pt x="554" y="55"/>
                    <a:pt x="508" y="161"/>
                  </a:cubicBezTo>
                  <a:cubicBezTo>
                    <a:pt x="372" y="482"/>
                    <a:pt x="372" y="482"/>
                    <a:pt x="372" y="482"/>
                  </a:cubicBezTo>
                  <a:cubicBezTo>
                    <a:pt x="197" y="70"/>
                    <a:pt x="197" y="70"/>
                    <a:pt x="197" y="70"/>
                  </a:cubicBezTo>
                  <a:cubicBezTo>
                    <a:pt x="175" y="22"/>
                    <a:pt x="121" y="0"/>
                    <a:pt x="70" y="22"/>
                  </a:cubicBezTo>
                  <a:cubicBezTo>
                    <a:pt x="19" y="45"/>
                    <a:pt x="0" y="101"/>
                    <a:pt x="23" y="150"/>
                  </a:cubicBezTo>
                  <a:cubicBezTo>
                    <a:pt x="236" y="613"/>
                    <a:pt x="236" y="613"/>
                    <a:pt x="236" y="613"/>
                  </a:cubicBezTo>
                  <a:cubicBezTo>
                    <a:pt x="270" y="686"/>
                    <a:pt x="305" y="724"/>
                    <a:pt x="372" y="724"/>
                  </a:cubicBezTo>
                  <a:cubicBezTo>
                    <a:pt x="443" y="724"/>
                    <a:pt x="474" y="683"/>
                    <a:pt x="507" y="613"/>
                  </a:cubicBezTo>
                  <a:cubicBezTo>
                    <a:pt x="507" y="613"/>
                    <a:pt x="693" y="208"/>
                    <a:pt x="695" y="204"/>
                  </a:cubicBezTo>
                  <a:cubicBezTo>
                    <a:pt x="697" y="200"/>
                    <a:pt x="703" y="186"/>
                    <a:pt x="722" y="187"/>
                  </a:cubicBezTo>
                  <a:cubicBezTo>
                    <a:pt x="738" y="187"/>
                    <a:pt x="751" y="199"/>
                    <a:pt x="751" y="217"/>
                  </a:cubicBezTo>
                  <a:cubicBezTo>
                    <a:pt x="751" y="613"/>
                    <a:pt x="751" y="613"/>
                    <a:pt x="751" y="613"/>
                  </a:cubicBezTo>
                  <a:cubicBezTo>
                    <a:pt x="751" y="674"/>
                    <a:pt x="785" y="724"/>
                    <a:pt x="850" y="724"/>
                  </a:cubicBezTo>
                  <a:cubicBezTo>
                    <a:pt x="915" y="724"/>
                    <a:pt x="951" y="674"/>
                    <a:pt x="951" y="613"/>
                  </a:cubicBezTo>
                  <a:cubicBezTo>
                    <a:pt x="951" y="289"/>
                    <a:pt x="951" y="289"/>
                    <a:pt x="951" y="289"/>
                  </a:cubicBezTo>
                  <a:cubicBezTo>
                    <a:pt x="951" y="226"/>
                    <a:pt x="995" y="186"/>
                    <a:pt x="1056" y="186"/>
                  </a:cubicBezTo>
                  <a:cubicBezTo>
                    <a:pt x="1118" y="186"/>
                    <a:pt x="1158" y="228"/>
                    <a:pt x="1158" y="289"/>
                  </a:cubicBezTo>
                  <a:cubicBezTo>
                    <a:pt x="1158" y="613"/>
                    <a:pt x="1158" y="613"/>
                    <a:pt x="1158" y="613"/>
                  </a:cubicBezTo>
                  <a:cubicBezTo>
                    <a:pt x="1158" y="674"/>
                    <a:pt x="1192" y="724"/>
                    <a:pt x="1257" y="724"/>
                  </a:cubicBezTo>
                  <a:cubicBezTo>
                    <a:pt x="1322" y="724"/>
                    <a:pt x="1358" y="674"/>
                    <a:pt x="1358" y="613"/>
                  </a:cubicBezTo>
                  <a:cubicBezTo>
                    <a:pt x="1358" y="289"/>
                    <a:pt x="1358" y="289"/>
                    <a:pt x="1358" y="289"/>
                  </a:cubicBezTo>
                  <a:cubicBezTo>
                    <a:pt x="1358" y="226"/>
                    <a:pt x="1402" y="186"/>
                    <a:pt x="1463" y="186"/>
                  </a:cubicBezTo>
                  <a:cubicBezTo>
                    <a:pt x="1524" y="186"/>
                    <a:pt x="1565" y="228"/>
                    <a:pt x="1565" y="289"/>
                  </a:cubicBezTo>
                  <a:cubicBezTo>
                    <a:pt x="1565" y="613"/>
                    <a:pt x="1565" y="613"/>
                    <a:pt x="1565" y="613"/>
                  </a:cubicBezTo>
                  <a:cubicBezTo>
                    <a:pt x="1565" y="674"/>
                    <a:pt x="1599" y="724"/>
                    <a:pt x="1664" y="724"/>
                  </a:cubicBezTo>
                  <a:cubicBezTo>
                    <a:pt x="1729" y="724"/>
                    <a:pt x="1764" y="674"/>
                    <a:pt x="1764" y="613"/>
                  </a:cubicBezTo>
                  <a:cubicBezTo>
                    <a:pt x="1764" y="244"/>
                    <a:pt x="1764" y="244"/>
                    <a:pt x="1764" y="244"/>
                  </a:cubicBezTo>
                  <a:cubicBezTo>
                    <a:pt x="1764" y="108"/>
                    <a:pt x="1655" y="13"/>
                    <a:pt x="1524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21" name="Freeform 11"/>
            <p:cNvSpPr>
              <a:spLocks noEditPoints="1"/>
            </p:cNvSpPr>
            <p:nvPr/>
          </p:nvSpPr>
          <p:spPr bwMode="auto">
            <a:xfrm>
              <a:off x="3104" y="4944"/>
              <a:ext cx="103" cy="103"/>
            </a:xfrm>
            <a:custGeom>
              <a:avLst/>
              <a:gdLst>
                <a:gd name="T0" fmla="*/ 0 w 167"/>
                <a:gd name="T1" fmla="*/ 84 h 167"/>
                <a:gd name="T2" fmla="*/ 0 w 167"/>
                <a:gd name="T3" fmla="*/ 83 h 167"/>
                <a:gd name="T4" fmla="*/ 84 w 167"/>
                <a:gd name="T5" fmla="*/ 0 h 167"/>
                <a:gd name="T6" fmla="*/ 167 w 167"/>
                <a:gd name="T7" fmla="*/ 83 h 167"/>
                <a:gd name="T8" fmla="*/ 167 w 167"/>
                <a:gd name="T9" fmla="*/ 83 h 167"/>
                <a:gd name="T10" fmla="*/ 84 w 167"/>
                <a:gd name="T11" fmla="*/ 167 h 167"/>
                <a:gd name="T12" fmla="*/ 0 w 167"/>
                <a:gd name="T13" fmla="*/ 84 h 167"/>
                <a:gd name="T14" fmla="*/ 151 w 167"/>
                <a:gd name="T15" fmla="*/ 83 h 167"/>
                <a:gd name="T16" fmla="*/ 151 w 167"/>
                <a:gd name="T17" fmla="*/ 83 h 167"/>
                <a:gd name="T18" fmla="*/ 84 w 167"/>
                <a:gd name="T19" fmla="*/ 15 h 167"/>
                <a:gd name="T20" fmla="*/ 16 w 167"/>
                <a:gd name="T21" fmla="*/ 83 h 167"/>
                <a:gd name="T22" fmla="*/ 16 w 167"/>
                <a:gd name="T23" fmla="*/ 84 h 167"/>
                <a:gd name="T24" fmla="*/ 84 w 167"/>
                <a:gd name="T25" fmla="*/ 152 h 167"/>
                <a:gd name="T26" fmla="*/ 151 w 167"/>
                <a:gd name="T27" fmla="*/ 83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7" h="167">
                  <a:moveTo>
                    <a:pt x="0" y="84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0" y="38"/>
                    <a:pt x="37" y="0"/>
                    <a:pt x="84" y="0"/>
                  </a:cubicBezTo>
                  <a:cubicBezTo>
                    <a:pt x="131" y="0"/>
                    <a:pt x="167" y="38"/>
                    <a:pt x="167" y="83"/>
                  </a:cubicBezTo>
                  <a:cubicBezTo>
                    <a:pt x="167" y="83"/>
                    <a:pt x="167" y="83"/>
                    <a:pt x="167" y="83"/>
                  </a:cubicBezTo>
                  <a:cubicBezTo>
                    <a:pt x="167" y="129"/>
                    <a:pt x="130" y="167"/>
                    <a:pt x="84" y="167"/>
                  </a:cubicBezTo>
                  <a:cubicBezTo>
                    <a:pt x="36" y="167"/>
                    <a:pt x="0" y="130"/>
                    <a:pt x="0" y="84"/>
                  </a:cubicBezTo>
                  <a:moveTo>
                    <a:pt x="151" y="83"/>
                  </a:moveTo>
                  <a:cubicBezTo>
                    <a:pt x="151" y="83"/>
                    <a:pt x="151" y="83"/>
                    <a:pt x="151" y="83"/>
                  </a:cubicBezTo>
                  <a:cubicBezTo>
                    <a:pt x="151" y="46"/>
                    <a:pt x="122" y="15"/>
                    <a:pt x="84" y="15"/>
                  </a:cubicBezTo>
                  <a:cubicBezTo>
                    <a:pt x="45" y="15"/>
                    <a:pt x="16" y="46"/>
                    <a:pt x="16" y="83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6" y="121"/>
                    <a:pt x="45" y="152"/>
                    <a:pt x="84" y="152"/>
                  </a:cubicBezTo>
                  <a:cubicBezTo>
                    <a:pt x="122" y="152"/>
                    <a:pt x="151" y="121"/>
                    <a:pt x="151" y="8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  <p:sp>
          <p:nvSpPr>
            <p:cNvPr id="22" name="Freeform 12"/>
            <p:cNvSpPr>
              <a:spLocks noEditPoints="1"/>
            </p:cNvSpPr>
            <p:nvPr/>
          </p:nvSpPr>
          <p:spPr bwMode="auto">
            <a:xfrm>
              <a:off x="3136" y="4970"/>
              <a:ext cx="42" cy="50"/>
            </a:xfrm>
            <a:custGeom>
              <a:avLst/>
              <a:gdLst>
                <a:gd name="T0" fmla="*/ 0 w 67"/>
                <a:gd name="T1" fmla="*/ 9 h 81"/>
                <a:gd name="T2" fmla="*/ 9 w 67"/>
                <a:gd name="T3" fmla="*/ 0 h 81"/>
                <a:gd name="T4" fmla="*/ 36 w 67"/>
                <a:gd name="T5" fmla="*/ 0 h 81"/>
                <a:gd name="T6" fmla="*/ 60 w 67"/>
                <a:gd name="T7" fmla="*/ 8 h 81"/>
                <a:gd name="T8" fmla="*/ 67 w 67"/>
                <a:gd name="T9" fmla="*/ 26 h 81"/>
                <a:gd name="T10" fmla="*/ 67 w 67"/>
                <a:gd name="T11" fmla="*/ 27 h 81"/>
                <a:gd name="T12" fmla="*/ 51 w 67"/>
                <a:gd name="T13" fmla="*/ 51 h 81"/>
                <a:gd name="T14" fmla="*/ 63 w 67"/>
                <a:gd name="T15" fmla="*/ 66 h 81"/>
                <a:gd name="T16" fmla="*/ 66 w 67"/>
                <a:gd name="T17" fmla="*/ 73 h 81"/>
                <a:gd name="T18" fmla="*/ 58 w 67"/>
                <a:gd name="T19" fmla="*/ 81 h 81"/>
                <a:gd name="T20" fmla="*/ 49 w 67"/>
                <a:gd name="T21" fmla="*/ 76 h 81"/>
                <a:gd name="T22" fmla="*/ 32 w 67"/>
                <a:gd name="T23" fmla="*/ 55 h 81"/>
                <a:gd name="T24" fmla="*/ 17 w 67"/>
                <a:gd name="T25" fmla="*/ 55 h 81"/>
                <a:gd name="T26" fmla="*/ 17 w 67"/>
                <a:gd name="T27" fmla="*/ 72 h 81"/>
                <a:gd name="T28" fmla="*/ 9 w 67"/>
                <a:gd name="T29" fmla="*/ 81 h 81"/>
                <a:gd name="T30" fmla="*/ 0 w 67"/>
                <a:gd name="T31" fmla="*/ 72 h 81"/>
                <a:gd name="T32" fmla="*/ 0 w 67"/>
                <a:gd name="T33" fmla="*/ 9 h 81"/>
                <a:gd name="T34" fmla="*/ 35 w 67"/>
                <a:gd name="T35" fmla="*/ 39 h 81"/>
                <a:gd name="T36" fmla="*/ 49 w 67"/>
                <a:gd name="T37" fmla="*/ 27 h 81"/>
                <a:gd name="T38" fmla="*/ 49 w 67"/>
                <a:gd name="T39" fmla="*/ 27 h 81"/>
                <a:gd name="T40" fmla="*/ 35 w 67"/>
                <a:gd name="T41" fmla="*/ 16 h 81"/>
                <a:gd name="T42" fmla="*/ 17 w 67"/>
                <a:gd name="T43" fmla="*/ 16 h 81"/>
                <a:gd name="T44" fmla="*/ 17 w 67"/>
                <a:gd name="T45" fmla="*/ 39 h 81"/>
                <a:gd name="T46" fmla="*/ 35 w 67"/>
                <a:gd name="T47" fmla="*/ 39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7" h="81">
                  <a:moveTo>
                    <a:pt x="0" y="9"/>
                  </a:moveTo>
                  <a:cubicBezTo>
                    <a:pt x="0" y="4"/>
                    <a:pt x="4" y="0"/>
                    <a:pt x="9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47" y="0"/>
                    <a:pt x="55" y="3"/>
                    <a:pt x="60" y="8"/>
                  </a:cubicBezTo>
                  <a:cubicBezTo>
                    <a:pt x="65" y="12"/>
                    <a:pt x="67" y="19"/>
                    <a:pt x="67" y="26"/>
                  </a:cubicBezTo>
                  <a:cubicBezTo>
                    <a:pt x="67" y="27"/>
                    <a:pt x="67" y="27"/>
                    <a:pt x="67" y="27"/>
                  </a:cubicBezTo>
                  <a:cubicBezTo>
                    <a:pt x="67" y="39"/>
                    <a:pt x="61" y="47"/>
                    <a:pt x="51" y="51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5" y="68"/>
                    <a:pt x="66" y="70"/>
                    <a:pt x="66" y="73"/>
                  </a:cubicBezTo>
                  <a:cubicBezTo>
                    <a:pt x="66" y="78"/>
                    <a:pt x="62" y="81"/>
                    <a:pt x="58" y="81"/>
                  </a:cubicBezTo>
                  <a:cubicBezTo>
                    <a:pt x="54" y="81"/>
                    <a:pt x="51" y="79"/>
                    <a:pt x="49" y="76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17" y="55"/>
                    <a:pt x="17" y="55"/>
                    <a:pt x="17" y="55"/>
                  </a:cubicBezTo>
                  <a:cubicBezTo>
                    <a:pt x="17" y="72"/>
                    <a:pt x="17" y="72"/>
                    <a:pt x="17" y="72"/>
                  </a:cubicBezTo>
                  <a:cubicBezTo>
                    <a:pt x="17" y="77"/>
                    <a:pt x="14" y="81"/>
                    <a:pt x="9" y="81"/>
                  </a:cubicBezTo>
                  <a:cubicBezTo>
                    <a:pt x="4" y="81"/>
                    <a:pt x="0" y="77"/>
                    <a:pt x="0" y="72"/>
                  </a:cubicBezTo>
                  <a:lnTo>
                    <a:pt x="0" y="9"/>
                  </a:lnTo>
                  <a:close/>
                  <a:moveTo>
                    <a:pt x="35" y="39"/>
                  </a:moveTo>
                  <a:cubicBezTo>
                    <a:pt x="44" y="39"/>
                    <a:pt x="49" y="34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0"/>
                    <a:pt x="44" y="16"/>
                    <a:pt x="35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39"/>
                    <a:pt x="17" y="39"/>
                    <a:pt x="17" y="39"/>
                  </a:cubicBezTo>
                  <a:lnTo>
                    <a:pt x="35" y="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6">
                <a:solidFill>
                  <a:srgbClr val="717074"/>
                </a:solidFill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etric 1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322757" y="685800"/>
            <a:ext cx="4389120" cy="1676400"/>
          </a:xfrm>
        </p:spPr>
        <p:txBody>
          <a:bodyPr anchor="b"/>
          <a:lstStyle>
            <a:lvl1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1pPr>
            <a:lvl2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2pPr>
            <a:lvl3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3pPr>
            <a:lvl4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4pPr>
            <a:lvl5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5pPr>
            <a:lvl6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6pPr>
            <a:lvl7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7pPr>
            <a:lvl8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8pPr>
            <a:lvl9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322757" y="2362200"/>
            <a:ext cx="4389120" cy="1066800"/>
          </a:xfrm>
        </p:spPr>
        <p:txBody>
          <a:bodyPr/>
          <a:lstStyle>
            <a:lvl1pPr marL="3175" indent="0">
              <a:spcBef>
                <a:spcPts val="0"/>
              </a:spcBef>
              <a:buNone/>
              <a:defRPr sz="2400" cap="none" baseline="0">
                <a:solidFill>
                  <a:schemeClr val="accent3"/>
                </a:solidFill>
              </a:defRPr>
            </a:lvl1pPr>
            <a:lvl2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2pPr>
            <a:lvl3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3pPr>
            <a:lvl4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4pPr>
            <a:lvl5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5pPr>
            <a:lvl6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6pPr>
            <a:lvl7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7pPr>
            <a:lvl8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8pPr>
            <a:lvl9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618039" y="6446072"/>
            <a:ext cx="1100080" cy="173355"/>
            <a:chOff x="-84138" y="5622925"/>
            <a:chExt cx="4330701" cy="682626"/>
          </a:xfrm>
        </p:grpSpPr>
        <p:sp>
          <p:nvSpPr>
            <p:cNvPr id="1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1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19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1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2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wipe dir="r"/>
      </p:transition>
    </mc:Choice>
    <mc:Fallback xmlns="">
      <p:transition xmlns:p14="http://schemas.microsoft.com/office/powerpoint/2010/main" spd="slow">
        <p:wipe dir="r"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717074">
                    <a:tint val="75000"/>
                  </a:srgbClr>
                </a:solidFill>
              </a:rPr>
              <a:t>CONFIDENTIA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69899" y="786384"/>
            <a:ext cx="11180065" cy="5010912"/>
          </a:xfrm>
        </p:spPr>
        <p:txBody>
          <a:bodyPr/>
          <a:lstStyle>
            <a:lvl1pPr marL="232850" indent="-232850">
              <a:buClr>
                <a:schemeClr val="accent1">
                  <a:lumMod val="75000"/>
                </a:schemeClr>
              </a:buClr>
              <a:buFont typeface="Wingdings" pitchFamily="2" charset="2"/>
              <a:buChar char="§"/>
              <a:defRPr/>
            </a:lvl1pPr>
            <a:lvl2pPr>
              <a:buClr>
                <a:schemeClr val="accent1">
                  <a:lumMod val="75000"/>
                </a:schemeClr>
              </a:buClr>
              <a:defRPr/>
            </a:lvl2pPr>
            <a:lvl3pPr>
              <a:buClr>
                <a:schemeClr val="accent1">
                  <a:lumMod val="75000"/>
                </a:schemeClr>
              </a:buClr>
              <a:defRPr/>
            </a:lvl3pPr>
            <a:lvl4pPr>
              <a:buClr>
                <a:schemeClr val="accent1">
                  <a:lumMod val="75000"/>
                </a:schemeClr>
              </a:buClr>
              <a:defRPr/>
            </a:lvl4pPr>
            <a:lvl5pPr>
              <a:buClr>
                <a:schemeClr val="accent1">
                  <a:lumMod val="75000"/>
                </a:schemeClr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1" y="573024"/>
            <a:ext cx="12192000" cy="628497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1" y="426720"/>
            <a:ext cx="9144001" cy="1097280"/>
          </a:xfrm>
        </p:spPr>
        <p:txBody>
          <a:bodyPr/>
          <a:lstStyle>
            <a:lvl1pPr>
              <a:defRPr sz="3584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1" y="1600200"/>
            <a:ext cx="9144001" cy="685800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390">
                <a:solidFill>
                  <a:schemeClr val="tx1"/>
                </a:solidFill>
              </a:defRPr>
            </a:lvl1pPr>
            <a:lvl2pPr marL="4551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03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55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07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59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11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6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15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9750426" y="6074836"/>
            <a:ext cx="1830783" cy="216433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</p:grpSp>
      <p:sp>
        <p:nvSpPr>
          <p:cNvPr id="16" name="TextBox 15"/>
          <p:cNvSpPr txBox="1"/>
          <p:nvPr/>
        </p:nvSpPr>
        <p:spPr>
          <a:xfrm>
            <a:off x="9245600" y="6505956"/>
            <a:ext cx="2335608" cy="1996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0381">
              <a:lnSpc>
                <a:spcPct val="90000"/>
              </a:lnSpc>
            </a:pPr>
            <a:r>
              <a:rPr lang="en-US" sz="696" dirty="0">
                <a:solidFill>
                  <a:prstClr val="white"/>
                </a:solidFill>
              </a:rPr>
              <a:t>© 2014 VMware Inc. All rights reserved.</a:t>
            </a:r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resenter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1" y="573024"/>
            <a:ext cx="12192000" cy="628497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1" y="426720"/>
            <a:ext cx="9144001" cy="1097280"/>
          </a:xfrm>
        </p:spPr>
        <p:txBody>
          <a:bodyPr/>
          <a:lstStyle>
            <a:lvl1pPr>
              <a:defRPr sz="3584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1" y="1600200"/>
            <a:ext cx="9144001" cy="685800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390">
                <a:solidFill>
                  <a:schemeClr val="tx1"/>
                </a:solidFill>
              </a:defRPr>
            </a:lvl1pPr>
            <a:lvl2pPr marL="4551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03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55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07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59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11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6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15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5791200"/>
            <a:ext cx="3657601" cy="2286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592">
                <a:solidFill>
                  <a:schemeClr val="bg1"/>
                </a:solidFill>
              </a:defRPr>
            </a:lvl1pPr>
            <a:lvl2pPr marL="0" indent="0">
              <a:lnSpc>
                <a:spcPct val="90000"/>
              </a:lnSpc>
              <a:spcBef>
                <a:spcPts val="598"/>
              </a:spcBef>
              <a:buNone/>
              <a:defRPr sz="1592">
                <a:solidFill>
                  <a:schemeClr val="bg1"/>
                </a:solidFill>
              </a:defRPr>
            </a:lvl2pPr>
            <a:lvl3pPr marL="0" indent="0">
              <a:lnSpc>
                <a:spcPct val="90000"/>
              </a:lnSpc>
              <a:spcBef>
                <a:spcPts val="598"/>
              </a:spcBef>
              <a:buNone/>
              <a:defRPr sz="1592">
                <a:solidFill>
                  <a:schemeClr val="bg1"/>
                </a:solidFill>
              </a:defRPr>
            </a:lvl3pPr>
            <a:lvl4pPr marL="0" indent="0">
              <a:lnSpc>
                <a:spcPct val="90000"/>
              </a:lnSpc>
              <a:spcBef>
                <a:spcPts val="598"/>
              </a:spcBef>
              <a:buNone/>
              <a:defRPr sz="1592">
                <a:solidFill>
                  <a:schemeClr val="bg1"/>
                </a:solidFill>
              </a:defRPr>
            </a:lvl4pPr>
            <a:lvl5pPr marL="0" indent="0">
              <a:lnSpc>
                <a:spcPct val="90000"/>
              </a:lnSpc>
              <a:spcBef>
                <a:spcPts val="598"/>
              </a:spcBef>
              <a:buNone/>
              <a:defRPr sz="1592">
                <a:solidFill>
                  <a:schemeClr val="bg1"/>
                </a:solidFill>
              </a:defRPr>
            </a:lvl5pPr>
            <a:lvl6pPr marL="0" indent="0">
              <a:lnSpc>
                <a:spcPct val="90000"/>
              </a:lnSpc>
              <a:spcBef>
                <a:spcPts val="598"/>
              </a:spcBef>
              <a:buNone/>
              <a:defRPr sz="1592">
                <a:solidFill>
                  <a:schemeClr val="bg1"/>
                </a:solidFill>
              </a:defRPr>
            </a:lvl6pPr>
            <a:lvl7pPr marL="0" indent="0">
              <a:lnSpc>
                <a:spcPct val="90000"/>
              </a:lnSpc>
              <a:spcBef>
                <a:spcPts val="598"/>
              </a:spcBef>
              <a:buNone/>
              <a:defRPr sz="1592">
                <a:solidFill>
                  <a:schemeClr val="bg1"/>
                </a:solidFill>
              </a:defRPr>
            </a:lvl7pPr>
            <a:lvl8pPr marL="0" indent="0">
              <a:lnSpc>
                <a:spcPct val="90000"/>
              </a:lnSpc>
              <a:spcBef>
                <a:spcPts val="598"/>
              </a:spcBef>
              <a:buNone/>
              <a:defRPr sz="1592">
                <a:solidFill>
                  <a:schemeClr val="bg1"/>
                </a:solidFill>
              </a:defRPr>
            </a:lvl8pPr>
          </a:lstStyle>
          <a:p>
            <a:pPr lvl="0"/>
            <a:r>
              <a:rPr lang="en-US" dirty="0"/>
              <a:t>Click to add presenter’s name 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6081068"/>
            <a:ext cx="3657601" cy="2286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592">
                <a:solidFill>
                  <a:schemeClr val="bg1"/>
                </a:solidFill>
              </a:defRPr>
            </a:lvl1pPr>
            <a:lvl2pPr marL="0" indent="0">
              <a:lnSpc>
                <a:spcPct val="90000"/>
              </a:lnSpc>
              <a:spcBef>
                <a:spcPts val="598"/>
              </a:spcBef>
              <a:buNone/>
              <a:defRPr sz="1592">
                <a:solidFill>
                  <a:schemeClr val="bg1"/>
                </a:solidFill>
              </a:defRPr>
            </a:lvl2pPr>
            <a:lvl3pPr marL="0" indent="0">
              <a:lnSpc>
                <a:spcPct val="90000"/>
              </a:lnSpc>
              <a:spcBef>
                <a:spcPts val="598"/>
              </a:spcBef>
              <a:buNone/>
              <a:defRPr sz="1592">
                <a:solidFill>
                  <a:schemeClr val="bg1"/>
                </a:solidFill>
              </a:defRPr>
            </a:lvl3pPr>
            <a:lvl4pPr marL="0" indent="0">
              <a:lnSpc>
                <a:spcPct val="90000"/>
              </a:lnSpc>
              <a:spcBef>
                <a:spcPts val="598"/>
              </a:spcBef>
              <a:buNone/>
              <a:defRPr sz="1592">
                <a:solidFill>
                  <a:schemeClr val="bg1"/>
                </a:solidFill>
              </a:defRPr>
            </a:lvl4pPr>
            <a:lvl5pPr marL="0" indent="0">
              <a:lnSpc>
                <a:spcPct val="90000"/>
              </a:lnSpc>
              <a:spcBef>
                <a:spcPts val="598"/>
              </a:spcBef>
              <a:buNone/>
              <a:defRPr sz="1592">
                <a:solidFill>
                  <a:schemeClr val="bg1"/>
                </a:solidFill>
              </a:defRPr>
            </a:lvl5pPr>
            <a:lvl6pPr marL="0" indent="0">
              <a:lnSpc>
                <a:spcPct val="90000"/>
              </a:lnSpc>
              <a:spcBef>
                <a:spcPts val="598"/>
              </a:spcBef>
              <a:buNone/>
              <a:defRPr sz="1592">
                <a:solidFill>
                  <a:schemeClr val="bg1"/>
                </a:solidFill>
              </a:defRPr>
            </a:lvl6pPr>
            <a:lvl7pPr marL="0" indent="0">
              <a:lnSpc>
                <a:spcPct val="90000"/>
              </a:lnSpc>
              <a:spcBef>
                <a:spcPts val="598"/>
              </a:spcBef>
              <a:buNone/>
              <a:defRPr sz="1592">
                <a:solidFill>
                  <a:schemeClr val="bg1"/>
                </a:solidFill>
              </a:defRPr>
            </a:lvl7pPr>
            <a:lvl8pPr marL="0" indent="0">
              <a:lnSpc>
                <a:spcPct val="90000"/>
              </a:lnSpc>
              <a:spcBef>
                <a:spcPts val="598"/>
              </a:spcBef>
              <a:buNone/>
              <a:defRPr sz="1592">
                <a:solidFill>
                  <a:schemeClr val="bg1"/>
                </a:solidFill>
              </a:defRPr>
            </a:lvl8pPr>
          </a:lstStyle>
          <a:p>
            <a:pPr lvl="0"/>
            <a:r>
              <a:rPr lang="en-US" dirty="0"/>
              <a:t>Click to add date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9750426" y="6074836"/>
            <a:ext cx="1830783" cy="216433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  <p:sp>
          <p:nvSpPr>
            <p:cNvPr id="15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  <p:sp>
          <p:nvSpPr>
            <p:cNvPr id="18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</p:grpSp>
      <p:sp>
        <p:nvSpPr>
          <p:cNvPr id="4" name="TextBox 3"/>
          <p:cNvSpPr txBox="1"/>
          <p:nvPr/>
        </p:nvSpPr>
        <p:spPr>
          <a:xfrm>
            <a:off x="9245600" y="6505956"/>
            <a:ext cx="2335608" cy="1996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0381">
              <a:lnSpc>
                <a:spcPct val="90000"/>
              </a:lnSpc>
            </a:pPr>
            <a:r>
              <a:rPr lang="en-US" sz="696" dirty="0">
                <a:solidFill>
                  <a:prstClr val="white"/>
                </a:solidFill>
              </a:rPr>
              <a:t>© 2014 VMware Inc. All rights reserved.</a:t>
            </a:r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330200"/>
            <a:ext cx="10972801" cy="8128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717074">
                    <a:tint val="75000"/>
                  </a:srgbClr>
                </a:solidFill>
              </a:rPr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3" y="1676400"/>
            <a:ext cx="10972801" cy="4343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717074">
                    <a:tint val="75000"/>
                  </a:srgbClr>
                </a:solidFill>
              </a:rPr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3" y="1206500"/>
            <a:ext cx="10972801" cy="304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792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1992">
                <a:solidFill>
                  <a:schemeClr val="accent4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1992">
                <a:solidFill>
                  <a:schemeClr val="accent4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1992">
                <a:solidFill>
                  <a:schemeClr val="accent4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1992">
                <a:solidFill>
                  <a:schemeClr val="accent4"/>
                </a:solidFill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buNone/>
              <a:defRPr sz="1992">
                <a:solidFill>
                  <a:schemeClr val="accent4"/>
                </a:solidFill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buNone/>
              <a:defRPr sz="1992">
                <a:solidFill>
                  <a:schemeClr val="accent4"/>
                </a:solidFill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buNone/>
              <a:defRPr sz="1992">
                <a:solidFill>
                  <a:schemeClr val="accent4"/>
                </a:solidFill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buNone/>
              <a:defRPr sz="1992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5698813" y="0"/>
            <a:ext cx="649318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4892" y="1676400"/>
            <a:ext cx="7315200" cy="1524000"/>
          </a:xfrm>
        </p:spPr>
        <p:txBody>
          <a:bodyPr anchor="b"/>
          <a:lstStyle>
            <a:lvl1pPr algn="l">
              <a:defRPr sz="3584" b="1" cap="none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3276600"/>
            <a:ext cx="7315200" cy="6096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992">
                <a:solidFill>
                  <a:schemeClr val="tx1"/>
                </a:solidFill>
              </a:defRPr>
            </a:lvl1pPr>
            <a:lvl2pPr marL="0" indent="0">
              <a:buNone/>
              <a:defRPr sz="1992">
                <a:solidFill>
                  <a:schemeClr val="accent4"/>
                </a:solidFill>
              </a:defRPr>
            </a:lvl2pPr>
            <a:lvl3pPr marL="0" indent="0">
              <a:buNone/>
              <a:defRPr sz="1992">
                <a:solidFill>
                  <a:schemeClr val="accent4"/>
                </a:solidFill>
              </a:defRPr>
            </a:lvl3pPr>
            <a:lvl4pPr marL="0" indent="0">
              <a:buNone/>
              <a:defRPr sz="1992">
                <a:solidFill>
                  <a:schemeClr val="accent4"/>
                </a:solidFill>
              </a:defRPr>
            </a:lvl4pPr>
            <a:lvl5pPr marL="0" indent="0">
              <a:buNone/>
              <a:defRPr sz="1992">
                <a:solidFill>
                  <a:schemeClr val="accent4"/>
                </a:solidFill>
              </a:defRPr>
            </a:lvl5pPr>
            <a:lvl6pPr marL="0" indent="0">
              <a:buNone/>
              <a:defRPr sz="1992">
                <a:solidFill>
                  <a:schemeClr val="accent4"/>
                </a:solidFill>
              </a:defRPr>
            </a:lvl6pPr>
            <a:lvl7pPr marL="0" indent="0">
              <a:buNone/>
              <a:defRPr sz="1992">
                <a:solidFill>
                  <a:schemeClr val="accent4"/>
                </a:solidFill>
              </a:defRPr>
            </a:lvl7pPr>
            <a:lvl8pPr marL="0" indent="0">
              <a:buNone/>
              <a:defRPr sz="1992">
                <a:solidFill>
                  <a:schemeClr val="accent4"/>
                </a:solidFill>
              </a:defRPr>
            </a:lvl8pPr>
            <a:lvl9pPr marL="0" indent="0">
              <a:buNone/>
              <a:defRPr sz="1992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598036" y="6446051"/>
            <a:ext cx="1466391" cy="173355"/>
            <a:chOff x="-84138" y="5622925"/>
            <a:chExt cx="4330701" cy="682626"/>
          </a:xfrm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</p:grp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with Picture">
    <p:bg bwMode="ltGray"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1676400"/>
            <a:ext cx="6096000" cy="1524000"/>
          </a:xfrm>
        </p:spPr>
        <p:txBody>
          <a:bodyPr anchor="b"/>
          <a:lstStyle>
            <a:lvl1pPr algn="l">
              <a:defRPr sz="3584" b="1" cap="none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3" y="3276600"/>
            <a:ext cx="6096000" cy="6096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992">
                <a:solidFill>
                  <a:schemeClr val="tx1"/>
                </a:solidFill>
              </a:defRPr>
            </a:lvl1pPr>
            <a:lvl2pPr marL="0" indent="0">
              <a:buNone/>
              <a:defRPr sz="1992">
                <a:solidFill>
                  <a:schemeClr val="accent4"/>
                </a:solidFill>
              </a:defRPr>
            </a:lvl2pPr>
            <a:lvl3pPr marL="0" indent="0">
              <a:buNone/>
              <a:defRPr sz="1992">
                <a:solidFill>
                  <a:schemeClr val="accent4"/>
                </a:solidFill>
              </a:defRPr>
            </a:lvl3pPr>
            <a:lvl4pPr marL="0" indent="0">
              <a:buNone/>
              <a:defRPr sz="1992">
                <a:solidFill>
                  <a:schemeClr val="accent4"/>
                </a:solidFill>
              </a:defRPr>
            </a:lvl4pPr>
            <a:lvl5pPr marL="0" indent="0">
              <a:buNone/>
              <a:defRPr sz="1992">
                <a:solidFill>
                  <a:schemeClr val="accent4"/>
                </a:solidFill>
              </a:defRPr>
            </a:lvl5pPr>
            <a:lvl6pPr marL="0" indent="0">
              <a:buNone/>
              <a:defRPr sz="1992">
                <a:solidFill>
                  <a:schemeClr val="accent4"/>
                </a:solidFill>
              </a:defRPr>
            </a:lvl6pPr>
            <a:lvl7pPr marL="0" indent="0">
              <a:buNone/>
              <a:defRPr sz="1992">
                <a:solidFill>
                  <a:schemeClr val="accent4"/>
                </a:solidFill>
              </a:defRPr>
            </a:lvl7pPr>
            <a:lvl8pPr marL="0" indent="0">
              <a:buNone/>
              <a:defRPr sz="1992">
                <a:solidFill>
                  <a:schemeClr val="accent4"/>
                </a:solidFill>
              </a:defRPr>
            </a:lvl8pPr>
            <a:lvl9pPr marL="0" indent="0">
              <a:buNone/>
              <a:defRPr sz="1992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598036" y="6446051"/>
            <a:ext cx="1466391" cy="173355"/>
            <a:chOff x="-84138" y="5622925"/>
            <a:chExt cx="4330701" cy="682626"/>
          </a:xfrm>
        </p:grpSpPr>
        <p:sp>
          <p:nvSpPr>
            <p:cNvPr id="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  <p:sp>
          <p:nvSpPr>
            <p:cNvPr id="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  <p:sp>
          <p:nvSpPr>
            <p:cNvPr id="9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  <p:sp>
          <p:nvSpPr>
            <p:cNvPr id="10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  <p:sp>
          <p:nvSpPr>
            <p:cNvPr id="12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  <p:sp>
          <p:nvSpPr>
            <p:cNvPr id="13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</p:grpSp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bg bwMode="ltGray"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914401" y="2593231"/>
            <a:ext cx="4813303" cy="5334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592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592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None/>
              <a:defRPr sz="1592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None/>
              <a:defRPr sz="1592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None/>
              <a:defRPr sz="1592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592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None/>
              <a:defRPr sz="1592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592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592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Click to add Name, Title, Compan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843281" y="457200"/>
            <a:ext cx="4876800" cy="2011680"/>
          </a:xfrm>
        </p:spPr>
        <p:txBody>
          <a:bodyPr/>
          <a:lstStyle>
            <a:lvl1pPr marL="58480" indent="-55319">
              <a:lnSpc>
                <a:spcPct val="100000"/>
              </a:lnSpc>
              <a:spcBef>
                <a:spcPts val="0"/>
              </a:spcBef>
              <a:buNone/>
              <a:defRPr sz="2190">
                <a:solidFill>
                  <a:schemeClr val="accent3">
                    <a:lumMod val="50000"/>
                  </a:schemeClr>
                </a:solidFill>
              </a:defRPr>
            </a:lvl1pPr>
            <a:lvl2pPr marL="3161" indent="0">
              <a:lnSpc>
                <a:spcPct val="100000"/>
              </a:lnSpc>
              <a:spcBef>
                <a:spcPts val="0"/>
              </a:spcBef>
              <a:buNone/>
              <a:defRPr sz="2190">
                <a:solidFill>
                  <a:schemeClr val="accent1">
                    <a:lumMod val="50000"/>
                  </a:schemeClr>
                </a:solidFill>
              </a:defRPr>
            </a:lvl2pPr>
            <a:lvl3pPr marL="3161" indent="0">
              <a:lnSpc>
                <a:spcPct val="100000"/>
              </a:lnSpc>
              <a:spcBef>
                <a:spcPts val="0"/>
              </a:spcBef>
              <a:buNone/>
              <a:defRPr sz="2190">
                <a:solidFill>
                  <a:schemeClr val="accent1">
                    <a:lumMod val="50000"/>
                  </a:schemeClr>
                </a:solidFill>
              </a:defRPr>
            </a:lvl3pPr>
            <a:lvl4pPr marL="3161" indent="0">
              <a:lnSpc>
                <a:spcPct val="100000"/>
              </a:lnSpc>
              <a:spcBef>
                <a:spcPts val="0"/>
              </a:spcBef>
              <a:buNone/>
              <a:defRPr sz="2190">
                <a:solidFill>
                  <a:schemeClr val="accent1">
                    <a:lumMod val="50000"/>
                  </a:schemeClr>
                </a:solidFill>
              </a:defRPr>
            </a:lvl4pPr>
            <a:lvl5pPr marL="3161" indent="0">
              <a:lnSpc>
                <a:spcPct val="100000"/>
              </a:lnSpc>
              <a:spcBef>
                <a:spcPts val="0"/>
              </a:spcBef>
              <a:buNone/>
              <a:defRPr sz="2190">
                <a:solidFill>
                  <a:schemeClr val="accent1">
                    <a:lumMod val="50000"/>
                  </a:schemeClr>
                </a:solidFill>
              </a:defRPr>
            </a:lvl5pPr>
            <a:lvl6pPr marL="3161" indent="0">
              <a:lnSpc>
                <a:spcPct val="100000"/>
              </a:lnSpc>
              <a:spcBef>
                <a:spcPts val="0"/>
              </a:spcBef>
              <a:buNone/>
              <a:defRPr sz="2190">
                <a:solidFill>
                  <a:schemeClr val="accent1">
                    <a:lumMod val="50000"/>
                  </a:schemeClr>
                </a:solidFill>
              </a:defRPr>
            </a:lvl6pPr>
            <a:lvl7pPr marL="3161" indent="0">
              <a:lnSpc>
                <a:spcPct val="100000"/>
              </a:lnSpc>
              <a:spcBef>
                <a:spcPts val="0"/>
              </a:spcBef>
              <a:buNone/>
              <a:defRPr sz="2190">
                <a:solidFill>
                  <a:schemeClr val="accent1">
                    <a:lumMod val="50000"/>
                  </a:schemeClr>
                </a:solidFill>
              </a:defRPr>
            </a:lvl7pPr>
            <a:lvl8pPr marL="3161" indent="0">
              <a:lnSpc>
                <a:spcPct val="100000"/>
              </a:lnSpc>
              <a:spcBef>
                <a:spcPts val="0"/>
              </a:spcBef>
              <a:buNone/>
              <a:defRPr sz="2190">
                <a:solidFill>
                  <a:schemeClr val="accent1">
                    <a:lumMod val="50000"/>
                  </a:schemeClr>
                </a:solidFill>
              </a:defRPr>
            </a:lvl8pPr>
            <a:lvl9pPr marL="3161" indent="0">
              <a:lnSpc>
                <a:spcPct val="100000"/>
              </a:lnSpc>
              <a:spcBef>
                <a:spcPts val="0"/>
              </a:spcBef>
              <a:buNone/>
              <a:defRPr sz="219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598036" y="6446051"/>
            <a:ext cx="1466391" cy="173355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  <p:sp>
          <p:nvSpPr>
            <p:cNvPr id="9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  <p:sp>
          <p:nvSpPr>
            <p:cNvPr id="10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</p:grp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etric 1">
    <p:bg bwMode="ltGray"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322758" y="685800"/>
            <a:ext cx="4389120" cy="1676400"/>
          </a:xfrm>
        </p:spPr>
        <p:txBody>
          <a:bodyPr anchor="b"/>
          <a:lstStyle>
            <a:lvl1pPr marL="3161" indent="0">
              <a:spcBef>
                <a:spcPts val="0"/>
              </a:spcBef>
              <a:buNone/>
              <a:defRPr sz="10952">
                <a:solidFill>
                  <a:schemeClr val="accent3"/>
                </a:solidFill>
              </a:defRPr>
            </a:lvl1pPr>
            <a:lvl2pPr marL="3161" indent="0">
              <a:spcBef>
                <a:spcPts val="0"/>
              </a:spcBef>
              <a:buNone/>
              <a:defRPr sz="10952">
                <a:solidFill>
                  <a:schemeClr val="accent3"/>
                </a:solidFill>
              </a:defRPr>
            </a:lvl2pPr>
            <a:lvl3pPr marL="3161" indent="0">
              <a:spcBef>
                <a:spcPts val="0"/>
              </a:spcBef>
              <a:buNone/>
              <a:defRPr sz="10952">
                <a:solidFill>
                  <a:schemeClr val="accent3"/>
                </a:solidFill>
              </a:defRPr>
            </a:lvl3pPr>
            <a:lvl4pPr marL="3161" indent="0">
              <a:spcBef>
                <a:spcPts val="0"/>
              </a:spcBef>
              <a:buNone/>
              <a:defRPr sz="10952">
                <a:solidFill>
                  <a:schemeClr val="accent3"/>
                </a:solidFill>
              </a:defRPr>
            </a:lvl4pPr>
            <a:lvl5pPr marL="3161" indent="0">
              <a:spcBef>
                <a:spcPts val="0"/>
              </a:spcBef>
              <a:buNone/>
              <a:defRPr sz="10952">
                <a:solidFill>
                  <a:schemeClr val="accent3"/>
                </a:solidFill>
              </a:defRPr>
            </a:lvl5pPr>
            <a:lvl6pPr marL="3161" indent="0">
              <a:spcBef>
                <a:spcPts val="0"/>
              </a:spcBef>
              <a:buNone/>
              <a:defRPr sz="10952">
                <a:solidFill>
                  <a:schemeClr val="accent3"/>
                </a:solidFill>
              </a:defRPr>
            </a:lvl6pPr>
            <a:lvl7pPr marL="3161" indent="0">
              <a:spcBef>
                <a:spcPts val="0"/>
              </a:spcBef>
              <a:buNone/>
              <a:defRPr sz="10952">
                <a:solidFill>
                  <a:schemeClr val="accent3"/>
                </a:solidFill>
              </a:defRPr>
            </a:lvl7pPr>
            <a:lvl8pPr marL="3161" indent="0">
              <a:spcBef>
                <a:spcPts val="0"/>
              </a:spcBef>
              <a:buNone/>
              <a:defRPr sz="10952">
                <a:solidFill>
                  <a:schemeClr val="accent3"/>
                </a:solidFill>
              </a:defRPr>
            </a:lvl8pPr>
            <a:lvl9pPr marL="3161" indent="0">
              <a:spcBef>
                <a:spcPts val="0"/>
              </a:spcBef>
              <a:buNone/>
              <a:defRPr sz="10952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322758" y="2362200"/>
            <a:ext cx="4389120" cy="1066800"/>
          </a:xfrm>
        </p:spPr>
        <p:txBody>
          <a:bodyPr/>
          <a:lstStyle>
            <a:lvl1pPr marL="3161" indent="0">
              <a:spcBef>
                <a:spcPts val="0"/>
              </a:spcBef>
              <a:buNone/>
              <a:defRPr sz="2390" cap="none" baseline="0">
                <a:solidFill>
                  <a:schemeClr val="accent3"/>
                </a:solidFill>
              </a:defRPr>
            </a:lvl1pPr>
            <a:lvl2pPr marL="3161" indent="0">
              <a:spcBef>
                <a:spcPts val="0"/>
              </a:spcBef>
              <a:buNone/>
              <a:defRPr sz="1992" cap="all" baseline="0">
                <a:solidFill>
                  <a:schemeClr val="accent3"/>
                </a:solidFill>
              </a:defRPr>
            </a:lvl2pPr>
            <a:lvl3pPr marL="3161" indent="0">
              <a:spcBef>
                <a:spcPts val="0"/>
              </a:spcBef>
              <a:buNone/>
              <a:defRPr sz="1992" cap="all" baseline="0">
                <a:solidFill>
                  <a:schemeClr val="accent3"/>
                </a:solidFill>
              </a:defRPr>
            </a:lvl3pPr>
            <a:lvl4pPr marL="3161" indent="0">
              <a:spcBef>
                <a:spcPts val="0"/>
              </a:spcBef>
              <a:buNone/>
              <a:defRPr sz="1992" cap="all" baseline="0">
                <a:solidFill>
                  <a:schemeClr val="accent3"/>
                </a:solidFill>
              </a:defRPr>
            </a:lvl4pPr>
            <a:lvl5pPr marL="3161" indent="0">
              <a:spcBef>
                <a:spcPts val="0"/>
              </a:spcBef>
              <a:buNone/>
              <a:defRPr sz="1992" cap="all" baseline="0">
                <a:solidFill>
                  <a:schemeClr val="accent3"/>
                </a:solidFill>
              </a:defRPr>
            </a:lvl5pPr>
            <a:lvl6pPr marL="3161" indent="0">
              <a:spcBef>
                <a:spcPts val="0"/>
              </a:spcBef>
              <a:buNone/>
              <a:defRPr sz="1992" cap="all" baseline="0">
                <a:solidFill>
                  <a:schemeClr val="accent3"/>
                </a:solidFill>
              </a:defRPr>
            </a:lvl6pPr>
            <a:lvl7pPr marL="3161" indent="0">
              <a:spcBef>
                <a:spcPts val="0"/>
              </a:spcBef>
              <a:buNone/>
              <a:defRPr sz="1992" cap="all" baseline="0">
                <a:solidFill>
                  <a:schemeClr val="accent3"/>
                </a:solidFill>
              </a:defRPr>
            </a:lvl7pPr>
            <a:lvl8pPr marL="3161" indent="0">
              <a:spcBef>
                <a:spcPts val="0"/>
              </a:spcBef>
              <a:buNone/>
              <a:defRPr sz="1992" cap="all" baseline="0">
                <a:solidFill>
                  <a:schemeClr val="accent3"/>
                </a:solidFill>
              </a:defRPr>
            </a:lvl8pPr>
            <a:lvl9pPr marL="3161" indent="0">
              <a:spcBef>
                <a:spcPts val="0"/>
              </a:spcBef>
              <a:buNone/>
              <a:defRPr sz="1992" cap="all" baseline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598036" y="6446051"/>
            <a:ext cx="1466391" cy="173355"/>
            <a:chOff x="-84138" y="5622925"/>
            <a:chExt cx="4330701" cy="682626"/>
          </a:xfrm>
        </p:grpSpPr>
        <p:sp>
          <p:nvSpPr>
            <p:cNvPr id="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  <p:sp>
          <p:nvSpPr>
            <p:cNvPr id="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  <p:sp>
          <p:nvSpPr>
            <p:cNvPr id="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  <p:sp>
          <p:nvSpPr>
            <p:cNvPr id="10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  <p:sp>
          <p:nvSpPr>
            <p:cNvPr id="12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  <p:sp>
          <p:nvSpPr>
            <p:cNvPr id="13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</p:grp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etric 2">
    <p:bg bwMode="ltGray"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05601" y="2209800"/>
            <a:ext cx="4389120" cy="1676400"/>
          </a:xfrm>
        </p:spPr>
        <p:txBody>
          <a:bodyPr anchor="b"/>
          <a:lstStyle>
            <a:lvl1pPr marL="3161" indent="0">
              <a:spcBef>
                <a:spcPts val="0"/>
              </a:spcBef>
              <a:buNone/>
              <a:defRPr sz="10952">
                <a:solidFill>
                  <a:schemeClr val="bg1"/>
                </a:solidFill>
              </a:defRPr>
            </a:lvl1pPr>
            <a:lvl2pPr marL="3161" indent="0">
              <a:spcBef>
                <a:spcPts val="0"/>
              </a:spcBef>
              <a:buNone/>
              <a:defRPr sz="10952">
                <a:solidFill>
                  <a:schemeClr val="bg1"/>
                </a:solidFill>
              </a:defRPr>
            </a:lvl2pPr>
            <a:lvl3pPr marL="3161" indent="0">
              <a:spcBef>
                <a:spcPts val="0"/>
              </a:spcBef>
              <a:buNone/>
              <a:defRPr sz="10952">
                <a:solidFill>
                  <a:schemeClr val="bg1"/>
                </a:solidFill>
              </a:defRPr>
            </a:lvl3pPr>
            <a:lvl4pPr marL="3161" indent="0">
              <a:spcBef>
                <a:spcPts val="0"/>
              </a:spcBef>
              <a:buNone/>
              <a:defRPr sz="10952">
                <a:solidFill>
                  <a:schemeClr val="bg1"/>
                </a:solidFill>
              </a:defRPr>
            </a:lvl4pPr>
            <a:lvl5pPr marL="3161" indent="0">
              <a:spcBef>
                <a:spcPts val="0"/>
              </a:spcBef>
              <a:buNone/>
              <a:defRPr sz="10952">
                <a:solidFill>
                  <a:schemeClr val="bg1"/>
                </a:solidFill>
              </a:defRPr>
            </a:lvl5pPr>
            <a:lvl6pPr marL="3161" indent="0">
              <a:spcBef>
                <a:spcPts val="0"/>
              </a:spcBef>
              <a:buNone/>
              <a:defRPr sz="10952">
                <a:solidFill>
                  <a:schemeClr val="bg1"/>
                </a:solidFill>
              </a:defRPr>
            </a:lvl6pPr>
            <a:lvl7pPr marL="3161" indent="0">
              <a:spcBef>
                <a:spcPts val="0"/>
              </a:spcBef>
              <a:buNone/>
              <a:defRPr sz="10952">
                <a:solidFill>
                  <a:schemeClr val="bg1"/>
                </a:solidFill>
              </a:defRPr>
            </a:lvl7pPr>
            <a:lvl8pPr marL="3161" indent="0">
              <a:spcBef>
                <a:spcPts val="0"/>
              </a:spcBef>
              <a:buNone/>
              <a:defRPr sz="10952">
                <a:solidFill>
                  <a:schemeClr val="bg1"/>
                </a:solidFill>
              </a:defRPr>
            </a:lvl8pPr>
            <a:lvl9pPr marL="3161" indent="0">
              <a:spcBef>
                <a:spcPts val="0"/>
              </a:spcBef>
              <a:buNone/>
              <a:defRPr sz="10952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705601" y="3886200"/>
            <a:ext cx="4389120" cy="1066800"/>
          </a:xfrm>
        </p:spPr>
        <p:txBody>
          <a:bodyPr/>
          <a:lstStyle>
            <a:lvl1pPr marL="3161" indent="0">
              <a:spcBef>
                <a:spcPts val="0"/>
              </a:spcBef>
              <a:buNone/>
              <a:defRPr sz="2390" cap="none" baseline="0">
                <a:solidFill>
                  <a:schemeClr val="bg1"/>
                </a:solidFill>
              </a:defRPr>
            </a:lvl1pPr>
            <a:lvl2pPr marL="3161" indent="0">
              <a:spcBef>
                <a:spcPts val="0"/>
              </a:spcBef>
              <a:buNone/>
              <a:defRPr sz="2390" cap="none" baseline="0">
                <a:solidFill>
                  <a:schemeClr val="bg1"/>
                </a:solidFill>
              </a:defRPr>
            </a:lvl2pPr>
            <a:lvl3pPr marL="3161" indent="0">
              <a:spcBef>
                <a:spcPts val="0"/>
              </a:spcBef>
              <a:buNone/>
              <a:defRPr sz="1992" cap="all" baseline="0">
                <a:solidFill>
                  <a:schemeClr val="bg1"/>
                </a:solidFill>
              </a:defRPr>
            </a:lvl3pPr>
            <a:lvl4pPr marL="3161" indent="0">
              <a:spcBef>
                <a:spcPts val="0"/>
              </a:spcBef>
              <a:buNone/>
              <a:defRPr sz="1992" cap="all" baseline="0">
                <a:solidFill>
                  <a:schemeClr val="bg1"/>
                </a:solidFill>
              </a:defRPr>
            </a:lvl4pPr>
            <a:lvl5pPr marL="3161" indent="0">
              <a:spcBef>
                <a:spcPts val="0"/>
              </a:spcBef>
              <a:buNone/>
              <a:defRPr sz="1992" cap="all" baseline="0">
                <a:solidFill>
                  <a:schemeClr val="bg1"/>
                </a:solidFill>
              </a:defRPr>
            </a:lvl5pPr>
            <a:lvl6pPr marL="3161" indent="0">
              <a:spcBef>
                <a:spcPts val="0"/>
              </a:spcBef>
              <a:buNone/>
              <a:defRPr sz="1992" cap="all" baseline="0">
                <a:solidFill>
                  <a:schemeClr val="bg1"/>
                </a:solidFill>
              </a:defRPr>
            </a:lvl6pPr>
            <a:lvl7pPr marL="3161" indent="0">
              <a:spcBef>
                <a:spcPts val="0"/>
              </a:spcBef>
              <a:buNone/>
              <a:defRPr sz="1992" cap="all" baseline="0">
                <a:solidFill>
                  <a:schemeClr val="bg1"/>
                </a:solidFill>
              </a:defRPr>
            </a:lvl7pPr>
            <a:lvl8pPr marL="3161" indent="0">
              <a:spcBef>
                <a:spcPts val="0"/>
              </a:spcBef>
              <a:buNone/>
              <a:defRPr sz="1992" cap="all" baseline="0">
                <a:solidFill>
                  <a:schemeClr val="bg1"/>
                </a:solidFill>
              </a:defRPr>
            </a:lvl8pPr>
            <a:lvl9pPr marL="3161" indent="0">
              <a:spcBef>
                <a:spcPts val="0"/>
              </a:spcBef>
              <a:buNone/>
              <a:defRPr sz="1992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598036" y="6446051"/>
            <a:ext cx="1466391" cy="173355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  <p:sp>
          <p:nvSpPr>
            <p:cNvPr id="9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  <p:sp>
          <p:nvSpPr>
            <p:cNvPr id="10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  <p:sp>
          <p:nvSpPr>
            <p:cNvPr id="12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  <p:sp>
          <p:nvSpPr>
            <p:cNvPr id="13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</p:grp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etric 2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/>
          <p:nvPr/>
        </p:nvGrpSpPr>
        <p:grpSpPr>
          <a:xfrm>
            <a:off x="618039" y="6446072"/>
            <a:ext cx="1100080" cy="173355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1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1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19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1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2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</p:grp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05600" y="2209800"/>
            <a:ext cx="4389120" cy="1676400"/>
          </a:xfrm>
        </p:spPr>
        <p:txBody>
          <a:bodyPr anchor="b"/>
          <a:lstStyle>
            <a:lvl1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1pPr>
            <a:lvl2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2pPr>
            <a:lvl3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3pPr>
            <a:lvl4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4pPr>
            <a:lvl5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5pPr>
            <a:lvl6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6pPr>
            <a:lvl7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7pPr>
            <a:lvl8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8pPr>
            <a:lvl9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705600" y="3886200"/>
            <a:ext cx="4389120" cy="1066800"/>
          </a:xfrm>
        </p:spPr>
        <p:txBody>
          <a:bodyPr/>
          <a:lstStyle>
            <a:lvl1pPr marL="3175" indent="0">
              <a:spcBef>
                <a:spcPts val="0"/>
              </a:spcBef>
              <a:buNone/>
              <a:defRPr sz="2400" cap="none" baseline="0">
                <a:solidFill>
                  <a:schemeClr val="bg1"/>
                </a:solidFill>
              </a:defRPr>
            </a:lvl1pPr>
            <a:lvl2pPr marL="3175" indent="0">
              <a:spcBef>
                <a:spcPts val="0"/>
              </a:spcBef>
              <a:buNone/>
              <a:defRPr sz="2400" cap="none" baseline="0">
                <a:solidFill>
                  <a:schemeClr val="bg1"/>
                </a:solidFill>
              </a:defRPr>
            </a:lvl2pPr>
            <a:lvl3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3pPr>
            <a:lvl4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4pPr>
            <a:lvl5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5pPr>
            <a:lvl6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6pPr>
            <a:lvl7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7pPr>
            <a:lvl8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8pPr>
            <a:lvl9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wipe dir="r"/>
      </p:transition>
    </mc:Choice>
    <mc:Fallback xmlns="">
      <p:transition xmlns:p14="http://schemas.microsoft.com/office/powerpoint/2010/main" spd="slow">
        <p:wipe dir="r"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etric 3">
    <p:bg bwMode="ltGray"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27201" y="4740499"/>
            <a:ext cx="4064000" cy="1415602"/>
          </a:xfrm>
        </p:spPr>
        <p:txBody>
          <a:bodyPr anchor="ctr"/>
          <a:lstStyle>
            <a:lvl1pPr marL="3161" indent="0" algn="r">
              <a:spcBef>
                <a:spcPts val="0"/>
              </a:spcBef>
              <a:buNone/>
              <a:defRPr sz="8762">
                <a:solidFill>
                  <a:schemeClr val="accent3">
                    <a:lumMod val="50000"/>
                  </a:schemeClr>
                </a:solidFill>
              </a:defRPr>
            </a:lvl1pPr>
            <a:lvl2pPr marL="3161" indent="0">
              <a:spcBef>
                <a:spcPts val="0"/>
              </a:spcBef>
              <a:buNone/>
              <a:defRPr sz="8762">
                <a:solidFill>
                  <a:schemeClr val="accent1">
                    <a:lumMod val="50000"/>
                  </a:schemeClr>
                </a:solidFill>
              </a:defRPr>
            </a:lvl2pPr>
            <a:lvl3pPr marL="3161" indent="0">
              <a:spcBef>
                <a:spcPts val="0"/>
              </a:spcBef>
              <a:buNone/>
              <a:defRPr sz="8762">
                <a:solidFill>
                  <a:schemeClr val="accent1">
                    <a:lumMod val="50000"/>
                  </a:schemeClr>
                </a:solidFill>
              </a:defRPr>
            </a:lvl3pPr>
            <a:lvl4pPr marL="3161" indent="0">
              <a:spcBef>
                <a:spcPts val="0"/>
              </a:spcBef>
              <a:buNone/>
              <a:defRPr sz="8762">
                <a:solidFill>
                  <a:schemeClr val="accent1">
                    <a:lumMod val="50000"/>
                  </a:schemeClr>
                </a:solidFill>
              </a:defRPr>
            </a:lvl4pPr>
            <a:lvl5pPr marL="3161" indent="0">
              <a:spcBef>
                <a:spcPts val="0"/>
              </a:spcBef>
              <a:buNone/>
              <a:defRPr sz="8762">
                <a:solidFill>
                  <a:schemeClr val="accent1">
                    <a:lumMod val="50000"/>
                  </a:schemeClr>
                </a:solidFill>
              </a:defRPr>
            </a:lvl5pPr>
            <a:lvl6pPr marL="3161" indent="0">
              <a:spcBef>
                <a:spcPts val="0"/>
              </a:spcBef>
              <a:buNone/>
              <a:defRPr sz="8762">
                <a:solidFill>
                  <a:schemeClr val="accent1">
                    <a:lumMod val="50000"/>
                  </a:schemeClr>
                </a:solidFill>
              </a:defRPr>
            </a:lvl6pPr>
            <a:lvl7pPr marL="3161" indent="0">
              <a:spcBef>
                <a:spcPts val="0"/>
              </a:spcBef>
              <a:buNone/>
              <a:defRPr sz="8762">
                <a:solidFill>
                  <a:schemeClr val="accent1">
                    <a:lumMod val="50000"/>
                  </a:schemeClr>
                </a:solidFill>
              </a:defRPr>
            </a:lvl7pPr>
            <a:lvl8pPr marL="3161" indent="0">
              <a:spcBef>
                <a:spcPts val="0"/>
              </a:spcBef>
              <a:buNone/>
              <a:defRPr sz="8762">
                <a:solidFill>
                  <a:schemeClr val="accent1">
                    <a:lumMod val="50000"/>
                  </a:schemeClr>
                </a:solidFill>
              </a:defRPr>
            </a:lvl8pPr>
            <a:lvl9pPr marL="3161" indent="0">
              <a:spcBef>
                <a:spcPts val="0"/>
              </a:spcBef>
              <a:buNone/>
              <a:defRPr sz="8762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6096003" y="4740499"/>
            <a:ext cx="4511040" cy="1415602"/>
          </a:xfrm>
        </p:spPr>
        <p:txBody>
          <a:bodyPr anchor="ctr"/>
          <a:lstStyle>
            <a:lvl1pPr marL="3161" indent="0">
              <a:spcBef>
                <a:spcPts val="0"/>
              </a:spcBef>
              <a:buNone/>
              <a:defRPr sz="2390">
                <a:solidFill>
                  <a:schemeClr val="accent3">
                    <a:lumMod val="50000"/>
                  </a:schemeClr>
                </a:solidFill>
              </a:defRPr>
            </a:lvl1pPr>
            <a:lvl2pPr marL="3161" indent="0">
              <a:spcBef>
                <a:spcPts val="0"/>
              </a:spcBef>
              <a:buNone/>
              <a:defRPr sz="1992">
                <a:solidFill>
                  <a:schemeClr val="accent1">
                    <a:lumMod val="50000"/>
                  </a:schemeClr>
                </a:solidFill>
              </a:defRPr>
            </a:lvl2pPr>
            <a:lvl3pPr marL="3161" indent="0">
              <a:spcBef>
                <a:spcPts val="0"/>
              </a:spcBef>
              <a:buNone/>
              <a:defRPr sz="1992">
                <a:solidFill>
                  <a:schemeClr val="accent1">
                    <a:lumMod val="50000"/>
                  </a:schemeClr>
                </a:solidFill>
              </a:defRPr>
            </a:lvl3pPr>
            <a:lvl4pPr marL="3161" indent="0">
              <a:spcBef>
                <a:spcPts val="0"/>
              </a:spcBef>
              <a:buNone/>
              <a:defRPr sz="1992">
                <a:solidFill>
                  <a:schemeClr val="accent1">
                    <a:lumMod val="50000"/>
                  </a:schemeClr>
                </a:solidFill>
              </a:defRPr>
            </a:lvl4pPr>
            <a:lvl5pPr marL="3161" indent="0">
              <a:spcBef>
                <a:spcPts val="0"/>
              </a:spcBef>
              <a:buNone/>
              <a:defRPr sz="1992">
                <a:solidFill>
                  <a:schemeClr val="accent1">
                    <a:lumMod val="50000"/>
                  </a:schemeClr>
                </a:solidFill>
              </a:defRPr>
            </a:lvl5pPr>
            <a:lvl6pPr marL="3161" indent="0">
              <a:spcBef>
                <a:spcPts val="0"/>
              </a:spcBef>
              <a:buNone/>
              <a:defRPr sz="1992">
                <a:solidFill>
                  <a:schemeClr val="accent1">
                    <a:lumMod val="50000"/>
                  </a:schemeClr>
                </a:solidFill>
              </a:defRPr>
            </a:lvl6pPr>
            <a:lvl7pPr marL="3161" indent="0">
              <a:spcBef>
                <a:spcPts val="0"/>
              </a:spcBef>
              <a:buNone/>
              <a:defRPr sz="1992">
                <a:solidFill>
                  <a:schemeClr val="accent1">
                    <a:lumMod val="50000"/>
                  </a:schemeClr>
                </a:solidFill>
              </a:defRPr>
            </a:lvl7pPr>
            <a:lvl8pPr marL="3161" indent="0">
              <a:spcBef>
                <a:spcPts val="0"/>
              </a:spcBef>
              <a:buNone/>
              <a:defRPr sz="1992">
                <a:solidFill>
                  <a:schemeClr val="accent1">
                    <a:lumMod val="50000"/>
                  </a:schemeClr>
                </a:solidFill>
              </a:defRPr>
            </a:lvl8pPr>
            <a:lvl9pPr marL="3161" indent="0">
              <a:spcBef>
                <a:spcPts val="0"/>
              </a:spcBef>
              <a:buNone/>
              <a:defRPr sz="1992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598036" y="6446051"/>
            <a:ext cx="1466391" cy="173355"/>
            <a:chOff x="-84138" y="5622925"/>
            <a:chExt cx="4330701" cy="682626"/>
          </a:xfrm>
        </p:grpSpPr>
        <p:sp>
          <p:nvSpPr>
            <p:cNvPr id="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  <p:sp>
          <p:nvSpPr>
            <p:cNvPr id="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  <p:sp>
          <p:nvSpPr>
            <p:cNvPr id="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</p:grpSp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1" y="1371600"/>
            <a:ext cx="5242561" cy="4648200"/>
          </a:xfrm>
        </p:spPr>
        <p:txBody>
          <a:bodyPr/>
          <a:lstStyle>
            <a:lvl1pPr>
              <a:defRPr sz="1992"/>
            </a:lvl1pPr>
            <a:lvl2pPr>
              <a:defRPr sz="1792"/>
            </a:lvl2pPr>
            <a:lvl3pPr>
              <a:defRPr sz="1592"/>
            </a:lvl3pPr>
            <a:lvl4pPr>
              <a:defRPr sz="1394"/>
            </a:lvl4pPr>
            <a:lvl5pPr>
              <a:defRPr sz="1394"/>
            </a:lvl5pPr>
            <a:lvl6pPr>
              <a:defRPr sz="1394"/>
            </a:lvl6pPr>
            <a:lvl7pPr>
              <a:defRPr sz="1394"/>
            </a:lvl7pPr>
            <a:lvl8pPr>
              <a:defRPr sz="1394"/>
            </a:lvl8pPr>
            <a:lvl9pPr>
              <a:defRPr sz="1394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39843" y="1371600"/>
            <a:ext cx="5242561" cy="4648200"/>
          </a:xfrm>
        </p:spPr>
        <p:txBody>
          <a:bodyPr/>
          <a:lstStyle>
            <a:lvl1pPr>
              <a:defRPr sz="1992"/>
            </a:lvl1pPr>
            <a:lvl2pPr>
              <a:defRPr sz="1792"/>
            </a:lvl2pPr>
            <a:lvl3pPr>
              <a:defRPr sz="1592"/>
            </a:lvl3pPr>
            <a:lvl4pPr>
              <a:defRPr sz="1394"/>
            </a:lvl4pPr>
            <a:lvl5pPr>
              <a:defRPr sz="1394"/>
            </a:lvl5pPr>
            <a:lvl6pPr>
              <a:defRPr sz="1394"/>
            </a:lvl6pPr>
            <a:lvl7pPr>
              <a:defRPr sz="1394"/>
            </a:lvl7pPr>
            <a:lvl8pPr>
              <a:defRPr sz="1394"/>
            </a:lvl8pPr>
            <a:lvl9pPr>
              <a:defRPr sz="1394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717074">
                    <a:tint val="75000"/>
                  </a:srgbClr>
                </a:solidFill>
              </a:rPr>
              <a:t>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371600"/>
            <a:ext cx="5242561" cy="639762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992" b="1">
                <a:solidFill>
                  <a:schemeClr val="tx1"/>
                </a:solidFill>
              </a:defRPr>
            </a:lvl1pPr>
            <a:lvl2pPr marL="455190" indent="0">
              <a:buNone/>
              <a:defRPr sz="1992" b="1"/>
            </a:lvl2pPr>
            <a:lvl3pPr marL="910381" indent="0">
              <a:buNone/>
              <a:defRPr sz="1792" b="1"/>
            </a:lvl3pPr>
            <a:lvl4pPr marL="1365571" indent="0">
              <a:buNone/>
              <a:defRPr sz="1592" b="1"/>
            </a:lvl4pPr>
            <a:lvl5pPr marL="1820762" indent="0">
              <a:buNone/>
              <a:defRPr sz="1592" b="1"/>
            </a:lvl5pPr>
            <a:lvl6pPr marL="2275953" indent="0">
              <a:buNone/>
              <a:defRPr sz="1592" b="1"/>
            </a:lvl6pPr>
            <a:lvl7pPr marL="2731143" indent="0">
              <a:buNone/>
              <a:defRPr sz="1592" b="1"/>
            </a:lvl7pPr>
            <a:lvl8pPr marL="3186334" indent="0">
              <a:buNone/>
              <a:defRPr sz="1592" b="1"/>
            </a:lvl8pPr>
            <a:lvl9pPr marL="3641524" indent="0">
              <a:buNone/>
              <a:defRPr sz="1592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1" y="2057400"/>
            <a:ext cx="5242561" cy="3962400"/>
          </a:xfrm>
        </p:spPr>
        <p:txBody>
          <a:bodyPr/>
          <a:lstStyle>
            <a:lvl1pPr>
              <a:defRPr sz="1992"/>
            </a:lvl1pPr>
            <a:lvl2pPr>
              <a:defRPr sz="1792"/>
            </a:lvl2pPr>
            <a:lvl3pPr>
              <a:defRPr sz="1592"/>
            </a:lvl3pPr>
            <a:lvl4pPr>
              <a:defRPr sz="1394"/>
            </a:lvl4pPr>
            <a:lvl5pPr>
              <a:defRPr sz="1394"/>
            </a:lvl5pPr>
            <a:lvl6pPr>
              <a:defRPr sz="1394"/>
            </a:lvl6pPr>
            <a:lvl7pPr>
              <a:defRPr sz="1394"/>
            </a:lvl7pPr>
            <a:lvl8pPr>
              <a:defRPr sz="1394"/>
            </a:lvl8pPr>
            <a:lvl9pPr>
              <a:defRPr sz="1394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39843" y="1371600"/>
            <a:ext cx="5242561" cy="639762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992" b="1">
                <a:solidFill>
                  <a:schemeClr val="tx1"/>
                </a:solidFill>
              </a:defRPr>
            </a:lvl1pPr>
            <a:lvl2pPr marL="455190" indent="0">
              <a:buNone/>
              <a:defRPr sz="1992" b="1"/>
            </a:lvl2pPr>
            <a:lvl3pPr marL="910381" indent="0">
              <a:buNone/>
              <a:defRPr sz="1792" b="1"/>
            </a:lvl3pPr>
            <a:lvl4pPr marL="1365571" indent="0">
              <a:buNone/>
              <a:defRPr sz="1592" b="1"/>
            </a:lvl4pPr>
            <a:lvl5pPr marL="1820762" indent="0">
              <a:buNone/>
              <a:defRPr sz="1592" b="1"/>
            </a:lvl5pPr>
            <a:lvl6pPr marL="2275953" indent="0">
              <a:buNone/>
              <a:defRPr sz="1592" b="1"/>
            </a:lvl6pPr>
            <a:lvl7pPr marL="2731143" indent="0">
              <a:buNone/>
              <a:defRPr sz="1592" b="1"/>
            </a:lvl7pPr>
            <a:lvl8pPr marL="3186334" indent="0">
              <a:buNone/>
              <a:defRPr sz="1592" b="1"/>
            </a:lvl8pPr>
            <a:lvl9pPr marL="3641524" indent="0">
              <a:buNone/>
              <a:defRPr sz="1592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39843" y="2057400"/>
            <a:ext cx="5242561" cy="3962400"/>
          </a:xfrm>
        </p:spPr>
        <p:txBody>
          <a:bodyPr/>
          <a:lstStyle>
            <a:lvl1pPr>
              <a:defRPr sz="1992"/>
            </a:lvl1pPr>
            <a:lvl2pPr>
              <a:defRPr sz="1792"/>
            </a:lvl2pPr>
            <a:lvl3pPr>
              <a:defRPr sz="1592"/>
            </a:lvl3pPr>
            <a:lvl4pPr>
              <a:defRPr sz="1394"/>
            </a:lvl4pPr>
            <a:lvl5pPr>
              <a:defRPr sz="1394"/>
            </a:lvl5pPr>
            <a:lvl6pPr>
              <a:defRPr sz="1394"/>
            </a:lvl6pPr>
            <a:lvl7pPr>
              <a:defRPr sz="1394"/>
            </a:lvl7pPr>
            <a:lvl8pPr>
              <a:defRPr sz="1394"/>
            </a:lvl8pPr>
            <a:lvl9pPr>
              <a:defRPr sz="1394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717074">
                    <a:tint val="75000"/>
                  </a:srgbClr>
                </a:solidFill>
              </a:rPr>
              <a:t>CONFIDENTIA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717074">
                    <a:tint val="75000"/>
                  </a:srgbClr>
                </a:solidFill>
              </a:rPr>
              <a:t>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717074">
                    <a:tint val="75000"/>
                  </a:srgbClr>
                </a:solidFill>
              </a:rPr>
              <a:t>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3" y="1219200"/>
            <a:ext cx="10972801" cy="304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792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1992">
                <a:solidFill>
                  <a:schemeClr val="accent4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1992">
                <a:solidFill>
                  <a:schemeClr val="accent4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1992">
                <a:solidFill>
                  <a:schemeClr val="accent4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1992">
                <a:solidFill>
                  <a:schemeClr val="accent4"/>
                </a:solidFill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buNone/>
              <a:defRPr sz="1992">
                <a:solidFill>
                  <a:schemeClr val="accent4"/>
                </a:solidFill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buNone/>
              <a:defRPr sz="1992">
                <a:solidFill>
                  <a:schemeClr val="accent4"/>
                </a:solidFill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buNone/>
              <a:defRPr sz="1992">
                <a:solidFill>
                  <a:schemeClr val="accent4"/>
                </a:solidFill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buNone/>
              <a:defRPr sz="1992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717074">
                    <a:tint val="75000"/>
                  </a:srgbClr>
                </a:solidFill>
              </a:rPr>
              <a:t>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788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371601"/>
            <a:ext cx="7924799" cy="4648199"/>
          </a:xfrm>
        </p:spPr>
        <p:txBody>
          <a:bodyPr/>
          <a:lstStyle>
            <a:lvl1pPr>
              <a:defRPr sz="1992"/>
            </a:lvl1pPr>
            <a:lvl2pPr>
              <a:defRPr sz="1792"/>
            </a:lvl2pPr>
            <a:lvl3pPr>
              <a:defRPr sz="1592"/>
            </a:lvl3pPr>
            <a:lvl4pPr>
              <a:defRPr sz="1394"/>
            </a:lvl4pPr>
            <a:lvl5pPr>
              <a:defRPr sz="1394"/>
            </a:lvl5pPr>
            <a:lvl6pPr>
              <a:defRPr sz="1394"/>
            </a:lvl6pPr>
            <a:lvl7pPr>
              <a:defRPr sz="1394"/>
            </a:lvl7pPr>
            <a:lvl8pPr>
              <a:defRPr sz="1394"/>
            </a:lvl8pPr>
            <a:lvl9pPr>
              <a:defRPr sz="1394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37603" y="1371601"/>
            <a:ext cx="2844800" cy="4648199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1792">
                <a:solidFill>
                  <a:schemeClr val="tx1"/>
                </a:solidFill>
              </a:defRPr>
            </a:lvl1pPr>
            <a:lvl2pPr marL="0" indent="0">
              <a:buNone/>
              <a:defRPr sz="1792">
                <a:solidFill>
                  <a:schemeClr val="accent4"/>
                </a:solidFill>
              </a:defRPr>
            </a:lvl2pPr>
            <a:lvl3pPr marL="0" indent="0">
              <a:buNone/>
              <a:defRPr sz="1792">
                <a:solidFill>
                  <a:schemeClr val="accent4"/>
                </a:solidFill>
              </a:defRPr>
            </a:lvl3pPr>
            <a:lvl4pPr marL="0" indent="0">
              <a:buNone/>
              <a:defRPr sz="1792">
                <a:solidFill>
                  <a:schemeClr val="accent4"/>
                </a:solidFill>
              </a:defRPr>
            </a:lvl4pPr>
            <a:lvl5pPr marL="0" indent="0">
              <a:buNone/>
              <a:defRPr sz="1792">
                <a:solidFill>
                  <a:schemeClr val="accent4"/>
                </a:solidFill>
              </a:defRPr>
            </a:lvl5pPr>
            <a:lvl6pPr marL="0" indent="0">
              <a:buNone/>
              <a:defRPr sz="1792">
                <a:solidFill>
                  <a:schemeClr val="accent4"/>
                </a:solidFill>
              </a:defRPr>
            </a:lvl6pPr>
            <a:lvl7pPr marL="0" indent="0">
              <a:buNone/>
              <a:defRPr sz="1792">
                <a:solidFill>
                  <a:schemeClr val="accent4"/>
                </a:solidFill>
              </a:defRPr>
            </a:lvl7pPr>
            <a:lvl8pPr marL="0" indent="0">
              <a:buNone/>
              <a:defRPr sz="1792">
                <a:solidFill>
                  <a:schemeClr val="accent4"/>
                </a:solidFill>
              </a:defRPr>
            </a:lvl8pPr>
            <a:lvl9pPr marL="0" indent="0">
              <a:buNone/>
              <a:defRPr sz="1792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717074">
                    <a:tint val="75000"/>
                  </a:srgbClr>
                </a:solidFill>
              </a:rPr>
              <a:t>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788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" y="1371600"/>
            <a:ext cx="12192000" cy="3429000"/>
          </a:xfrm>
        </p:spPr>
        <p:txBody>
          <a:bodyPr tIns="365760"/>
          <a:lstStyle>
            <a:lvl1pPr marL="0" indent="0" algn="ctr">
              <a:buNone/>
              <a:defRPr sz="1992"/>
            </a:lvl1pPr>
            <a:lvl2pPr marL="455190" indent="0">
              <a:buNone/>
              <a:defRPr sz="2788"/>
            </a:lvl2pPr>
            <a:lvl3pPr marL="910381" indent="0">
              <a:buNone/>
              <a:defRPr sz="2390"/>
            </a:lvl3pPr>
            <a:lvl4pPr marL="1365571" indent="0">
              <a:buNone/>
              <a:defRPr sz="1992"/>
            </a:lvl4pPr>
            <a:lvl5pPr marL="1820762" indent="0">
              <a:buNone/>
              <a:defRPr sz="1992"/>
            </a:lvl5pPr>
            <a:lvl6pPr marL="2275953" indent="0">
              <a:buNone/>
              <a:defRPr sz="1992"/>
            </a:lvl6pPr>
            <a:lvl7pPr marL="2731143" indent="0">
              <a:buNone/>
              <a:defRPr sz="1992"/>
            </a:lvl7pPr>
            <a:lvl8pPr marL="3186334" indent="0">
              <a:buNone/>
              <a:defRPr sz="1992"/>
            </a:lvl8pPr>
            <a:lvl9pPr marL="3641524" indent="0">
              <a:buNone/>
              <a:defRPr sz="1992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4953000"/>
            <a:ext cx="10972801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792">
                <a:solidFill>
                  <a:schemeClr val="tx1"/>
                </a:solidFill>
              </a:defRPr>
            </a:lvl1pPr>
            <a:lvl2pPr marL="0" indent="0">
              <a:buNone/>
              <a:defRPr sz="1792">
                <a:solidFill>
                  <a:schemeClr val="accent4"/>
                </a:solidFill>
              </a:defRPr>
            </a:lvl2pPr>
            <a:lvl3pPr marL="0" indent="0">
              <a:buNone/>
              <a:defRPr sz="1792">
                <a:solidFill>
                  <a:schemeClr val="accent4"/>
                </a:solidFill>
              </a:defRPr>
            </a:lvl3pPr>
            <a:lvl4pPr marL="0" indent="0">
              <a:buNone/>
              <a:defRPr sz="1792">
                <a:solidFill>
                  <a:schemeClr val="accent4"/>
                </a:solidFill>
              </a:defRPr>
            </a:lvl4pPr>
            <a:lvl5pPr marL="0" indent="0">
              <a:buNone/>
              <a:defRPr sz="1792">
                <a:solidFill>
                  <a:schemeClr val="accent4"/>
                </a:solidFill>
              </a:defRPr>
            </a:lvl5pPr>
            <a:lvl6pPr marL="0" indent="0">
              <a:buNone/>
              <a:defRPr sz="1792">
                <a:solidFill>
                  <a:schemeClr val="accent4"/>
                </a:solidFill>
              </a:defRPr>
            </a:lvl6pPr>
            <a:lvl7pPr marL="0" indent="0">
              <a:buNone/>
              <a:defRPr sz="1792">
                <a:solidFill>
                  <a:schemeClr val="accent4"/>
                </a:solidFill>
              </a:defRPr>
            </a:lvl7pPr>
            <a:lvl8pPr marL="0" indent="0">
              <a:buNone/>
              <a:defRPr sz="1792">
                <a:solidFill>
                  <a:schemeClr val="accent4"/>
                </a:solidFill>
              </a:defRPr>
            </a:lvl8pPr>
            <a:lvl9pPr marL="0" indent="0">
              <a:buNone/>
              <a:defRPr sz="1792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717074">
                    <a:tint val="75000"/>
                  </a:srgbClr>
                </a:solidFill>
              </a:rPr>
              <a:t>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788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" y="1371600"/>
            <a:ext cx="6006497" cy="3429000"/>
          </a:xfrm>
        </p:spPr>
        <p:txBody>
          <a:bodyPr tIns="365760"/>
          <a:lstStyle>
            <a:lvl1pPr marL="0" indent="0" algn="ctr">
              <a:buNone/>
              <a:defRPr sz="1992"/>
            </a:lvl1pPr>
            <a:lvl2pPr marL="455190" indent="0">
              <a:buNone/>
              <a:defRPr sz="2788"/>
            </a:lvl2pPr>
            <a:lvl3pPr marL="910381" indent="0">
              <a:buNone/>
              <a:defRPr sz="2390"/>
            </a:lvl3pPr>
            <a:lvl4pPr marL="1365571" indent="0">
              <a:buNone/>
              <a:defRPr sz="1992"/>
            </a:lvl4pPr>
            <a:lvl5pPr marL="1820762" indent="0">
              <a:buNone/>
              <a:defRPr sz="1992"/>
            </a:lvl5pPr>
            <a:lvl6pPr marL="2275953" indent="0">
              <a:buNone/>
              <a:defRPr sz="1992"/>
            </a:lvl6pPr>
            <a:lvl7pPr marL="2731143" indent="0">
              <a:buNone/>
              <a:defRPr sz="1992"/>
            </a:lvl7pPr>
            <a:lvl8pPr marL="3186334" indent="0">
              <a:buNone/>
              <a:defRPr sz="1992"/>
            </a:lvl8pPr>
            <a:lvl9pPr marL="3641524" indent="0">
              <a:buNone/>
              <a:defRPr sz="1992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5648" y="4953000"/>
            <a:ext cx="4775199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792">
                <a:solidFill>
                  <a:schemeClr val="tx1"/>
                </a:solidFill>
              </a:defRPr>
            </a:lvl1pPr>
            <a:lvl2pPr marL="0" indent="0">
              <a:buNone/>
              <a:defRPr sz="1792">
                <a:solidFill>
                  <a:schemeClr val="accent4"/>
                </a:solidFill>
              </a:defRPr>
            </a:lvl2pPr>
            <a:lvl3pPr marL="0" indent="0">
              <a:buNone/>
              <a:defRPr sz="1792">
                <a:solidFill>
                  <a:schemeClr val="accent4"/>
                </a:solidFill>
              </a:defRPr>
            </a:lvl3pPr>
            <a:lvl4pPr marL="0" indent="0">
              <a:buNone/>
              <a:defRPr sz="1792">
                <a:solidFill>
                  <a:schemeClr val="accent4"/>
                </a:solidFill>
              </a:defRPr>
            </a:lvl4pPr>
            <a:lvl5pPr marL="0" indent="0">
              <a:buNone/>
              <a:defRPr sz="1792">
                <a:solidFill>
                  <a:schemeClr val="accent4"/>
                </a:solidFill>
              </a:defRPr>
            </a:lvl5pPr>
            <a:lvl6pPr marL="0" indent="0">
              <a:buNone/>
              <a:defRPr sz="1792">
                <a:solidFill>
                  <a:schemeClr val="accent4"/>
                </a:solidFill>
              </a:defRPr>
            </a:lvl6pPr>
            <a:lvl7pPr marL="0" indent="0">
              <a:buNone/>
              <a:defRPr sz="1792">
                <a:solidFill>
                  <a:schemeClr val="accent4"/>
                </a:solidFill>
              </a:defRPr>
            </a:lvl7pPr>
            <a:lvl8pPr marL="0" indent="0">
              <a:buNone/>
              <a:defRPr sz="1792">
                <a:solidFill>
                  <a:schemeClr val="accent4"/>
                </a:solidFill>
              </a:defRPr>
            </a:lvl8pPr>
            <a:lvl9pPr marL="0" indent="0">
              <a:buNone/>
              <a:defRPr sz="1792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717074">
                    <a:tint val="75000"/>
                  </a:srgbClr>
                </a:solidFill>
              </a:rPr>
              <a:t>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>
          <a:xfrm>
            <a:off x="6185504" y="1371600"/>
            <a:ext cx="6006497" cy="3429000"/>
          </a:xfrm>
        </p:spPr>
        <p:txBody>
          <a:bodyPr tIns="365760"/>
          <a:lstStyle>
            <a:lvl1pPr marL="0" indent="0" algn="ctr">
              <a:buNone/>
              <a:defRPr sz="1992"/>
            </a:lvl1pPr>
            <a:lvl2pPr marL="455190" indent="0">
              <a:buNone/>
              <a:defRPr sz="2788"/>
            </a:lvl2pPr>
            <a:lvl3pPr marL="910381" indent="0">
              <a:buNone/>
              <a:defRPr sz="2390"/>
            </a:lvl3pPr>
            <a:lvl4pPr marL="1365571" indent="0">
              <a:buNone/>
              <a:defRPr sz="1992"/>
            </a:lvl4pPr>
            <a:lvl5pPr marL="1820762" indent="0">
              <a:buNone/>
              <a:defRPr sz="1992"/>
            </a:lvl5pPr>
            <a:lvl6pPr marL="2275953" indent="0">
              <a:buNone/>
              <a:defRPr sz="1992"/>
            </a:lvl6pPr>
            <a:lvl7pPr marL="2731143" indent="0">
              <a:buNone/>
              <a:defRPr sz="1992"/>
            </a:lvl7pPr>
            <a:lvl8pPr marL="3186334" indent="0">
              <a:buNone/>
              <a:defRPr sz="1992"/>
            </a:lvl8pPr>
            <a:lvl9pPr marL="3641524" indent="0">
              <a:buNone/>
              <a:defRPr sz="1992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>
          <a:xfrm>
            <a:off x="6807201" y="4953000"/>
            <a:ext cx="4775199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792">
                <a:solidFill>
                  <a:schemeClr val="tx1"/>
                </a:solidFill>
              </a:defRPr>
            </a:lvl1pPr>
            <a:lvl2pPr marL="0" indent="0">
              <a:buNone/>
              <a:defRPr sz="1792">
                <a:solidFill>
                  <a:schemeClr val="accent4"/>
                </a:solidFill>
              </a:defRPr>
            </a:lvl2pPr>
            <a:lvl3pPr marL="0" indent="0">
              <a:buNone/>
              <a:defRPr sz="1792">
                <a:solidFill>
                  <a:schemeClr val="accent4"/>
                </a:solidFill>
              </a:defRPr>
            </a:lvl3pPr>
            <a:lvl4pPr marL="0" indent="0">
              <a:buNone/>
              <a:defRPr sz="1792">
                <a:solidFill>
                  <a:schemeClr val="accent4"/>
                </a:solidFill>
              </a:defRPr>
            </a:lvl4pPr>
            <a:lvl5pPr marL="0" indent="0">
              <a:buNone/>
              <a:defRPr sz="1792">
                <a:solidFill>
                  <a:schemeClr val="accent4"/>
                </a:solidFill>
              </a:defRPr>
            </a:lvl5pPr>
            <a:lvl6pPr marL="0" indent="0">
              <a:buNone/>
              <a:defRPr sz="1792">
                <a:solidFill>
                  <a:schemeClr val="accent4"/>
                </a:solidFill>
              </a:defRPr>
            </a:lvl6pPr>
            <a:lvl7pPr marL="0" indent="0">
              <a:buNone/>
              <a:defRPr sz="1792">
                <a:solidFill>
                  <a:schemeClr val="accent4"/>
                </a:solidFill>
              </a:defRPr>
            </a:lvl7pPr>
            <a:lvl8pPr marL="0" indent="0">
              <a:buNone/>
              <a:defRPr sz="1792">
                <a:solidFill>
                  <a:schemeClr val="accent4"/>
                </a:solidFill>
              </a:defRPr>
            </a:lvl8pPr>
            <a:lvl9pPr marL="0" indent="0">
              <a:buNone/>
              <a:defRPr sz="1792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788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1371600"/>
            <a:ext cx="3962400" cy="3429000"/>
          </a:xfrm>
        </p:spPr>
        <p:txBody>
          <a:bodyPr tIns="365760"/>
          <a:lstStyle>
            <a:lvl1pPr marL="0" indent="0" algn="ctr">
              <a:buNone/>
              <a:defRPr sz="1992"/>
            </a:lvl1pPr>
            <a:lvl2pPr marL="455190" indent="0">
              <a:buNone/>
              <a:defRPr sz="2788"/>
            </a:lvl2pPr>
            <a:lvl3pPr marL="910381" indent="0">
              <a:buNone/>
              <a:defRPr sz="2390"/>
            </a:lvl3pPr>
            <a:lvl4pPr marL="1365571" indent="0">
              <a:buNone/>
              <a:defRPr sz="1992"/>
            </a:lvl4pPr>
            <a:lvl5pPr marL="1820762" indent="0">
              <a:buNone/>
              <a:defRPr sz="1992"/>
            </a:lvl5pPr>
            <a:lvl6pPr marL="2275953" indent="0">
              <a:buNone/>
              <a:defRPr sz="1992"/>
            </a:lvl6pPr>
            <a:lvl7pPr marL="2731143" indent="0">
              <a:buNone/>
              <a:defRPr sz="1992"/>
            </a:lvl7pPr>
            <a:lvl8pPr marL="3186334" indent="0">
              <a:buNone/>
              <a:defRPr sz="1992"/>
            </a:lvl8pPr>
            <a:lvl9pPr marL="3641524" indent="0">
              <a:buNone/>
              <a:defRPr sz="1992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4953000"/>
            <a:ext cx="2743200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792">
                <a:solidFill>
                  <a:schemeClr val="tx1"/>
                </a:solidFill>
              </a:defRPr>
            </a:lvl1pPr>
            <a:lvl2pPr marL="0" indent="0">
              <a:buNone/>
              <a:defRPr sz="1792">
                <a:solidFill>
                  <a:schemeClr val="accent4"/>
                </a:solidFill>
              </a:defRPr>
            </a:lvl2pPr>
            <a:lvl3pPr marL="0" indent="0">
              <a:buNone/>
              <a:defRPr sz="1792">
                <a:solidFill>
                  <a:schemeClr val="accent4"/>
                </a:solidFill>
              </a:defRPr>
            </a:lvl3pPr>
            <a:lvl4pPr marL="0" indent="0">
              <a:buNone/>
              <a:defRPr sz="1792">
                <a:solidFill>
                  <a:schemeClr val="accent4"/>
                </a:solidFill>
              </a:defRPr>
            </a:lvl4pPr>
            <a:lvl5pPr marL="0" indent="0">
              <a:buNone/>
              <a:defRPr sz="1792">
                <a:solidFill>
                  <a:schemeClr val="accent4"/>
                </a:solidFill>
              </a:defRPr>
            </a:lvl5pPr>
            <a:lvl6pPr marL="0" indent="0">
              <a:buNone/>
              <a:defRPr sz="1792">
                <a:solidFill>
                  <a:schemeClr val="accent4"/>
                </a:solidFill>
              </a:defRPr>
            </a:lvl6pPr>
            <a:lvl7pPr marL="0" indent="0">
              <a:buNone/>
              <a:defRPr sz="1792">
                <a:solidFill>
                  <a:schemeClr val="accent4"/>
                </a:solidFill>
              </a:defRPr>
            </a:lvl7pPr>
            <a:lvl8pPr marL="0" indent="0">
              <a:buNone/>
              <a:defRPr sz="1792">
                <a:solidFill>
                  <a:schemeClr val="accent4"/>
                </a:solidFill>
              </a:defRPr>
            </a:lvl8pPr>
            <a:lvl9pPr marL="0" indent="0">
              <a:buNone/>
              <a:defRPr sz="1792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717074">
                    <a:tint val="75000"/>
                  </a:srgbClr>
                </a:solidFill>
              </a:rPr>
              <a:t>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>
          <a:xfrm>
            <a:off x="4114802" y="1371600"/>
            <a:ext cx="3962400" cy="3429000"/>
          </a:xfrm>
        </p:spPr>
        <p:txBody>
          <a:bodyPr tIns="365760"/>
          <a:lstStyle>
            <a:lvl1pPr marL="0" indent="0" algn="ctr">
              <a:buNone/>
              <a:defRPr sz="1992"/>
            </a:lvl1pPr>
            <a:lvl2pPr marL="455190" indent="0">
              <a:buNone/>
              <a:defRPr sz="2788"/>
            </a:lvl2pPr>
            <a:lvl3pPr marL="910381" indent="0">
              <a:buNone/>
              <a:defRPr sz="2390"/>
            </a:lvl3pPr>
            <a:lvl4pPr marL="1365571" indent="0">
              <a:buNone/>
              <a:defRPr sz="1992"/>
            </a:lvl4pPr>
            <a:lvl5pPr marL="1820762" indent="0">
              <a:buNone/>
              <a:defRPr sz="1992"/>
            </a:lvl5pPr>
            <a:lvl6pPr marL="2275953" indent="0">
              <a:buNone/>
              <a:defRPr sz="1992"/>
            </a:lvl6pPr>
            <a:lvl7pPr marL="2731143" indent="0">
              <a:buNone/>
              <a:defRPr sz="1992"/>
            </a:lvl7pPr>
            <a:lvl8pPr marL="3186334" indent="0">
              <a:buNone/>
              <a:defRPr sz="1992"/>
            </a:lvl8pPr>
            <a:lvl9pPr marL="3641524" indent="0">
              <a:buNone/>
              <a:defRPr sz="1992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>
          <a:xfrm>
            <a:off x="4724400" y="4953000"/>
            <a:ext cx="2743200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792">
                <a:solidFill>
                  <a:schemeClr val="tx1"/>
                </a:solidFill>
              </a:defRPr>
            </a:lvl1pPr>
            <a:lvl2pPr marL="0" indent="0">
              <a:buNone/>
              <a:defRPr sz="1792">
                <a:solidFill>
                  <a:schemeClr val="accent4"/>
                </a:solidFill>
              </a:defRPr>
            </a:lvl2pPr>
            <a:lvl3pPr marL="0" indent="0">
              <a:buNone/>
              <a:defRPr sz="1792">
                <a:solidFill>
                  <a:schemeClr val="accent4"/>
                </a:solidFill>
              </a:defRPr>
            </a:lvl3pPr>
            <a:lvl4pPr marL="0" indent="0">
              <a:buNone/>
              <a:defRPr sz="1792">
                <a:solidFill>
                  <a:schemeClr val="accent4"/>
                </a:solidFill>
              </a:defRPr>
            </a:lvl4pPr>
            <a:lvl5pPr marL="0" indent="0">
              <a:buNone/>
              <a:defRPr sz="1792">
                <a:solidFill>
                  <a:schemeClr val="accent4"/>
                </a:solidFill>
              </a:defRPr>
            </a:lvl5pPr>
            <a:lvl6pPr marL="0" indent="0">
              <a:buNone/>
              <a:defRPr sz="1792">
                <a:solidFill>
                  <a:schemeClr val="accent4"/>
                </a:solidFill>
              </a:defRPr>
            </a:lvl6pPr>
            <a:lvl7pPr marL="0" indent="0">
              <a:buNone/>
              <a:defRPr sz="1792">
                <a:solidFill>
                  <a:schemeClr val="accent4"/>
                </a:solidFill>
              </a:defRPr>
            </a:lvl7pPr>
            <a:lvl8pPr marL="0" indent="0">
              <a:buNone/>
              <a:defRPr sz="1792">
                <a:solidFill>
                  <a:schemeClr val="accent4"/>
                </a:solidFill>
              </a:defRPr>
            </a:lvl8pPr>
            <a:lvl9pPr marL="0" indent="0">
              <a:buNone/>
              <a:defRPr sz="1792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>
          <a:xfrm>
            <a:off x="8229602" y="1371600"/>
            <a:ext cx="3962400" cy="3429000"/>
          </a:xfrm>
        </p:spPr>
        <p:txBody>
          <a:bodyPr tIns="365760"/>
          <a:lstStyle>
            <a:lvl1pPr marL="0" indent="0" algn="ctr">
              <a:buNone/>
              <a:defRPr sz="1992"/>
            </a:lvl1pPr>
            <a:lvl2pPr marL="455190" indent="0">
              <a:buNone/>
              <a:defRPr sz="2788"/>
            </a:lvl2pPr>
            <a:lvl3pPr marL="910381" indent="0">
              <a:buNone/>
              <a:defRPr sz="2390"/>
            </a:lvl3pPr>
            <a:lvl4pPr marL="1365571" indent="0">
              <a:buNone/>
              <a:defRPr sz="1992"/>
            </a:lvl4pPr>
            <a:lvl5pPr marL="1820762" indent="0">
              <a:buNone/>
              <a:defRPr sz="1992"/>
            </a:lvl5pPr>
            <a:lvl6pPr marL="2275953" indent="0">
              <a:buNone/>
              <a:defRPr sz="1992"/>
            </a:lvl6pPr>
            <a:lvl7pPr marL="2731143" indent="0">
              <a:buNone/>
              <a:defRPr sz="1992"/>
            </a:lvl7pPr>
            <a:lvl8pPr marL="3186334" indent="0">
              <a:buNone/>
              <a:defRPr sz="1992"/>
            </a:lvl8pPr>
            <a:lvl9pPr marL="3641524" indent="0">
              <a:buNone/>
              <a:defRPr sz="1992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>
          <a:xfrm>
            <a:off x="8839200" y="4953000"/>
            <a:ext cx="2743200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792">
                <a:solidFill>
                  <a:schemeClr val="tx1"/>
                </a:solidFill>
              </a:defRPr>
            </a:lvl1pPr>
            <a:lvl2pPr marL="0" indent="0">
              <a:buNone/>
              <a:defRPr sz="1792">
                <a:solidFill>
                  <a:schemeClr val="accent4"/>
                </a:solidFill>
              </a:defRPr>
            </a:lvl2pPr>
            <a:lvl3pPr marL="0" indent="0">
              <a:buNone/>
              <a:defRPr sz="1792">
                <a:solidFill>
                  <a:schemeClr val="accent4"/>
                </a:solidFill>
              </a:defRPr>
            </a:lvl3pPr>
            <a:lvl4pPr marL="0" indent="0">
              <a:buNone/>
              <a:defRPr sz="1792">
                <a:solidFill>
                  <a:schemeClr val="accent4"/>
                </a:solidFill>
              </a:defRPr>
            </a:lvl4pPr>
            <a:lvl5pPr marL="0" indent="0">
              <a:buNone/>
              <a:defRPr sz="1792">
                <a:solidFill>
                  <a:schemeClr val="accent4"/>
                </a:solidFill>
              </a:defRPr>
            </a:lvl5pPr>
            <a:lvl6pPr marL="0" indent="0">
              <a:buNone/>
              <a:defRPr sz="1792">
                <a:solidFill>
                  <a:schemeClr val="accent4"/>
                </a:solidFill>
              </a:defRPr>
            </a:lvl6pPr>
            <a:lvl7pPr marL="0" indent="0">
              <a:buNone/>
              <a:defRPr sz="1792">
                <a:solidFill>
                  <a:schemeClr val="accent4"/>
                </a:solidFill>
              </a:defRPr>
            </a:lvl7pPr>
            <a:lvl8pPr marL="0" indent="0">
              <a:buNone/>
              <a:defRPr sz="1792">
                <a:solidFill>
                  <a:schemeClr val="accent4"/>
                </a:solidFill>
              </a:defRPr>
            </a:lvl8pPr>
            <a:lvl9pPr marL="0" indent="0">
              <a:buNone/>
              <a:defRPr sz="1792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1.png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1.xml"/><Relationship Id="rId18" Type="http://schemas.openxmlformats.org/officeDocument/2006/relationships/slideLayout" Target="../slideLayouts/slideLayout256.xml"/><Relationship Id="rId26" Type="http://schemas.openxmlformats.org/officeDocument/2006/relationships/slideLayout" Target="../slideLayouts/slideLayout264.xml"/><Relationship Id="rId39" Type="http://schemas.openxmlformats.org/officeDocument/2006/relationships/slideLayout" Target="../slideLayouts/slideLayout277.xml"/><Relationship Id="rId21" Type="http://schemas.openxmlformats.org/officeDocument/2006/relationships/slideLayout" Target="../slideLayouts/slideLayout259.xml"/><Relationship Id="rId34" Type="http://schemas.openxmlformats.org/officeDocument/2006/relationships/slideLayout" Target="../slideLayouts/slideLayout272.xml"/><Relationship Id="rId42" Type="http://schemas.openxmlformats.org/officeDocument/2006/relationships/slideLayout" Target="../slideLayouts/slideLayout280.xml"/><Relationship Id="rId47" Type="http://schemas.openxmlformats.org/officeDocument/2006/relationships/slideLayout" Target="../slideLayouts/slideLayout285.xml"/><Relationship Id="rId50" Type="http://schemas.openxmlformats.org/officeDocument/2006/relationships/slideLayout" Target="../slideLayouts/slideLayout288.xml"/><Relationship Id="rId55" Type="http://schemas.openxmlformats.org/officeDocument/2006/relationships/theme" Target="../theme/theme10.xml"/><Relationship Id="rId7" Type="http://schemas.openxmlformats.org/officeDocument/2006/relationships/slideLayout" Target="../slideLayouts/slideLayout245.xml"/><Relationship Id="rId12" Type="http://schemas.openxmlformats.org/officeDocument/2006/relationships/slideLayout" Target="../slideLayouts/slideLayout250.xml"/><Relationship Id="rId17" Type="http://schemas.openxmlformats.org/officeDocument/2006/relationships/slideLayout" Target="../slideLayouts/slideLayout255.xml"/><Relationship Id="rId25" Type="http://schemas.openxmlformats.org/officeDocument/2006/relationships/slideLayout" Target="../slideLayouts/slideLayout263.xml"/><Relationship Id="rId33" Type="http://schemas.openxmlformats.org/officeDocument/2006/relationships/slideLayout" Target="../slideLayouts/slideLayout271.xml"/><Relationship Id="rId38" Type="http://schemas.openxmlformats.org/officeDocument/2006/relationships/slideLayout" Target="../slideLayouts/slideLayout276.xml"/><Relationship Id="rId46" Type="http://schemas.openxmlformats.org/officeDocument/2006/relationships/slideLayout" Target="../slideLayouts/slideLayout284.xml"/><Relationship Id="rId2" Type="http://schemas.openxmlformats.org/officeDocument/2006/relationships/slideLayout" Target="../slideLayouts/slideLayout240.xml"/><Relationship Id="rId16" Type="http://schemas.openxmlformats.org/officeDocument/2006/relationships/slideLayout" Target="../slideLayouts/slideLayout254.xml"/><Relationship Id="rId20" Type="http://schemas.openxmlformats.org/officeDocument/2006/relationships/slideLayout" Target="../slideLayouts/slideLayout258.xml"/><Relationship Id="rId29" Type="http://schemas.openxmlformats.org/officeDocument/2006/relationships/slideLayout" Target="../slideLayouts/slideLayout267.xml"/><Relationship Id="rId41" Type="http://schemas.openxmlformats.org/officeDocument/2006/relationships/slideLayout" Target="../slideLayouts/slideLayout279.xml"/><Relationship Id="rId54" Type="http://schemas.openxmlformats.org/officeDocument/2006/relationships/slideLayout" Target="../slideLayouts/slideLayout292.xml"/><Relationship Id="rId1" Type="http://schemas.openxmlformats.org/officeDocument/2006/relationships/slideLayout" Target="../slideLayouts/slideLayout239.xml"/><Relationship Id="rId6" Type="http://schemas.openxmlformats.org/officeDocument/2006/relationships/slideLayout" Target="../slideLayouts/slideLayout244.xml"/><Relationship Id="rId11" Type="http://schemas.openxmlformats.org/officeDocument/2006/relationships/slideLayout" Target="../slideLayouts/slideLayout249.xml"/><Relationship Id="rId24" Type="http://schemas.openxmlformats.org/officeDocument/2006/relationships/slideLayout" Target="../slideLayouts/slideLayout262.xml"/><Relationship Id="rId32" Type="http://schemas.openxmlformats.org/officeDocument/2006/relationships/slideLayout" Target="../slideLayouts/slideLayout270.xml"/><Relationship Id="rId37" Type="http://schemas.openxmlformats.org/officeDocument/2006/relationships/slideLayout" Target="../slideLayouts/slideLayout275.xml"/><Relationship Id="rId40" Type="http://schemas.openxmlformats.org/officeDocument/2006/relationships/slideLayout" Target="../slideLayouts/slideLayout278.xml"/><Relationship Id="rId45" Type="http://schemas.openxmlformats.org/officeDocument/2006/relationships/slideLayout" Target="../slideLayouts/slideLayout283.xml"/><Relationship Id="rId53" Type="http://schemas.openxmlformats.org/officeDocument/2006/relationships/slideLayout" Target="../slideLayouts/slideLayout291.xml"/><Relationship Id="rId5" Type="http://schemas.openxmlformats.org/officeDocument/2006/relationships/slideLayout" Target="../slideLayouts/slideLayout243.xml"/><Relationship Id="rId15" Type="http://schemas.openxmlformats.org/officeDocument/2006/relationships/slideLayout" Target="../slideLayouts/slideLayout253.xml"/><Relationship Id="rId23" Type="http://schemas.openxmlformats.org/officeDocument/2006/relationships/slideLayout" Target="../slideLayouts/slideLayout261.xml"/><Relationship Id="rId28" Type="http://schemas.openxmlformats.org/officeDocument/2006/relationships/slideLayout" Target="../slideLayouts/slideLayout266.xml"/><Relationship Id="rId36" Type="http://schemas.openxmlformats.org/officeDocument/2006/relationships/slideLayout" Target="../slideLayouts/slideLayout274.xml"/><Relationship Id="rId49" Type="http://schemas.openxmlformats.org/officeDocument/2006/relationships/slideLayout" Target="../slideLayouts/slideLayout287.xml"/><Relationship Id="rId57" Type="http://schemas.openxmlformats.org/officeDocument/2006/relationships/image" Target="../media/image44.svg"/><Relationship Id="rId10" Type="http://schemas.openxmlformats.org/officeDocument/2006/relationships/slideLayout" Target="../slideLayouts/slideLayout248.xml"/><Relationship Id="rId19" Type="http://schemas.openxmlformats.org/officeDocument/2006/relationships/slideLayout" Target="../slideLayouts/slideLayout257.xml"/><Relationship Id="rId31" Type="http://schemas.openxmlformats.org/officeDocument/2006/relationships/slideLayout" Target="../slideLayouts/slideLayout269.xml"/><Relationship Id="rId44" Type="http://schemas.openxmlformats.org/officeDocument/2006/relationships/slideLayout" Target="../slideLayouts/slideLayout282.xml"/><Relationship Id="rId52" Type="http://schemas.openxmlformats.org/officeDocument/2006/relationships/slideLayout" Target="../slideLayouts/slideLayout290.xml"/><Relationship Id="rId4" Type="http://schemas.openxmlformats.org/officeDocument/2006/relationships/slideLayout" Target="../slideLayouts/slideLayout242.xml"/><Relationship Id="rId9" Type="http://schemas.openxmlformats.org/officeDocument/2006/relationships/slideLayout" Target="../slideLayouts/slideLayout247.xml"/><Relationship Id="rId14" Type="http://schemas.openxmlformats.org/officeDocument/2006/relationships/slideLayout" Target="../slideLayouts/slideLayout252.xml"/><Relationship Id="rId22" Type="http://schemas.openxmlformats.org/officeDocument/2006/relationships/slideLayout" Target="../slideLayouts/slideLayout260.xml"/><Relationship Id="rId27" Type="http://schemas.openxmlformats.org/officeDocument/2006/relationships/slideLayout" Target="../slideLayouts/slideLayout265.xml"/><Relationship Id="rId30" Type="http://schemas.openxmlformats.org/officeDocument/2006/relationships/slideLayout" Target="../slideLayouts/slideLayout268.xml"/><Relationship Id="rId35" Type="http://schemas.openxmlformats.org/officeDocument/2006/relationships/slideLayout" Target="../slideLayouts/slideLayout273.xml"/><Relationship Id="rId43" Type="http://schemas.openxmlformats.org/officeDocument/2006/relationships/slideLayout" Target="../slideLayouts/slideLayout281.xml"/><Relationship Id="rId48" Type="http://schemas.openxmlformats.org/officeDocument/2006/relationships/slideLayout" Target="../slideLayouts/slideLayout286.xml"/><Relationship Id="rId56" Type="http://schemas.openxmlformats.org/officeDocument/2006/relationships/image" Target="../media/image43.png"/><Relationship Id="rId8" Type="http://schemas.openxmlformats.org/officeDocument/2006/relationships/slideLayout" Target="../slideLayouts/slideLayout246.xml"/><Relationship Id="rId51" Type="http://schemas.openxmlformats.org/officeDocument/2006/relationships/slideLayout" Target="../slideLayouts/slideLayout289.xml"/><Relationship Id="rId3" Type="http://schemas.openxmlformats.org/officeDocument/2006/relationships/slideLayout" Target="../slideLayouts/slideLayout24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26" Type="http://schemas.openxmlformats.org/officeDocument/2006/relationships/slideLayout" Target="../slideLayouts/slideLayout54.xml"/><Relationship Id="rId3" Type="http://schemas.openxmlformats.org/officeDocument/2006/relationships/slideLayout" Target="../slideLayouts/slideLayout31.xml"/><Relationship Id="rId21" Type="http://schemas.openxmlformats.org/officeDocument/2006/relationships/slideLayout" Target="../slideLayouts/slideLayout49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5" Type="http://schemas.openxmlformats.org/officeDocument/2006/relationships/slideLayout" Target="../slideLayouts/slideLayout53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slideLayout" Target="../slideLayouts/slideLayout48.xml"/><Relationship Id="rId29" Type="http://schemas.openxmlformats.org/officeDocument/2006/relationships/tags" Target="../tags/tag1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24" Type="http://schemas.openxmlformats.org/officeDocument/2006/relationships/slideLayout" Target="../slideLayouts/slideLayout52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slideLayout" Target="../slideLayouts/slideLayout51.xml"/><Relationship Id="rId28" Type="http://schemas.openxmlformats.org/officeDocument/2006/relationships/vmlDrawing" Target="../drawings/vmlDrawing1.vml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31" Type="http://schemas.openxmlformats.org/officeDocument/2006/relationships/image" Target="../media/image15.emf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slideLayout" Target="../slideLayouts/slideLayout50.xml"/><Relationship Id="rId27" Type="http://schemas.openxmlformats.org/officeDocument/2006/relationships/theme" Target="../theme/theme2.xml"/><Relationship Id="rId30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72.xml"/><Relationship Id="rId26" Type="http://schemas.openxmlformats.org/officeDocument/2006/relationships/slideLayout" Target="../slideLayouts/slideLayout80.xml"/><Relationship Id="rId3" Type="http://schemas.openxmlformats.org/officeDocument/2006/relationships/slideLayout" Target="../slideLayouts/slideLayout57.xml"/><Relationship Id="rId21" Type="http://schemas.openxmlformats.org/officeDocument/2006/relationships/slideLayout" Target="../slideLayouts/slideLayout75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5" Type="http://schemas.openxmlformats.org/officeDocument/2006/relationships/slideLayout" Target="../slideLayouts/slideLayout79.xml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0" Type="http://schemas.openxmlformats.org/officeDocument/2006/relationships/slideLayout" Target="../slideLayouts/slideLayout74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24" Type="http://schemas.openxmlformats.org/officeDocument/2006/relationships/slideLayout" Target="../slideLayouts/slideLayout78.xml"/><Relationship Id="rId5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9.xml"/><Relationship Id="rId23" Type="http://schemas.openxmlformats.org/officeDocument/2006/relationships/slideLayout" Target="../slideLayouts/slideLayout77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64.xml"/><Relationship Id="rId19" Type="http://schemas.openxmlformats.org/officeDocument/2006/relationships/slideLayout" Target="../slideLayouts/slideLayout73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Relationship Id="rId22" Type="http://schemas.openxmlformats.org/officeDocument/2006/relationships/slideLayout" Target="../slideLayouts/slideLayout76.xml"/><Relationship Id="rId27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slideLayout" Target="../slideLayouts/slideLayout93.xml"/><Relationship Id="rId18" Type="http://schemas.openxmlformats.org/officeDocument/2006/relationships/slideLayout" Target="../slideLayouts/slideLayout98.xml"/><Relationship Id="rId26" Type="http://schemas.openxmlformats.org/officeDocument/2006/relationships/slideLayout" Target="../slideLayouts/slideLayout106.xml"/><Relationship Id="rId3" Type="http://schemas.openxmlformats.org/officeDocument/2006/relationships/slideLayout" Target="../slideLayouts/slideLayout83.xml"/><Relationship Id="rId21" Type="http://schemas.openxmlformats.org/officeDocument/2006/relationships/slideLayout" Target="../slideLayouts/slideLayout101.xml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17" Type="http://schemas.openxmlformats.org/officeDocument/2006/relationships/slideLayout" Target="../slideLayouts/slideLayout97.xml"/><Relationship Id="rId25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82.xml"/><Relationship Id="rId16" Type="http://schemas.openxmlformats.org/officeDocument/2006/relationships/slideLayout" Target="../slideLayouts/slideLayout96.xml"/><Relationship Id="rId20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24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85.xml"/><Relationship Id="rId15" Type="http://schemas.openxmlformats.org/officeDocument/2006/relationships/slideLayout" Target="../slideLayouts/slideLayout95.xml"/><Relationship Id="rId23" Type="http://schemas.openxmlformats.org/officeDocument/2006/relationships/slideLayout" Target="../slideLayouts/slideLayout103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90.xml"/><Relationship Id="rId19" Type="http://schemas.openxmlformats.org/officeDocument/2006/relationships/slideLayout" Target="../slideLayouts/slideLayout99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Relationship Id="rId22" Type="http://schemas.openxmlformats.org/officeDocument/2006/relationships/slideLayout" Target="../slideLayouts/slideLayout102.xml"/><Relationship Id="rId27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4.xml"/><Relationship Id="rId13" Type="http://schemas.openxmlformats.org/officeDocument/2006/relationships/slideLayout" Target="../slideLayouts/slideLayout119.xml"/><Relationship Id="rId18" Type="http://schemas.openxmlformats.org/officeDocument/2006/relationships/slideLayout" Target="../slideLayouts/slideLayout124.xml"/><Relationship Id="rId26" Type="http://schemas.openxmlformats.org/officeDocument/2006/relationships/slideLayout" Target="../slideLayouts/slideLayout132.xml"/><Relationship Id="rId3" Type="http://schemas.openxmlformats.org/officeDocument/2006/relationships/slideLayout" Target="../slideLayouts/slideLayout109.xml"/><Relationship Id="rId21" Type="http://schemas.openxmlformats.org/officeDocument/2006/relationships/slideLayout" Target="../slideLayouts/slideLayout127.xml"/><Relationship Id="rId7" Type="http://schemas.openxmlformats.org/officeDocument/2006/relationships/slideLayout" Target="../slideLayouts/slideLayout113.xml"/><Relationship Id="rId12" Type="http://schemas.openxmlformats.org/officeDocument/2006/relationships/slideLayout" Target="../slideLayouts/slideLayout118.xml"/><Relationship Id="rId17" Type="http://schemas.openxmlformats.org/officeDocument/2006/relationships/slideLayout" Target="../slideLayouts/slideLayout123.xml"/><Relationship Id="rId25" Type="http://schemas.openxmlformats.org/officeDocument/2006/relationships/slideLayout" Target="../slideLayouts/slideLayout131.xml"/><Relationship Id="rId2" Type="http://schemas.openxmlformats.org/officeDocument/2006/relationships/slideLayout" Target="../slideLayouts/slideLayout108.xml"/><Relationship Id="rId16" Type="http://schemas.openxmlformats.org/officeDocument/2006/relationships/slideLayout" Target="../slideLayouts/slideLayout122.xml"/><Relationship Id="rId20" Type="http://schemas.openxmlformats.org/officeDocument/2006/relationships/slideLayout" Target="../slideLayouts/slideLayout126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12.xml"/><Relationship Id="rId11" Type="http://schemas.openxmlformats.org/officeDocument/2006/relationships/slideLayout" Target="../slideLayouts/slideLayout117.xml"/><Relationship Id="rId24" Type="http://schemas.openxmlformats.org/officeDocument/2006/relationships/slideLayout" Target="../slideLayouts/slideLayout130.xml"/><Relationship Id="rId5" Type="http://schemas.openxmlformats.org/officeDocument/2006/relationships/slideLayout" Target="../slideLayouts/slideLayout111.xml"/><Relationship Id="rId15" Type="http://schemas.openxmlformats.org/officeDocument/2006/relationships/slideLayout" Target="../slideLayouts/slideLayout121.xml"/><Relationship Id="rId23" Type="http://schemas.openxmlformats.org/officeDocument/2006/relationships/slideLayout" Target="../slideLayouts/slideLayout129.xml"/><Relationship Id="rId28" Type="http://schemas.openxmlformats.org/officeDocument/2006/relationships/theme" Target="../theme/theme5.xml"/><Relationship Id="rId10" Type="http://schemas.openxmlformats.org/officeDocument/2006/relationships/slideLayout" Target="../slideLayouts/slideLayout116.xml"/><Relationship Id="rId19" Type="http://schemas.openxmlformats.org/officeDocument/2006/relationships/slideLayout" Target="../slideLayouts/slideLayout125.xml"/><Relationship Id="rId4" Type="http://schemas.openxmlformats.org/officeDocument/2006/relationships/slideLayout" Target="../slideLayouts/slideLayout110.xml"/><Relationship Id="rId9" Type="http://schemas.openxmlformats.org/officeDocument/2006/relationships/slideLayout" Target="../slideLayouts/slideLayout115.xml"/><Relationship Id="rId14" Type="http://schemas.openxmlformats.org/officeDocument/2006/relationships/slideLayout" Target="../slideLayouts/slideLayout120.xml"/><Relationship Id="rId22" Type="http://schemas.openxmlformats.org/officeDocument/2006/relationships/slideLayout" Target="../slideLayouts/slideLayout128.xml"/><Relationship Id="rId27" Type="http://schemas.openxmlformats.org/officeDocument/2006/relationships/slideLayout" Target="../slideLayouts/slideLayout13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1.xml"/><Relationship Id="rId13" Type="http://schemas.openxmlformats.org/officeDocument/2006/relationships/slideLayout" Target="../slideLayouts/slideLayout146.xml"/><Relationship Id="rId18" Type="http://schemas.openxmlformats.org/officeDocument/2006/relationships/slideLayout" Target="../slideLayouts/slideLayout151.xml"/><Relationship Id="rId26" Type="http://schemas.openxmlformats.org/officeDocument/2006/relationships/slideLayout" Target="../slideLayouts/slideLayout159.xml"/><Relationship Id="rId3" Type="http://schemas.openxmlformats.org/officeDocument/2006/relationships/slideLayout" Target="../slideLayouts/slideLayout136.xml"/><Relationship Id="rId21" Type="http://schemas.openxmlformats.org/officeDocument/2006/relationships/slideLayout" Target="../slideLayouts/slideLayout154.xml"/><Relationship Id="rId34" Type="http://schemas.openxmlformats.org/officeDocument/2006/relationships/slideLayout" Target="../slideLayouts/slideLayout167.xml"/><Relationship Id="rId7" Type="http://schemas.openxmlformats.org/officeDocument/2006/relationships/slideLayout" Target="../slideLayouts/slideLayout140.xml"/><Relationship Id="rId12" Type="http://schemas.openxmlformats.org/officeDocument/2006/relationships/slideLayout" Target="../slideLayouts/slideLayout145.xml"/><Relationship Id="rId17" Type="http://schemas.openxmlformats.org/officeDocument/2006/relationships/slideLayout" Target="../slideLayouts/slideLayout150.xml"/><Relationship Id="rId25" Type="http://schemas.openxmlformats.org/officeDocument/2006/relationships/slideLayout" Target="../slideLayouts/slideLayout158.xml"/><Relationship Id="rId33" Type="http://schemas.openxmlformats.org/officeDocument/2006/relationships/slideLayout" Target="../slideLayouts/slideLayout166.xml"/><Relationship Id="rId2" Type="http://schemas.openxmlformats.org/officeDocument/2006/relationships/slideLayout" Target="../slideLayouts/slideLayout135.xml"/><Relationship Id="rId16" Type="http://schemas.openxmlformats.org/officeDocument/2006/relationships/slideLayout" Target="../slideLayouts/slideLayout149.xml"/><Relationship Id="rId20" Type="http://schemas.openxmlformats.org/officeDocument/2006/relationships/slideLayout" Target="../slideLayouts/slideLayout153.xml"/><Relationship Id="rId29" Type="http://schemas.openxmlformats.org/officeDocument/2006/relationships/slideLayout" Target="../slideLayouts/slideLayout162.xml"/><Relationship Id="rId1" Type="http://schemas.openxmlformats.org/officeDocument/2006/relationships/slideLayout" Target="../slideLayouts/slideLayout134.xml"/><Relationship Id="rId6" Type="http://schemas.openxmlformats.org/officeDocument/2006/relationships/slideLayout" Target="../slideLayouts/slideLayout139.xml"/><Relationship Id="rId11" Type="http://schemas.openxmlformats.org/officeDocument/2006/relationships/slideLayout" Target="../slideLayouts/slideLayout144.xml"/><Relationship Id="rId24" Type="http://schemas.openxmlformats.org/officeDocument/2006/relationships/slideLayout" Target="../slideLayouts/slideLayout157.xml"/><Relationship Id="rId32" Type="http://schemas.openxmlformats.org/officeDocument/2006/relationships/slideLayout" Target="../slideLayouts/slideLayout165.xml"/><Relationship Id="rId5" Type="http://schemas.openxmlformats.org/officeDocument/2006/relationships/slideLayout" Target="../slideLayouts/slideLayout138.xml"/><Relationship Id="rId15" Type="http://schemas.openxmlformats.org/officeDocument/2006/relationships/slideLayout" Target="../slideLayouts/slideLayout148.xml"/><Relationship Id="rId23" Type="http://schemas.openxmlformats.org/officeDocument/2006/relationships/slideLayout" Target="../slideLayouts/slideLayout156.xml"/><Relationship Id="rId28" Type="http://schemas.openxmlformats.org/officeDocument/2006/relationships/slideLayout" Target="../slideLayouts/slideLayout161.xml"/><Relationship Id="rId36" Type="http://schemas.openxmlformats.org/officeDocument/2006/relationships/theme" Target="../theme/theme6.xml"/><Relationship Id="rId10" Type="http://schemas.openxmlformats.org/officeDocument/2006/relationships/slideLayout" Target="../slideLayouts/slideLayout143.xml"/><Relationship Id="rId19" Type="http://schemas.openxmlformats.org/officeDocument/2006/relationships/slideLayout" Target="../slideLayouts/slideLayout152.xml"/><Relationship Id="rId31" Type="http://schemas.openxmlformats.org/officeDocument/2006/relationships/slideLayout" Target="../slideLayouts/slideLayout164.xml"/><Relationship Id="rId4" Type="http://schemas.openxmlformats.org/officeDocument/2006/relationships/slideLayout" Target="../slideLayouts/slideLayout137.xml"/><Relationship Id="rId9" Type="http://schemas.openxmlformats.org/officeDocument/2006/relationships/slideLayout" Target="../slideLayouts/slideLayout142.xml"/><Relationship Id="rId14" Type="http://schemas.openxmlformats.org/officeDocument/2006/relationships/slideLayout" Target="../slideLayouts/slideLayout147.xml"/><Relationship Id="rId22" Type="http://schemas.openxmlformats.org/officeDocument/2006/relationships/slideLayout" Target="../slideLayouts/slideLayout155.xml"/><Relationship Id="rId27" Type="http://schemas.openxmlformats.org/officeDocument/2006/relationships/slideLayout" Target="../slideLayouts/slideLayout160.xml"/><Relationship Id="rId30" Type="http://schemas.openxmlformats.org/officeDocument/2006/relationships/slideLayout" Target="../slideLayouts/slideLayout163.xml"/><Relationship Id="rId35" Type="http://schemas.openxmlformats.org/officeDocument/2006/relationships/slideLayout" Target="../slideLayouts/slideLayout168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81.xml"/><Relationship Id="rId18" Type="http://schemas.openxmlformats.org/officeDocument/2006/relationships/slideLayout" Target="../slideLayouts/slideLayout186.xml"/><Relationship Id="rId26" Type="http://schemas.openxmlformats.org/officeDocument/2006/relationships/slideLayout" Target="../slideLayouts/slideLayout194.xml"/><Relationship Id="rId39" Type="http://schemas.openxmlformats.org/officeDocument/2006/relationships/slideLayout" Target="../slideLayouts/slideLayout207.xml"/><Relationship Id="rId3" Type="http://schemas.openxmlformats.org/officeDocument/2006/relationships/slideLayout" Target="../slideLayouts/slideLayout171.xml"/><Relationship Id="rId21" Type="http://schemas.openxmlformats.org/officeDocument/2006/relationships/slideLayout" Target="../slideLayouts/slideLayout189.xml"/><Relationship Id="rId34" Type="http://schemas.openxmlformats.org/officeDocument/2006/relationships/slideLayout" Target="../slideLayouts/slideLayout202.xml"/><Relationship Id="rId42" Type="http://schemas.openxmlformats.org/officeDocument/2006/relationships/slideLayout" Target="../slideLayouts/slideLayout210.xml"/><Relationship Id="rId47" Type="http://schemas.openxmlformats.org/officeDocument/2006/relationships/slideLayout" Target="../slideLayouts/slideLayout215.xml"/><Relationship Id="rId50" Type="http://schemas.openxmlformats.org/officeDocument/2006/relationships/image" Target="../media/image43.png"/><Relationship Id="rId7" Type="http://schemas.openxmlformats.org/officeDocument/2006/relationships/slideLayout" Target="../slideLayouts/slideLayout175.xml"/><Relationship Id="rId12" Type="http://schemas.openxmlformats.org/officeDocument/2006/relationships/slideLayout" Target="../slideLayouts/slideLayout180.xml"/><Relationship Id="rId17" Type="http://schemas.openxmlformats.org/officeDocument/2006/relationships/slideLayout" Target="../slideLayouts/slideLayout185.xml"/><Relationship Id="rId25" Type="http://schemas.openxmlformats.org/officeDocument/2006/relationships/slideLayout" Target="../slideLayouts/slideLayout193.xml"/><Relationship Id="rId33" Type="http://schemas.openxmlformats.org/officeDocument/2006/relationships/slideLayout" Target="../slideLayouts/slideLayout201.xml"/><Relationship Id="rId38" Type="http://schemas.openxmlformats.org/officeDocument/2006/relationships/slideLayout" Target="../slideLayouts/slideLayout206.xml"/><Relationship Id="rId46" Type="http://schemas.openxmlformats.org/officeDocument/2006/relationships/slideLayout" Target="../slideLayouts/slideLayout214.xml"/><Relationship Id="rId2" Type="http://schemas.openxmlformats.org/officeDocument/2006/relationships/slideLayout" Target="../slideLayouts/slideLayout170.xml"/><Relationship Id="rId16" Type="http://schemas.openxmlformats.org/officeDocument/2006/relationships/slideLayout" Target="../slideLayouts/slideLayout184.xml"/><Relationship Id="rId20" Type="http://schemas.openxmlformats.org/officeDocument/2006/relationships/slideLayout" Target="../slideLayouts/slideLayout188.xml"/><Relationship Id="rId29" Type="http://schemas.openxmlformats.org/officeDocument/2006/relationships/slideLayout" Target="../slideLayouts/slideLayout197.xml"/><Relationship Id="rId41" Type="http://schemas.openxmlformats.org/officeDocument/2006/relationships/slideLayout" Target="../slideLayouts/slideLayout209.xml"/><Relationship Id="rId1" Type="http://schemas.openxmlformats.org/officeDocument/2006/relationships/slideLayout" Target="../slideLayouts/slideLayout169.xml"/><Relationship Id="rId6" Type="http://schemas.openxmlformats.org/officeDocument/2006/relationships/slideLayout" Target="../slideLayouts/slideLayout174.xml"/><Relationship Id="rId11" Type="http://schemas.openxmlformats.org/officeDocument/2006/relationships/slideLayout" Target="../slideLayouts/slideLayout179.xml"/><Relationship Id="rId24" Type="http://schemas.openxmlformats.org/officeDocument/2006/relationships/slideLayout" Target="../slideLayouts/slideLayout192.xml"/><Relationship Id="rId32" Type="http://schemas.openxmlformats.org/officeDocument/2006/relationships/slideLayout" Target="../slideLayouts/slideLayout200.xml"/><Relationship Id="rId37" Type="http://schemas.openxmlformats.org/officeDocument/2006/relationships/slideLayout" Target="../slideLayouts/slideLayout205.xml"/><Relationship Id="rId40" Type="http://schemas.openxmlformats.org/officeDocument/2006/relationships/slideLayout" Target="../slideLayouts/slideLayout208.xml"/><Relationship Id="rId45" Type="http://schemas.openxmlformats.org/officeDocument/2006/relationships/slideLayout" Target="../slideLayouts/slideLayout213.xml"/><Relationship Id="rId5" Type="http://schemas.openxmlformats.org/officeDocument/2006/relationships/slideLayout" Target="../slideLayouts/slideLayout173.xml"/><Relationship Id="rId15" Type="http://schemas.openxmlformats.org/officeDocument/2006/relationships/slideLayout" Target="../slideLayouts/slideLayout183.xml"/><Relationship Id="rId23" Type="http://schemas.openxmlformats.org/officeDocument/2006/relationships/slideLayout" Target="../slideLayouts/slideLayout191.xml"/><Relationship Id="rId28" Type="http://schemas.openxmlformats.org/officeDocument/2006/relationships/slideLayout" Target="../slideLayouts/slideLayout196.xml"/><Relationship Id="rId36" Type="http://schemas.openxmlformats.org/officeDocument/2006/relationships/slideLayout" Target="../slideLayouts/slideLayout204.xml"/><Relationship Id="rId49" Type="http://schemas.openxmlformats.org/officeDocument/2006/relationships/theme" Target="../theme/theme7.xml"/><Relationship Id="rId10" Type="http://schemas.openxmlformats.org/officeDocument/2006/relationships/slideLayout" Target="../slideLayouts/slideLayout178.xml"/><Relationship Id="rId19" Type="http://schemas.openxmlformats.org/officeDocument/2006/relationships/slideLayout" Target="../slideLayouts/slideLayout187.xml"/><Relationship Id="rId31" Type="http://schemas.openxmlformats.org/officeDocument/2006/relationships/slideLayout" Target="../slideLayouts/slideLayout199.xml"/><Relationship Id="rId44" Type="http://schemas.openxmlformats.org/officeDocument/2006/relationships/slideLayout" Target="../slideLayouts/slideLayout212.xml"/><Relationship Id="rId4" Type="http://schemas.openxmlformats.org/officeDocument/2006/relationships/slideLayout" Target="../slideLayouts/slideLayout172.xml"/><Relationship Id="rId9" Type="http://schemas.openxmlformats.org/officeDocument/2006/relationships/slideLayout" Target="../slideLayouts/slideLayout177.xml"/><Relationship Id="rId14" Type="http://schemas.openxmlformats.org/officeDocument/2006/relationships/slideLayout" Target="../slideLayouts/slideLayout182.xml"/><Relationship Id="rId22" Type="http://schemas.openxmlformats.org/officeDocument/2006/relationships/slideLayout" Target="../slideLayouts/slideLayout190.xml"/><Relationship Id="rId27" Type="http://schemas.openxmlformats.org/officeDocument/2006/relationships/slideLayout" Target="../slideLayouts/slideLayout195.xml"/><Relationship Id="rId30" Type="http://schemas.openxmlformats.org/officeDocument/2006/relationships/slideLayout" Target="../slideLayouts/slideLayout198.xml"/><Relationship Id="rId35" Type="http://schemas.openxmlformats.org/officeDocument/2006/relationships/slideLayout" Target="../slideLayouts/slideLayout203.xml"/><Relationship Id="rId43" Type="http://schemas.openxmlformats.org/officeDocument/2006/relationships/slideLayout" Target="../slideLayouts/slideLayout211.xml"/><Relationship Id="rId48" Type="http://schemas.openxmlformats.org/officeDocument/2006/relationships/slideLayout" Target="../slideLayouts/slideLayout216.xml"/><Relationship Id="rId8" Type="http://schemas.openxmlformats.org/officeDocument/2006/relationships/slideLayout" Target="../slideLayouts/slideLayout176.xml"/><Relationship Id="rId51" Type="http://schemas.openxmlformats.org/officeDocument/2006/relationships/image" Target="../media/image44.sv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4.xml"/><Relationship Id="rId3" Type="http://schemas.openxmlformats.org/officeDocument/2006/relationships/slideLayout" Target="../slideLayouts/slideLayout219.xml"/><Relationship Id="rId7" Type="http://schemas.openxmlformats.org/officeDocument/2006/relationships/slideLayout" Target="../slideLayouts/slideLayout223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218.xml"/><Relationship Id="rId1" Type="http://schemas.openxmlformats.org/officeDocument/2006/relationships/slideLayout" Target="../slideLayouts/slideLayout217.xml"/><Relationship Id="rId6" Type="http://schemas.openxmlformats.org/officeDocument/2006/relationships/slideLayout" Target="../slideLayouts/slideLayout222.xml"/><Relationship Id="rId11" Type="http://schemas.openxmlformats.org/officeDocument/2006/relationships/slideLayout" Target="../slideLayouts/slideLayout227.xml"/><Relationship Id="rId5" Type="http://schemas.openxmlformats.org/officeDocument/2006/relationships/slideLayout" Target="../slideLayouts/slideLayout221.xml"/><Relationship Id="rId10" Type="http://schemas.openxmlformats.org/officeDocument/2006/relationships/slideLayout" Target="../slideLayouts/slideLayout226.xml"/><Relationship Id="rId4" Type="http://schemas.openxmlformats.org/officeDocument/2006/relationships/slideLayout" Target="../slideLayouts/slideLayout220.xml"/><Relationship Id="rId9" Type="http://schemas.openxmlformats.org/officeDocument/2006/relationships/slideLayout" Target="../slideLayouts/slideLayout225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5.xml"/><Relationship Id="rId3" Type="http://schemas.openxmlformats.org/officeDocument/2006/relationships/slideLayout" Target="../slideLayouts/slideLayout230.xml"/><Relationship Id="rId7" Type="http://schemas.openxmlformats.org/officeDocument/2006/relationships/slideLayout" Target="../slideLayouts/slideLayout234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229.xml"/><Relationship Id="rId1" Type="http://schemas.openxmlformats.org/officeDocument/2006/relationships/slideLayout" Target="../slideLayouts/slideLayout228.xml"/><Relationship Id="rId6" Type="http://schemas.openxmlformats.org/officeDocument/2006/relationships/slideLayout" Target="../slideLayouts/slideLayout233.xml"/><Relationship Id="rId11" Type="http://schemas.openxmlformats.org/officeDocument/2006/relationships/slideLayout" Target="../slideLayouts/slideLayout238.xml"/><Relationship Id="rId5" Type="http://schemas.openxmlformats.org/officeDocument/2006/relationships/slideLayout" Target="../slideLayouts/slideLayout232.xml"/><Relationship Id="rId10" Type="http://schemas.openxmlformats.org/officeDocument/2006/relationships/slideLayout" Target="../slideLayouts/slideLayout237.xml"/><Relationship Id="rId4" Type="http://schemas.openxmlformats.org/officeDocument/2006/relationships/slideLayout" Target="../slideLayouts/slideLayout231.xml"/><Relationship Id="rId9" Type="http://schemas.openxmlformats.org/officeDocument/2006/relationships/slideLayout" Target="../slideLayouts/slideLayout2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1875" y="5408795"/>
            <a:ext cx="1980129" cy="1454097"/>
          </a:xfrm>
          <a:prstGeom prst="rect">
            <a:avLst/>
          </a:prstGeom>
        </p:spPr>
      </p:pic>
      <p:grpSp>
        <p:nvGrpSpPr>
          <p:cNvPr id="21" name="Group 20"/>
          <p:cNvGrpSpPr/>
          <p:nvPr/>
        </p:nvGrpSpPr>
        <p:grpSpPr>
          <a:xfrm>
            <a:off x="618039" y="6446072"/>
            <a:ext cx="1100080" cy="173355"/>
            <a:chOff x="-84138" y="5622925"/>
            <a:chExt cx="4330701" cy="682626"/>
          </a:xfrm>
        </p:grpSpPr>
        <p:sp>
          <p:nvSpPr>
            <p:cNvPr id="22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3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4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5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6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7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8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 dirty="0">
                <a:solidFill>
                  <a:srgbClr val="717074"/>
                </a:solidFill>
                <a:latin typeface="Arial"/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14" y="330200"/>
            <a:ext cx="10972801" cy="812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14" y="1371600"/>
            <a:ext cx="10972801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1074414" y="6883401"/>
            <a:ext cx="1117600" cy="1333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C111049-A980-9A4B-BDCF-935BD3D35A43}" type="datetimeFigureOut">
              <a:rPr lang="en-US" smtClean="0"/>
              <a:t>24-Sep-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106491" y="6464301"/>
            <a:ext cx="5181601" cy="149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00361" y="6464301"/>
            <a:ext cx="450850" cy="149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649C9BFC-FCFF-7247-B387-15C2934714B0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Rectangle 16"/>
          <p:cNvSpPr/>
          <p:nvPr/>
        </p:nvSpPr>
        <p:spPr>
          <a:xfrm>
            <a:off x="1827689" y="6338652"/>
            <a:ext cx="6173807" cy="3439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lnSpc>
                <a:spcPct val="90000"/>
              </a:lnSpc>
              <a:defRPr/>
            </a:pPr>
            <a:r>
              <a:rPr lang="en-US" sz="900" i="1" dirty="0">
                <a:solidFill>
                  <a:srgbClr val="C6C6C8">
                    <a:lumMod val="75000"/>
                  </a:srgbClr>
                </a:solidFill>
                <a:latin typeface="Arial"/>
              </a:rPr>
              <a:t>The information on the roadmap is intended to outline our general product direction and it should not be relied on in making a purchasing decision. It is for informational purposes only and may not be incorporated into any contract.</a:t>
            </a:r>
            <a:endParaRPr lang="en-US" sz="1800" i="1" dirty="0">
              <a:solidFill>
                <a:srgbClr val="C6C6C8">
                  <a:lumMod val="75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34030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</p:sldLayoutIdLst>
  <mc:AlternateContent xmlns:mc="http://schemas.openxmlformats.org/markup-compatibility/2006" xmlns:p14="http://schemas.microsoft.com/office/powerpoint/2010/main">
    <mc:Choice Requires="p14">
      <p:transition spd="slow" p14:dur="800">
        <p:wipe dir="r"/>
      </p:transition>
    </mc:Choice>
    <mc:Fallback xmlns="">
      <p:transition xmlns:p14="http://schemas.microsoft.com/office/powerpoint/2010/main" spd="slow">
        <p:wipe dir="r"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2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2920" indent="-228600" algn="l" defTabSz="914400" rtl="0" eaLnBrk="1" latinLnBrk="0" hangingPunct="1">
        <a:lnSpc>
          <a:spcPct val="90000"/>
        </a:lnSpc>
        <a:spcBef>
          <a:spcPts val="8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601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887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4173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Calibri" panose="020F050202020403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6459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8745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Calibri" panose="020F050202020403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1031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68450DCA-9700-4C93-9CAA-A9FF31B0A6A3}"/>
              </a:ext>
            </a:extLst>
          </p:cNvPr>
          <p:cNvPicPr>
            <a:picLocks noChangeAspect="1"/>
          </p:cNvPicPr>
          <p:nvPr userDrawn="1"/>
        </p:nvPicPr>
        <p:blipFill>
          <a:blip r:embed="rId56">
            <a:extLs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>
            <a:off x="-1" y="6766561"/>
            <a:ext cx="12192000" cy="95225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9960" y="412751"/>
            <a:ext cx="11003870" cy="38100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3"/>
            <a:ext cx="10972801" cy="458046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A6C16E6-5A1F-46F7-8642-A7F025A5BD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5" y="7352031"/>
            <a:ext cx="41158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586C86-F823-4766-9B10-773EDC51CC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1256" y="7352031"/>
            <a:ext cx="2742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D295A3-96FB-4E80-91AF-4225D266C57B}" type="slidenum">
              <a:rPr lang="en-US" smtClean="0"/>
              <a:t>‹#›</a:t>
            </a:fld>
            <a:endParaRPr lang="en-US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485A9D7-B248-4F26-9897-A1C7A54FAF89}"/>
              </a:ext>
            </a:extLst>
          </p:cNvPr>
          <p:cNvGrpSpPr/>
          <p:nvPr userDrawn="1"/>
        </p:nvGrpSpPr>
        <p:grpSpPr>
          <a:xfrm>
            <a:off x="608171" y="6445106"/>
            <a:ext cx="1184706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3813DC77-8C0C-44B4-AE3B-61F5A80140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id="{4D7DC1A2-819A-4366-8BE9-387CC00090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0373EF47-4DA1-4EF4-AE4F-54BCB38FC2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ABC15050-D5E4-4FBD-806D-1CEC1AF606F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31" name="Freeform 10">
              <a:extLst>
                <a:ext uri="{FF2B5EF4-FFF2-40B4-BE49-F238E27FC236}">
                  <a16:creationId xmlns:a16="http://schemas.microsoft.com/office/drawing/2014/main" id="{953BA047-B60F-46CD-AFCB-49101F4D74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E5E07D7E-E36B-4549-9FB3-3BA1E225948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33" name="Freeform 12">
              <a:extLst>
                <a:ext uri="{FF2B5EF4-FFF2-40B4-BE49-F238E27FC236}">
                  <a16:creationId xmlns:a16="http://schemas.microsoft.com/office/drawing/2014/main" id="{3352F97F-F3A2-4B3E-9917-55B62713FDC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20A2C43B-3928-4C21-81F0-0AA332C8F322}"/>
              </a:ext>
            </a:extLst>
          </p:cNvPr>
          <p:cNvSpPr txBox="1"/>
          <p:nvPr userDrawn="1"/>
        </p:nvSpPr>
        <p:spPr bwMode="white">
          <a:xfrm flipH="1">
            <a:off x="2074133" y="6506318"/>
            <a:ext cx="172933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</p:spTree>
    <p:extLst>
      <p:ext uri="{BB962C8B-B14F-4D97-AF65-F5344CB8AC3E}">
        <p14:creationId xmlns:p14="http://schemas.microsoft.com/office/powerpoint/2010/main" val="469091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9" r:id="rId1"/>
    <p:sldLayoutId id="2147483940" r:id="rId2"/>
    <p:sldLayoutId id="2147483941" r:id="rId3"/>
    <p:sldLayoutId id="2147483942" r:id="rId4"/>
    <p:sldLayoutId id="2147483943" r:id="rId5"/>
    <p:sldLayoutId id="2147483944" r:id="rId6"/>
    <p:sldLayoutId id="2147483945" r:id="rId7"/>
    <p:sldLayoutId id="2147483946" r:id="rId8"/>
    <p:sldLayoutId id="2147483947" r:id="rId9"/>
    <p:sldLayoutId id="2147483948" r:id="rId10"/>
    <p:sldLayoutId id="2147483949" r:id="rId11"/>
    <p:sldLayoutId id="2147483950" r:id="rId12"/>
    <p:sldLayoutId id="2147483951" r:id="rId13"/>
    <p:sldLayoutId id="2147483952" r:id="rId14"/>
    <p:sldLayoutId id="2147483953" r:id="rId15"/>
    <p:sldLayoutId id="2147483954" r:id="rId16"/>
    <p:sldLayoutId id="2147483955" r:id="rId17"/>
    <p:sldLayoutId id="2147483956" r:id="rId18"/>
    <p:sldLayoutId id="2147483957" r:id="rId19"/>
    <p:sldLayoutId id="2147483958" r:id="rId20"/>
    <p:sldLayoutId id="2147483959" r:id="rId21"/>
    <p:sldLayoutId id="2147483960" r:id="rId22"/>
    <p:sldLayoutId id="2147483961" r:id="rId23"/>
    <p:sldLayoutId id="2147483962" r:id="rId24"/>
    <p:sldLayoutId id="2147483963" r:id="rId25"/>
    <p:sldLayoutId id="2147483964" r:id="rId26"/>
    <p:sldLayoutId id="2147483965" r:id="rId27"/>
    <p:sldLayoutId id="2147483966" r:id="rId28"/>
    <p:sldLayoutId id="2147483967" r:id="rId29"/>
    <p:sldLayoutId id="2147483968" r:id="rId30"/>
    <p:sldLayoutId id="2147483969" r:id="rId31"/>
    <p:sldLayoutId id="2147483970" r:id="rId32"/>
    <p:sldLayoutId id="2147483971" r:id="rId33"/>
    <p:sldLayoutId id="2147483972" r:id="rId34"/>
    <p:sldLayoutId id="2147483973" r:id="rId35"/>
    <p:sldLayoutId id="2147483974" r:id="rId36"/>
    <p:sldLayoutId id="2147483975" r:id="rId37"/>
    <p:sldLayoutId id="2147483976" r:id="rId38"/>
    <p:sldLayoutId id="2147483977" r:id="rId39"/>
    <p:sldLayoutId id="2147483978" r:id="rId40"/>
    <p:sldLayoutId id="2147483979" r:id="rId41"/>
    <p:sldLayoutId id="2147483980" r:id="rId42"/>
    <p:sldLayoutId id="2147483981" r:id="rId43"/>
    <p:sldLayoutId id="2147483982" r:id="rId44"/>
    <p:sldLayoutId id="2147483983" r:id="rId45"/>
    <p:sldLayoutId id="2147483984" r:id="rId46"/>
    <p:sldLayoutId id="2147483985" r:id="rId47"/>
    <p:sldLayoutId id="2147483986" r:id="rId48"/>
    <p:sldLayoutId id="2147483987" r:id="rId49"/>
    <p:sldLayoutId id="2147483988" r:id="rId50"/>
    <p:sldLayoutId id="2147483989" r:id="rId51"/>
    <p:sldLayoutId id="2147483990" r:id="rId52"/>
    <p:sldLayoutId id="2147483991" r:id="rId53"/>
    <p:sldLayoutId id="2147483992" r:id="rId5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8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​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457200" indent="-184150" algn="l" defTabSz="9144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SzPct val="9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744538" indent="-169863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2"/>
        </a:buClr>
        <a:buSzPct val="90000"/>
        <a:buFont typeface="Camphor Std" panose="020B0504030404020204" pitchFamily="34" charset="0"/>
        <a:buChar char="–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969963" indent="-166688" algn="l" defTabSz="9144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SzPct val="90000"/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1143000" indent="-138113" algn="l" defTabSz="9144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SzPct val="90000"/>
        <a:buFont typeface="Camphor Std" panose="020B0504030404020204" pitchFamily="34" charset="0"/>
        <a:buChar char="–"/>
        <a:tabLst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28600" indent="-228600" algn="l" defTabSz="914400" rtl="0" eaLnBrk="1" latinLnBrk="0" hangingPunct="1">
        <a:lnSpc>
          <a:spcPct val="100000"/>
        </a:lnSpc>
        <a:spcBef>
          <a:spcPts val="1800"/>
        </a:spcBef>
        <a:buClr>
          <a:schemeClr val="tx2"/>
        </a:buClr>
        <a:buSzPct val="90000"/>
        <a:buFont typeface="+mj-lt"/>
        <a:buAutoNum type="arabicPeriod"/>
        <a:defRPr sz="2000" kern="1200">
          <a:solidFill>
            <a:schemeClr val="tx2"/>
          </a:solidFill>
          <a:latin typeface="+mn-lt"/>
          <a:ea typeface="+mn-ea"/>
          <a:cs typeface="+mn-cs"/>
        </a:defRPr>
      </a:lvl6pPr>
      <a:lvl7pPr marL="512763" indent="-228600" algn="l" defTabSz="9144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SzPct val="90000"/>
        <a:buFont typeface="+mj-lt"/>
        <a:buAutoNum type="alphaLcPeriod"/>
        <a:defRPr sz="1600" kern="1200">
          <a:solidFill>
            <a:schemeClr val="tx2"/>
          </a:solidFill>
          <a:latin typeface="+mn-lt"/>
          <a:ea typeface="+mn-ea"/>
          <a:cs typeface="+mn-cs"/>
        </a:defRPr>
      </a:lvl7pPr>
      <a:lvl8pPr marL="741363" indent="-166688" algn="l" defTabSz="914400" rtl="0" eaLnBrk="1" latinLnBrk="0" hangingPunct="1">
        <a:lnSpc>
          <a:spcPct val="90000"/>
        </a:lnSpc>
        <a:spcBef>
          <a:spcPts val="600"/>
        </a:spcBef>
        <a:buClr>
          <a:schemeClr val="tx2"/>
        </a:buClr>
        <a:buSzPct val="90000"/>
        <a:buFont typeface="+mj-lt"/>
        <a:buAutoNum type="romanLcPeriod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284163" indent="-284163" algn="l" defTabSz="914400" rtl="0" eaLnBrk="1" latinLnBrk="0" hangingPunct="1">
        <a:lnSpc>
          <a:spcPct val="100000"/>
        </a:lnSpc>
        <a:spcBef>
          <a:spcPts val="1800"/>
        </a:spcBef>
        <a:buClr>
          <a:schemeClr val="tx2"/>
        </a:buClr>
        <a:buSzPct val="90000"/>
        <a:buFont typeface="+mj-lt"/>
        <a:buAutoNum type="alphaUcPeriod"/>
        <a:defRPr sz="20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39">
          <p15:clr>
            <a:srgbClr val="F26B43"/>
          </p15:clr>
        </p15:guide>
        <p15:guide id="3" orient="horz" pos="1872">
          <p15:clr>
            <a:srgbClr val="F26B43"/>
          </p15:clr>
        </p15:guide>
        <p15:guide id="4" orient="horz" pos="1584">
          <p15:clr>
            <a:srgbClr val="F26B43"/>
          </p15:clr>
        </p15:guide>
        <p15:guide id="5" orient="horz" pos="1296">
          <p15:clr>
            <a:srgbClr val="F26B43"/>
          </p15:clr>
        </p15:guide>
        <p15:guide id="6" orient="horz" pos="1008">
          <p15:clr>
            <a:srgbClr val="F26B43"/>
          </p15:clr>
        </p15:guide>
        <p15:guide id="7" orient="horz" pos="720">
          <p15:clr>
            <a:srgbClr val="F26B43"/>
          </p15:clr>
        </p15:guide>
        <p15:guide id="8" orient="horz" pos="576">
          <p15:clr>
            <a:srgbClr val="F26B43"/>
          </p15:clr>
        </p15:guide>
        <p15:guide id="9" orient="horz" pos="288">
          <p15:clr>
            <a:srgbClr val="F26B43"/>
          </p15:clr>
        </p15:guide>
        <p15:guide id="10" orient="horz">
          <p15:clr>
            <a:srgbClr val="F26B43"/>
          </p15:clr>
        </p15:guide>
        <p15:guide id="11" orient="horz" pos="2448">
          <p15:clr>
            <a:srgbClr val="F26B43"/>
          </p15:clr>
        </p15:guide>
        <p15:guide id="12" orient="horz" pos="2736">
          <p15:clr>
            <a:srgbClr val="F26B43"/>
          </p15:clr>
        </p15:guide>
        <p15:guide id="13" orient="horz" pos="3024">
          <p15:clr>
            <a:srgbClr val="F26B43"/>
          </p15:clr>
        </p15:guide>
        <p15:guide id="14" orient="horz" pos="3312">
          <p15:clr>
            <a:srgbClr val="F26B43"/>
          </p15:clr>
        </p15:guide>
        <p15:guide id="15" orient="horz" pos="3600">
          <p15:clr>
            <a:srgbClr val="F26B43"/>
          </p15:clr>
        </p15:guide>
        <p15:guide id="16" orient="horz" pos="3888">
          <p15:clr>
            <a:srgbClr val="F26B43"/>
          </p15:clr>
        </p15:guide>
        <p15:guide id="17" orient="horz" pos="4032">
          <p15:clr>
            <a:srgbClr val="F26B43"/>
          </p15:clr>
        </p15:guide>
        <p15:guide id="18" pos="3551">
          <p15:clr>
            <a:srgbClr val="F26B43"/>
          </p15:clr>
        </p15:guide>
        <p15:guide id="19" pos="3263">
          <p15:clr>
            <a:srgbClr val="F26B43"/>
          </p15:clr>
        </p15:guide>
        <p15:guide id="20" pos="2975">
          <p15:clr>
            <a:srgbClr val="F26B43"/>
          </p15:clr>
        </p15:guide>
        <p15:guide id="21" pos="2687">
          <p15:clr>
            <a:srgbClr val="F26B43"/>
          </p15:clr>
        </p15:guide>
        <p15:guide id="22" pos="2399">
          <p15:clr>
            <a:srgbClr val="F26B43"/>
          </p15:clr>
        </p15:guide>
        <p15:guide id="23" pos="2111">
          <p15:clr>
            <a:srgbClr val="F26B43"/>
          </p15:clr>
        </p15:guide>
        <p15:guide id="24" pos="1823">
          <p15:clr>
            <a:srgbClr val="F26B43"/>
          </p15:clr>
        </p15:guide>
        <p15:guide id="25" pos="1535">
          <p15:clr>
            <a:srgbClr val="F26B43"/>
          </p15:clr>
        </p15:guide>
        <p15:guide id="26" pos="1247">
          <p15:clr>
            <a:srgbClr val="F26B43"/>
          </p15:clr>
        </p15:guide>
        <p15:guide id="27" pos="959">
          <p15:clr>
            <a:srgbClr val="F26B43"/>
          </p15:clr>
        </p15:guide>
        <p15:guide id="28" pos="671">
          <p15:clr>
            <a:srgbClr val="F26B43"/>
          </p15:clr>
        </p15:guide>
        <p15:guide id="29" pos="383">
          <p15:clr>
            <a:srgbClr val="F26B43"/>
          </p15:clr>
        </p15:guide>
        <p15:guide id="30" pos="4127">
          <p15:clr>
            <a:srgbClr val="F26B43"/>
          </p15:clr>
        </p15:guide>
        <p15:guide id="31" pos="4415">
          <p15:clr>
            <a:srgbClr val="F26B43"/>
          </p15:clr>
        </p15:guide>
        <p15:guide id="32" pos="4703">
          <p15:clr>
            <a:srgbClr val="F26B43"/>
          </p15:clr>
        </p15:guide>
        <p15:guide id="33" pos="4991">
          <p15:clr>
            <a:srgbClr val="F26B43"/>
          </p15:clr>
        </p15:guide>
        <p15:guide id="34" pos="5279">
          <p15:clr>
            <a:srgbClr val="F26B43"/>
          </p15:clr>
        </p15:guide>
        <p15:guide id="35" pos="5567">
          <p15:clr>
            <a:srgbClr val="F26B43"/>
          </p15:clr>
        </p15:guide>
        <p15:guide id="36" pos="5855">
          <p15:clr>
            <a:srgbClr val="F26B43"/>
          </p15:clr>
        </p15:guide>
        <p15:guide id="37" pos="6143">
          <p15:clr>
            <a:srgbClr val="F26B43"/>
          </p15:clr>
        </p15:guide>
        <p15:guide id="38" pos="6431">
          <p15:clr>
            <a:srgbClr val="F26B43"/>
          </p15:clr>
        </p15:guide>
        <p15:guide id="39" pos="6719">
          <p15:clr>
            <a:srgbClr val="F26B43"/>
          </p15:clr>
        </p15:guide>
        <p15:guide id="40" pos="7007">
          <p15:clr>
            <a:srgbClr val="F26B43"/>
          </p15:clr>
        </p15:guide>
        <p15:guide id="41" pos="7295">
          <p15:clr>
            <a:srgbClr val="F26B43"/>
          </p15:clr>
        </p15:guide>
        <p15:guide id="42" pos="7678">
          <p15:clr>
            <a:srgbClr val="F26B43"/>
          </p15:clr>
        </p15:guide>
        <p15:guide id="43" orient="horz" pos="4320">
          <p15:clr>
            <a:srgbClr val="F26B43"/>
          </p15:clr>
        </p15:guide>
        <p15:guide id="4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1217089155"/>
              </p:ext>
            </p:extLst>
          </p:nvPr>
        </p:nvGraphicFramePr>
        <p:xfrm>
          <a:off x="1599" y="161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30" imgW="270" imgH="270" progId="TCLayout.ActiveDocument.1">
                  <p:embed/>
                </p:oleObj>
              </mc:Choice>
              <mc:Fallback>
                <p:oleObj name="think-cell Slide" r:id="rId30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99" y="161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1875" y="5408789"/>
            <a:ext cx="1980129" cy="1454097"/>
          </a:xfrm>
          <a:prstGeom prst="rect">
            <a:avLst/>
          </a:prstGeom>
        </p:spPr>
      </p:pic>
      <p:grpSp>
        <p:nvGrpSpPr>
          <p:cNvPr id="21" name="Group 20"/>
          <p:cNvGrpSpPr/>
          <p:nvPr/>
        </p:nvGrpSpPr>
        <p:grpSpPr>
          <a:xfrm>
            <a:off x="618042" y="6446066"/>
            <a:ext cx="1100080" cy="173355"/>
            <a:chOff x="-84138" y="5622925"/>
            <a:chExt cx="4330701" cy="682626"/>
          </a:xfrm>
        </p:grpSpPr>
        <p:sp>
          <p:nvSpPr>
            <p:cNvPr id="22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3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4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5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6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7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8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rgbClr val="717074"/>
                </a:solidFill>
                <a:latin typeface="Arial"/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11" y="330200"/>
            <a:ext cx="10972801" cy="812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11" y="1371600"/>
            <a:ext cx="10972801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1074408" y="6883401"/>
            <a:ext cx="1117600" cy="1333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106494" y="6464301"/>
            <a:ext cx="5181601" cy="149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>
                <a:solidFill>
                  <a:srgbClr val="717074">
                    <a:tint val="75000"/>
                  </a:srgbClr>
                </a:solidFill>
              </a:rPr>
              <a:t>CONFIDENTIAL</a:t>
            </a:r>
            <a:endParaRPr lang="en-US" dirty="0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00358" y="6464301"/>
            <a:ext cx="450850" cy="149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5690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6" r:id="rId16"/>
    <p:sldLayoutId id="2147483707" r:id="rId17"/>
    <p:sldLayoutId id="2147483708" r:id="rId18"/>
    <p:sldLayoutId id="2147483709" r:id="rId19"/>
    <p:sldLayoutId id="2147483710" r:id="rId20"/>
    <p:sldLayoutId id="2147483711" r:id="rId21"/>
    <p:sldLayoutId id="2147483712" r:id="rId22"/>
    <p:sldLayoutId id="2147483713" r:id="rId23"/>
    <p:sldLayoutId id="2147483714" r:id="rId24"/>
    <p:sldLayoutId id="2147483715" r:id="rId25"/>
    <p:sldLayoutId id="2147483716" r:id="rId2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2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2920" indent="-228600" algn="l" defTabSz="914400" rtl="0" eaLnBrk="1" latinLnBrk="0" hangingPunct="1">
        <a:lnSpc>
          <a:spcPct val="90000"/>
        </a:lnSpc>
        <a:spcBef>
          <a:spcPts val="8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601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887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4173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Calibri" panose="020F050202020403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6459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8745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Calibri" panose="020F050202020403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1031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1872" y="5408769"/>
            <a:ext cx="1980129" cy="1454097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330200"/>
            <a:ext cx="10972801" cy="812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371600"/>
            <a:ext cx="10972801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106491" y="6464301"/>
            <a:ext cx="5181601" cy="149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9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2388"/>
            <a:r>
              <a:rPr lang="en-US">
                <a:solidFill>
                  <a:srgbClr val="717074">
                    <a:tint val="75000"/>
                  </a:srgbClr>
                </a:solidFill>
              </a:rPr>
              <a:t>CONFIDENTIAL</a:t>
            </a:r>
            <a:endParaRPr lang="en-US" dirty="0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00348" y="6464301"/>
            <a:ext cx="450850" cy="149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998">
                <a:solidFill>
                  <a:schemeClr val="bg1"/>
                </a:solidFill>
              </a:defRPr>
            </a:lvl1pPr>
          </a:lstStyle>
          <a:p>
            <a:pPr defTabSz="912388"/>
            <a:fld id="{6EA6D8CF-3CDE-4807-BCD2-C9F2B831AAA5}" type="slidenum">
              <a:rPr lang="en-US" smtClean="0">
                <a:solidFill>
                  <a:prstClr val="white"/>
                </a:solidFill>
              </a:rPr>
              <a:pPr defTabSz="912388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56694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  <p:sldLayoutId id="2147483730" r:id="rId13"/>
    <p:sldLayoutId id="2147483731" r:id="rId14"/>
    <p:sldLayoutId id="2147483732" r:id="rId15"/>
    <p:sldLayoutId id="2147483733" r:id="rId16"/>
    <p:sldLayoutId id="2147483734" r:id="rId17"/>
    <p:sldLayoutId id="2147483735" r:id="rId18"/>
    <p:sldLayoutId id="2147483736" r:id="rId19"/>
    <p:sldLayoutId id="2147483737" r:id="rId20"/>
    <p:sldLayoutId id="2147483738" r:id="rId21"/>
    <p:sldLayoutId id="2147483739" r:id="rId22"/>
    <p:sldLayoutId id="2147483740" r:id="rId23"/>
    <p:sldLayoutId id="2147483741" r:id="rId24"/>
    <p:sldLayoutId id="2147483742" r:id="rId25"/>
    <p:sldLayoutId id="2147483743" r:id="rId2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2388" rtl="0" eaLnBrk="1" latinLnBrk="0" hangingPunct="1">
        <a:lnSpc>
          <a:spcPct val="90000"/>
        </a:lnSpc>
        <a:spcBef>
          <a:spcPct val="0"/>
        </a:spcBef>
        <a:buNone/>
        <a:defRPr sz="2794" b="1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228097" indent="-228097" algn="l" defTabSz="912388" rtl="0" eaLnBrk="1" latinLnBrk="0" hangingPunct="1">
        <a:lnSpc>
          <a:spcPct val="90000"/>
        </a:lnSpc>
        <a:spcBef>
          <a:spcPts val="1197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996" kern="1200">
          <a:solidFill>
            <a:schemeClr val="tx1"/>
          </a:solidFill>
          <a:latin typeface="+mn-lt"/>
          <a:ea typeface="+mn-ea"/>
          <a:cs typeface="+mn-cs"/>
        </a:defRPr>
      </a:lvl1pPr>
      <a:lvl2pPr marL="501814" indent="-228097" algn="l" defTabSz="912388" rtl="0" eaLnBrk="1" latinLnBrk="0" hangingPunct="1">
        <a:lnSpc>
          <a:spcPct val="90000"/>
        </a:lnSpc>
        <a:spcBef>
          <a:spcPts val="798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–"/>
        <a:defRPr sz="1796" kern="1200">
          <a:solidFill>
            <a:schemeClr val="tx1"/>
          </a:solidFill>
          <a:latin typeface="+mn-lt"/>
          <a:ea typeface="+mn-ea"/>
          <a:cs typeface="+mn-cs"/>
        </a:defRPr>
      </a:lvl2pPr>
      <a:lvl3pPr marL="729911" indent="-182478" algn="l" defTabSz="912388" rtl="0" eaLnBrk="1" latinLnBrk="0" hangingPunct="1">
        <a:lnSpc>
          <a:spcPct val="90000"/>
        </a:lnSpc>
        <a:spcBef>
          <a:spcPts val="599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596" kern="1200">
          <a:solidFill>
            <a:schemeClr val="tx1"/>
          </a:solidFill>
          <a:latin typeface="+mn-lt"/>
          <a:ea typeface="+mn-ea"/>
          <a:cs typeface="+mn-cs"/>
        </a:defRPr>
      </a:lvl3pPr>
      <a:lvl4pPr marL="958008" indent="-182478" algn="l" defTabSz="912388" rtl="0" eaLnBrk="1" latinLnBrk="0" hangingPunct="1">
        <a:lnSpc>
          <a:spcPct val="90000"/>
        </a:lnSpc>
        <a:spcBef>
          <a:spcPts val="599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–"/>
        <a:defRPr sz="1397" kern="1200">
          <a:solidFill>
            <a:schemeClr val="tx1"/>
          </a:solidFill>
          <a:latin typeface="+mn-lt"/>
          <a:ea typeface="+mn-ea"/>
          <a:cs typeface="+mn-cs"/>
        </a:defRPr>
      </a:lvl4pPr>
      <a:lvl5pPr marL="1186105" indent="-182478" algn="l" defTabSz="912388" rtl="0" eaLnBrk="1" latinLnBrk="0" hangingPunct="1">
        <a:lnSpc>
          <a:spcPct val="90000"/>
        </a:lnSpc>
        <a:spcBef>
          <a:spcPts val="599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397" kern="1200">
          <a:solidFill>
            <a:schemeClr val="tx1"/>
          </a:solidFill>
          <a:latin typeface="+mn-lt"/>
          <a:ea typeface="+mn-ea"/>
          <a:cs typeface="+mn-cs"/>
        </a:defRPr>
      </a:lvl5pPr>
      <a:lvl6pPr marL="1414202" indent="-182478" algn="l" defTabSz="912388" rtl="0" eaLnBrk="1" latinLnBrk="0" hangingPunct="1">
        <a:lnSpc>
          <a:spcPct val="90000"/>
        </a:lnSpc>
        <a:spcBef>
          <a:spcPts val="599"/>
        </a:spcBef>
        <a:buClr>
          <a:schemeClr val="tx1">
            <a:lumMod val="60000"/>
            <a:lumOff val="40000"/>
          </a:schemeClr>
        </a:buClr>
        <a:buSzPct val="90000"/>
        <a:buFont typeface="Calibri" panose="020F0502020204030204" pitchFamily="34" charset="0"/>
        <a:buChar char="–"/>
        <a:defRPr sz="1397" kern="1200">
          <a:solidFill>
            <a:schemeClr val="tx1"/>
          </a:solidFill>
          <a:latin typeface="+mn-lt"/>
          <a:ea typeface="+mn-ea"/>
          <a:cs typeface="+mn-cs"/>
        </a:defRPr>
      </a:lvl6pPr>
      <a:lvl7pPr marL="1642299" indent="-182478" algn="l" defTabSz="912388" rtl="0" eaLnBrk="1" latinLnBrk="0" hangingPunct="1">
        <a:lnSpc>
          <a:spcPct val="90000"/>
        </a:lnSpc>
        <a:spcBef>
          <a:spcPts val="599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397" kern="1200">
          <a:solidFill>
            <a:schemeClr val="tx1"/>
          </a:solidFill>
          <a:latin typeface="+mn-lt"/>
          <a:ea typeface="+mn-ea"/>
          <a:cs typeface="+mn-cs"/>
        </a:defRPr>
      </a:lvl7pPr>
      <a:lvl8pPr marL="1870396" indent="-182478" algn="l" defTabSz="912388" rtl="0" eaLnBrk="1" latinLnBrk="0" hangingPunct="1">
        <a:lnSpc>
          <a:spcPct val="90000"/>
        </a:lnSpc>
        <a:spcBef>
          <a:spcPts val="599"/>
        </a:spcBef>
        <a:buClr>
          <a:schemeClr val="tx1">
            <a:lumMod val="60000"/>
            <a:lumOff val="40000"/>
          </a:schemeClr>
        </a:buClr>
        <a:buSzPct val="90000"/>
        <a:buFont typeface="Calibri" panose="020F0502020204030204" pitchFamily="34" charset="0"/>
        <a:buChar char="–"/>
        <a:defRPr sz="1397" kern="1200">
          <a:solidFill>
            <a:schemeClr val="tx1"/>
          </a:solidFill>
          <a:latin typeface="+mn-lt"/>
          <a:ea typeface="+mn-ea"/>
          <a:cs typeface="+mn-cs"/>
        </a:defRPr>
      </a:lvl8pPr>
      <a:lvl9pPr marL="2098493" indent="-182478" algn="l" defTabSz="912388" rtl="0" eaLnBrk="1" latinLnBrk="0" hangingPunct="1">
        <a:lnSpc>
          <a:spcPct val="90000"/>
        </a:lnSpc>
        <a:spcBef>
          <a:spcPts val="599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3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2388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1pPr>
      <a:lvl2pPr marL="456194" algn="l" defTabSz="912388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2pPr>
      <a:lvl3pPr marL="912388" algn="l" defTabSz="912388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3pPr>
      <a:lvl4pPr marL="1368582" algn="l" defTabSz="912388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4pPr>
      <a:lvl5pPr marL="1824777" algn="l" defTabSz="912388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5pPr>
      <a:lvl6pPr marL="2280971" algn="l" defTabSz="912388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6pPr>
      <a:lvl7pPr marL="2737165" algn="l" defTabSz="912388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7pPr>
      <a:lvl8pPr marL="3193359" algn="l" defTabSz="912388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8pPr>
      <a:lvl9pPr marL="3649553" algn="l" defTabSz="912388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9831757" y="5562600"/>
            <a:ext cx="2360246" cy="1300264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3" y="330200"/>
            <a:ext cx="10972801" cy="812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3" y="1371600"/>
            <a:ext cx="10972801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1074402" y="6883401"/>
            <a:ext cx="1117600" cy="1333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9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0381"/>
            <a:endParaRPr lang="en-US" dirty="0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76801" y="6464301"/>
            <a:ext cx="5181601" cy="149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9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0381"/>
            <a:r>
              <a:rPr lang="en-US">
                <a:solidFill>
                  <a:srgbClr val="717074">
                    <a:tint val="75000"/>
                  </a:srgbClr>
                </a:solidFill>
              </a:rPr>
              <a:t>CONFIDENTIAL</a:t>
            </a:r>
            <a:endParaRPr lang="en-US" dirty="0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00350" y="6464301"/>
            <a:ext cx="450850" cy="149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996">
                <a:solidFill>
                  <a:schemeClr val="bg1"/>
                </a:solidFill>
              </a:defRPr>
            </a:lvl1pPr>
          </a:lstStyle>
          <a:p>
            <a:pPr defTabSz="910381"/>
            <a:fld id="{6EA6D8CF-3CDE-4807-BCD2-C9F2B831AAA5}" type="slidenum">
              <a:rPr lang="en-US" smtClean="0">
                <a:solidFill>
                  <a:prstClr val="white"/>
                </a:solidFill>
              </a:rPr>
              <a:pPr defTabSz="910381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20" name="Group 19"/>
          <p:cNvGrpSpPr/>
          <p:nvPr/>
        </p:nvGrpSpPr>
        <p:grpSpPr>
          <a:xfrm>
            <a:off x="598036" y="6446051"/>
            <a:ext cx="1466391" cy="173355"/>
            <a:chOff x="-84138" y="5622925"/>
            <a:chExt cx="4330701" cy="682626"/>
          </a:xfrm>
        </p:grpSpPr>
        <p:sp>
          <p:nvSpPr>
            <p:cNvPr id="13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  <p:sp>
          <p:nvSpPr>
            <p:cNvPr id="16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  <p:sp>
          <p:nvSpPr>
            <p:cNvPr id="17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  <p:sp>
          <p:nvSpPr>
            <p:cNvPr id="18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  <p:sp>
          <p:nvSpPr>
            <p:cNvPr id="19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381"/>
              <a:endParaRPr lang="en-US" sz="1792">
                <a:solidFill>
                  <a:srgbClr val="71707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3028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  <p:sldLayoutId id="2147483756" r:id="rId12"/>
    <p:sldLayoutId id="2147483757" r:id="rId13"/>
    <p:sldLayoutId id="2147483758" r:id="rId14"/>
    <p:sldLayoutId id="2147483759" r:id="rId15"/>
    <p:sldLayoutId id="2147483760" r:id="rId16"/>
    <p:sldLayoutId id="2147483761" r:id="rId17"/>
    <p:sldLayoutId id="2147483762" r:id="rId18"/>
    <p:sldLayoutId id="2147483763" r:id="rId19"/>
    <p:sldLayoutId id="2147483764" r:id="rId20"/>
    <p:sldLayoutId id="2147483765" r:id="rId21"/>
    <p:sldLayoutId id="2147483766" r:id="rId22"/>
    <p:sldLayoutId id="2147483767" r:id="rId23"/>
    <p:sldLayoutId id="2147483768" r:id="rId24"/>
    <p:sldLayoutId id="2147483769" r:id="rId25"/>
    <p:sldLayoutId id="2147483770" r:id="rId26"/>
  </p:sldLayoutIdLst>
  <p:hf hdr="0" dt="0"/>
  <p:txStyles>
    <p:titleStyle>
      <a:lvl1pPr algn="l" defTabSz="910381" rtl="0" eaLnBrk="1" latinLnBrk="0" hangingPunct="1">
        <a:lnSpc>
          <a:spcPct val="90000"/>
        </a:lnSpc>
        <a:spcBef>
          <a:spcPct val="0"/>
        </a:spcBef>
        <a:buNone/>
        <a:defRPr sz="2788" b="1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227595" indent="-227595" algn="l" defTabSz="910381" rtl="0" eaLnBrk="1" latinLnBrk="0" hangingPunct="1">
        <a:lnSpc>
          <a:spcPct val="90000"/>
        </a:lnSpc>
        <a:spcBef>
          <a:spcPts val="1194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992" kern="1200">
          <a:solidFill>
            <a:schemeClr val="tx1"/>
          </a:solidFill>
          <a:latin typeface="+mn-lt"/>
          <a:ea typeface="+mn-ea"/>
          <a:cs typeface="+mn-cs"/>
        </a:defRPr>
      </a:lvl1pPr>
      <a:lvl2pPr marL="500710" indent="-227595" algn="l" defTabSz="910381" rtl="0" eaLnBrk="1" latinLnBrk="0" hangingPunct="1">
        <a:lnSpc>
          <a:spcPct val="90000"/>
        </a:lnSpc>
        <a:spcBef>
          <a:spcPts val="796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–"/>
        <a:defRPr sz="1792" kern="1200">
          <a:solidFill>
            <a:schemeClr val="tx1"/>
          </a:solidFill>
          <a:latin typeface="+mn-lt"/>
          <a:ea typeface="+mn-ea"/>
          <a:cs typeface="+mn-cs"/>
        </a:defRPr>
      </a:lvl2pPr>
      <a:lvl3pPr marL="728305" indent="-182077" algn="l" defTabSz="910381" rtl="0" eaLnBrk="1" latinLnBrk="0" hangingPunct="1">
        <a:lnSpc>
          <a:spcPct val="90000"/>
        </a:lnSpc>
        <a:spcBef>
          <a:spcPts val="598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592" kern="1200">
          <a:solidFill>
            <a:schemeClr val="tx1"/>
          </a:solidFill>
          <a:latin typeface="+mn-lt"/>
          <a:ea typeface="+mn-ea"/>
          <a:cs typeface="+mn-cs"/>
        </a:defRPr>
      </a:lvl3pPr>
      <a:lvl4pPr marL="955900" indent="-182077" algn="l" defTabSz="910381" rtl="0" eaLnBrk="1" latinLnBrk="0" hangingPunct="1">
        <a:lnSpc>
          <a:spcPct val="90000"/>
        </a:lnSpc>
        <a:spcBef>
          <a:spcPts val="598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–"/>
        <a:defRPr sz="1394" kern="1200">
          <a:solidFill>
            <a:schemeClr val="tx1"/>
          </a:solidFill>
          <a:latin typeface="+mn-lt"/>
          <a:ea typeface="+mn-ea"/>
          <a:cs typeface="+mn-cs"/>
        </a:defRPr>
      </a:lvl4pPr>
      <a:lvl5pPr marL="1183496" indent="-182077" algn="l" defTabSz="910381" rtl="0" eaLnBrk="1" latinLnBrk="0" hangingPunct="1">
        <a:lnSpc>
          <a:spcPct val="90000"/>
        </a:lnSpc>
        <a:spcBef>
          <a:spcPts val="598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394" kern="1200">
          <a:solidFill>
            <a:schemeClr val="tx1"/>
          </a:solidFill>
          <a:latin typeface="+mn-lt"/>
          <a:ea typeface="+mn-ea"/>
          <a:cs typeface="+mn-cs"/>
        </a:defRPr>
      </a:lvl5pPr>
      <a:lvl6pPr marL="1411091" indent="-182077" algn="l" defTabSz="910381" rtl="0" eaLnBrk="1" latinLnBrk="0" hangingPunct="1">
        <a:lnSpc>
          <a:spcPct val="90000"/>
        </a:lnSpc>
        <a:spcBef>
          <a:spcPts val="598"/>
        </a:spcBef>
        <a:buClr>
          <a:schemeClr val="tx1">
            <a:lumMod val="60000"/>
            <a:lumOff val="40000"/>
          </a:schemeClr>
        </a:buClr>
        <a:buSzPct val="90000"/>
        <a:buFont typeface="Calibri" panose="020F0502020204030204" pitchFamily="34" charset="0"/>
        <a:buChar char="–"/>
        <a:defRPr sz="1394" kern="1200">
          <a:solidFill>
            <a:schemeClr val="tx1"/>
          </a:solidFill>
          <a:latin typeface="+mn-lt"/>
          <a:ea typeface="+mn-ea"/>
          <a:cs typeface="+mn-cs"/>
        </a:defRPr>
      </a:lvl6pPr>
      <a:lvl7pPr marL="1638686" indent="-182077" algn="l" defTabSz="910381" rtl="0" eaLnBrk="1" latinLnBrk="0" hangingPunct="1">
        <a:lnSpc>
          <a:spcPct val="90000"/>
        </a:lnSpc>
        <a:spcBef>
          <a:spcPts val="598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394" kern="1200">
          <a:solidFill>
            <a:schemeClr val="tx1"/>
          </a:solidFill>
          <a:latin typeface="+mn-lt"/>
          <a:ea typeface="+mn-ea"/>
          <a:cs typeface="+mn-cs"/>
        </a:defRPr>
      </a:lvl7pPr>
      <a:lvl8pPr marL="1866281" indent="-182077" algn="l" defTabSz="910381" rtl="0" eaLnBrk="1" latinLnBrk="0" hangingPunct="1">
        <a:lnSpc>
          <a:spcPct val="90000"/>
        </a:lnSpc>
        <a:spcBef>
          <a:spcPts val="598"/>
        </a:spcBef>
        <a:buClr>
          <a:schemeClr val="tx1">
            <a:lumMod val="60000"/>
            <a:lumOff val="40000"/>
          </a:schemeClr>
        </a:buClr>
        <a:buSzPct val="90000"/>
        <a:buFont typeface="Calibri" panose="020F0502020204030204" pitchFamily="34" charset="0"/>
        <a:buChar char="–"/>
        <a:defRPr sz="1394" kern="1200">
          <a:solidFill>
            <a:schemeClr val="tx1"/>
          </a:solidFill>
          <a:latin typeface="+mn-lt"/>
          <a:ea typeface="+mn-ea"/>
          <a:cs typeface="+mn-cs"/>
        </a:defRPr>
      </a:lvl8pPr>
      <a:lvl9pPr marL="2093876" indent="-182077" algn="l" defTabSz="910381" rtl="0" eaLnBrk="1" latinLnBrk="0" hangingPunct="1">
        <a:lnSpc>
          <a:spcPct val="90000"/>
        </a:lnSpc>
        <a:spcBef>
          <a:spcPts val="598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39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0381" rtl="0" eaLnBrk="1" latinLnBrk="0" hangingPunct="1">
        <a:defRPr sz="1792" kern="1200">
          <a:solidFill>
            <a:schemeClr val="tx1"/>
          </a:solidFill>
          <a:latin typeface="+mn-lt"/>
          <a:ea typeface="+mn-ea"/>
          <a:cs typeface="+mn-cs"/>
        </a:defRPr>
      </a:lvl1pPr>
      <a:lvl2pPr marL="455190" algn="l" defTabSz="910381" rtl="0" eaLnBrk="1" latinLnBrk="0" hangingPunct="1">
        <a:defRPr sz="1792" kern="1200">
          <a:solidFill>
            <a:schemeClr val="tx1"/>
          </a:solidFill>
          <a:latin typeface="+mn-lt"/>
          <a:ea typeface="+mn-ea"/>
          <a:cs typeface="+mn-cs"/>
        </a:defRPr>
      </a:lvl2pPr>
      <a:lvl3pPr marL="910381" algn="l" defTabSz="910381" rtl="0" eaLnBrk="1" latinLnBrk="0" hangingPunct="1">
        <a:defRPr sz="1792" kern="1200">
          <a:solidFill>
            <a:schemeClr val="tx1"/>
          </a:solidFill>
          <a:latin typeface="+mn-lt"/>
          <a:ea typeface="+mn-ea"/>
          <a:cs typeface="+mn-cs"/>
        </a:defRPr>
      </a:lvl3pPr>
      <a:lvl4pPr marL="1365571" algn="l" defTabSz="910381" rtl="0" eaLnBrk="1" latinLnBrk="0" hangingPunct="1">
        <a:defRPr sz="1792" kern="1200">
          <a:solidFill>
            <a:schemeClr val="tx1"/>
          </a:solidFill>
          <a:latin typeface="+mn-lt"/>
          <a:ea typeface="+mn-ea"/>
          <a:cs typeface="+mn-cs"/>
        </a:defRPr>
      </a:lvl4pPr>
      <a:lvl5pPr marL="1820762" algn="l" defTabSz="910381" rtl="0" eaLnBrk="1" latinLnBrk="0" hangingPunct="1">
        <a:defRPr sz="1792" kern="1200">
          <a:solidFill>
            <a:schemeClr val="tx1"/>
          </a:solidFill>
          <a:latin typeface="+mn-lt"/>
          <a:ea typeface="+mn-ea"/>
          <a:cs typeface="+mn-cs"/>
        </a:defRPr>
      </a:lvl5pPr>
      <a:lvl6pPr marL="2275953" algn="l" defTabSz="910381" rtl="0" eaLnBrk="1" latinLnBrk="0" hangingPunct="1">
        <a:defRPr sz="1792" kern="1200">
          <a:solidFill>
            <a:schemeClr val="tx1"/>
          </a:solidFill>
          <a:latin typeface="+mn-lt"/>
          <a:ea typeface="+mn-ea"/>
          <a:cs typeface="+mn-cs"/>
        </a:defRPr>
      </a:lvl6pPr>
      <a:lvl7pPr marL="2731143" algn="l" defTabSz="910381" rtl="0" eaLnBrk="1" latinLnBrk="0" hangingPunct="1">
        <a:defRPr sz="1792" kern="1200">
          <a:solidFill>
            <a:schemeClr val="tx1"/>
          </a:solidFill>
          <a:latin typeface="+mn-lt"/>
          <a:ea typeface="+mn-ea"/>
          <a:cs typeface="+mn-cs"/>
        </a:defRPr>
      </a:lvl7pPr>
      <a:lvl8pPr marL="3186334" algn="l" defTabSz="910381" rtl="0" eaLnBrk="1" latinLnBrk="0" hangingPunct="1">
        <a:defRPr sz="1792" kern="1200">
          <a:solidFill>
            <a:schemeClr val="tx1"/>
          </a:solidFill>
          <a:latin typeface="+mn-lt"/>
          <a:ea typeface="+mn-ea"/>
          <a:cs typeface="+mn-cs"/>
        </a:defRPr>
      </a:lvl8pPr>
      <a:lvl9pPr marL="3641524" algn="l" defTabSz="910381" rtl="0" eaLnBrk="1" latinLnBrk="0" hangingPunct="1">
        <a:defRPr sz="17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1873" y="5408771"/>
            <a:ext cx="1980129" cy="1454097"/>
          </a:xfrm>
          <a:prstGeom prst="rect">
            <a:avLst/>
          </a:prstGeom>
        </p:spPr>
      </p:pic>
      <p:grpSp>
        <p:nvGrpSpPr>
          <p:cNvPr id="21" name="Group 20"/>
          <p:cNvGrpSpPr/>
          <p:nvPr/>
        </p:nvGrpSpPr>
        <p:grpSpPr>
          <a:xfrm>
            <a:off x="618040" y="6446048"/>
            <a:ext cx="1100080" cy="173355"/>
            <a:chOff x="-84138" y="5622925"/>
            <a:chExt cx="4330701" cy="682626"/>
          </a:xfrm>
        </p:grpSpPr>
        <p:sp>
          <p:nvSpPr>
            <p:cNvPr id="22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23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24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25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26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27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  <p:sp>
          <p:nvSpPr>
            <p:cNvPr id="28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388"/>
              <a:endParaRPr lang="en-US" sz="1795">
                <a:solidFill>
                  <a:srgbClr val="717074"/>
                </a:solidFill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2" y="330200"/>
            <a:ext cx="10972801" cy="812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2" y="1371600"/>
            <a:ext cx="10972801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1074401" y="6883401"/>
            <a:ext cx="1117600" cy="1333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9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2388"/>
            <a:endParaRPr lang="en-US" dirty="0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106492" y="6464301"/>
            <a:ext cx="5181601" cy="149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9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2388"/>
            <a:r>
              <a:rPr lang="en-US">
                <a:solidFill>
                  <a:srgbClr val="717074">
                    <a:tint val="75000"/>
                  </a:srgbClr>
                </a:solidFill>
              </a:rPr>
              <a:t>CONFIDENTIAL - VMWARE ONLY</a:t>
            </a:r>
            <a:endParaRPr lang="en-US" dirty="0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00349" y="6464301"/>
            <a:ext cx="450850" cy="149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998">
                <a:solidFill>
                  <a:schemeClr val="bg1"/>
                </a:solidFill>
              </a:defRPr>
            </a:lvl1pPr>
          </a:lstStyle>
          <a:p>
            <a:pPr defTabSz="912388"/>
            <a:fld id="{6EA6D8CF-3CDE-4807-BCD2-C9F2B831AAA5}" type="slidenum">
              <a:rPr lang="en-US" smtClean="0">
                <a:solidFill>
                  <a:prstClr val="white"/>
                </a:solidFill>
              </a:rPr>
              <a:pPr defTabSz="912388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4374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  <p:sldLayoutId id="2147483810" r:id="rId12"/>
    <p:sldLayoutId id="2147483811" r:id="rId13"/>
    <p:sldLayoutId id="2147483812" r:id="rId14"/>
    <p:sldLayoutId id="2147483813" r:id="rId15"/>
    <p:sldLayoutId id="2147483814" r:id="rId16"/>
    <p:sldLayoutId id="2147483815" r:id="rId17"/>
    <p:sldLayoutId id="2147483816" r:id="rId18"/>
    <p:sldLayoutId id="2147483817" r:id="rId19"/>
    <p:sldLayoutId id="2147483818" r:id="rId20"/>
    <p:sldLayoutId id="2147483819" r:id="rId21"/>
    <p:sldLayoutId id="2147483820" r:id="rId22"/>
    <p:sldLayoutId id="2147483821" r:id="rId23"/>
    <p:sldLayoutId id="2147483822" r:id="rId24"/>
    <p:sldLayoutId id="2147483823" r:id="rId25"/>
    <p:sldLayoutId id="2147483824" r:id="rId26"/>
    <p:sldLayoutId id="2147483825" r:id="rId27"/>
  </p:sldLayoutIdLst>
  <p:hf hdr="0" dt="0"/>
  <p:txStyles>
    <p:titleStyle>
      <a:lvl1pPr algn="l" defTabSz="912115" rtl="0" eaLnBrk="1" latinLnBrk="0" hangingPunct="1">
        <a:lnSpc>
          <a:spcPct val="90000"/>
        </a:lnSpc>
        <a:spcBef>
          <a:spcPct val="0"/>
        </a:spcBef>
        <a:buNone/>
        <a:defRPr sz="2793" b="1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228028" indent="-228028" algn="l" defTabSz="912115" rtl="0" eaLnBrk="1" latinLnBrk="0" hangingPunct="1">
        <a:lnSpc>
          <a:spcPct val="90000"/>
        </a:lnSpc>
        <a:spcBef>
          <a:spcPts val="1197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995" kern="1200">
          <a:solidFill>
            <a:schemeClr val="tx1"/>
          </a:solidFill>
          <a:latin typeface="+mn-lt"/>
          <a:ea typeface="+mn-ea"/>
          <a:cs typeface="+mn-cs"/>
        </a:defRPr>
      </a:lvl1pPr>
      <a:lvl2pPr marL="501663" indent="-228028" algn="l" defTabSz="912115" rtl="0" eaLnBrk="1" latinLnBrk="0" hangingPunct="1">
        <a:lnSpc>
          <a:spcPct val="90000"/>
        </a:lnSpc>
        <a:spcBef>
          <a:spcPts val="798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–"/>
        <a:defRPr sz="1795" kern="1200">
          <a:solidFill>
            <a:schemeClr val="tx1"/>
          </a:solidFill>
          <a:latin typeface="+mn-lt"/>
          <a:ea typeface="+mn-ea"/>
          <a:cs typeface="+mn-cs"/>
        </a:defRPr>
      </a:lvl2pPr>
      <a:lvl3pPr marL="729692" indent="-182423" algn="l" defTabSz="912115" rtl="0" eaLnBrk="1" latinLnBrk="0" hangingPunct="1">
        <a:lnSpc>
          <a:spcPct val="90000"/>
        </a:lnSpc>
        <a:spcBef>
          <a:spcPts val="599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596" kern="1200">
          <a:solidFill>
            <a:schemeClr val="tx1"/>
          </a:solidFill>
          <a:latin typeface="+mn-lt"/>
          <a:ea typeface="+mn-ea"/>
          <a:cs typeface="+mn-cs"/>
        </a:defRPr>
      </a:lvl3pPr>
      <a:lvl4pPr marL="957720" indent="-182423" algn="l" defTabSz="912115" rtl="0" eaLnBrk="1" latinLnBrk="0" hangingPunct="1">
        <a:lnSpc>
          <a:spcPct val="90000"/>
        </a:lnSpc>
        <a:spcBef>
          <a:spcPts val="599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–"/>
        <a:defRPr sz="1397" kern="1200">
          <a:solidFill>
            <a:schemeClr val="tx1"/>
          </a:solidFill>
          <a:latin typeface="+mn-lt"/>
          <a:ea typeface="+mn-ea"/>
          <a:cs typeface="+mn-cs"/>
        </a:defRPr>
      </a:lvl4pPr>
      <a:lvl5pPr marL="1185749" indent="-182423" algn="l" defTabSz="912115" rtl="0" eaLnBrk="1" latinLnBrk="0" hangingPunct="1">
        <a:lnSpc>
          <a:spcPct val="90000"/>
        </a:lnSpc>
        <a:spcBef>
          <a:spcPts val="599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397" kern="1200">
          <a:solidFill>
            <a:schemeClr val="tx1"/>
          </a:solidFill>
          <a:latin typeface="+mn-lt"/>
          <a:ea typeface="+mn-ea"/>
          <a:cs typeface="+mn-cs"/>
        </a:defRPr>
      </a:lvl5pPr>
      <a:lvl6pPr marL="1413778" indent="-182423" algn="l" defTabSz="912115" rtl="0" eaLnBrk="1" latinLnBrk="0" hangingPunct="1">
        <a:lnSpc>
          <a:spcPct val="90000"/>
        </a:lnSpc>
        <a:spcBef>
          <a:spcPts val="599"/>
        </a:spcBef>
        <a:buClr>
          <a:schemeClr val="tx1">
            <a:lumMod val="60000"/>
            <a:lumOff val="40000"/>
          </a:schemeClr>
        </a:buClr>
        <a:buSzPct val="90000"/>
        <a:buFont typeface="Calibri" panose="020F0502020204030204" pitchFamily="34" charset="0"/>
        <a:buChar char="–"/>
        <a:defRPr sz="1397" kern="1200">
          <a:solidFill>
            <a:schemeClr val="tx1"/>
          </a:solidFill>
          <a:latin typeface="+mn-lt"/>
          <a:ea typeface="+mn-ea"/>
          <a:cs typeface="+mn-cs"/>
        </a:defRPr>
      </a:lvl6pPr>
      <a:lvl7pPr marL="1641806" indent="-182423" algn="l" defTabSz="912115" rtl="0" eaLnBrk="1" latinLnBrk="0" hangingPunct="1">
        <a:lnSpc>
          <a:spcPct val="90000"/>
        </a:lnSpc>
        <a:spcBef>
          <a:spcPts val="599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397" kern="1200">
          <a:solidFill>
            <a:schemeClr val="tx1"/>
          </a:solidFill>
          <a:latin typeface="+mn-lt"/>
          <a:ea typeface="+mn-ea"/>
          <a:cs typeface="+mn-cs"/>
        </a:defRPr>
      </a:lvl7pPr>
      <a:lvl8pPr marL="1869835" indent="-182423" algn="l" defTabSz="912115" rtl="0" eaLnBrk="1" latinLnBrk="0" hangingPunct="1">
        <a:lnSpc>
          <a:spcPct val="90000"/>
        </a:lnSpc>
        <a:spcBef>
          <a:spcPts val="599"/>
        </a:spcBef>
        <a:buClr>
          <a:schemeClr val="tx1">
            <a:lumMod val="60000"/>
            <a:lumOff val="40000"/>
          </a:schemeClr>
        </a:buClr>
        <a:buSzPct val="90000"/>
        <a:buFont typeface="Calibri" panose="020F0502020204030204" pitchFamily="34" charset="0"/>
        <a:buChar char="–"/>
        <a:defRPr sz="1397" kern="1200">
          <a:solidFill>
            <a:schemeClr val="tx1"/>
          </a:solidFill>
          <a:latin typeface="+mn-lt"/>
          <a:ea typeface="+mn-ea"/>
          <a:cs typeface="+mn-cs"/>
        </a:defRPr>
      </a:lvl8pPr>
      <a:lvl9pPr marL="2097864" indent="-182423" algn="l" defTabSz="912115" rtl="0" eaLnBrk="1" latinLnBrk="0" hangingPunct="1">
        <a:lnSpc>
          <a:spcPct val="90000"/>
        </a:lnSpc>
        <a:spcBef>
          <a:spcPts val="599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3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2115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1pPr>
      <a:lvl2pPr marL="456057" algn="l" defTabSz="912115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2pPr>
      <a:lvl3pPr marL="912115" algn="l" defTabSz="912115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3pPr>
      <a:lvl4pPr marL="1368172" algn="l" defTabSz="912115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4pPr>
      <a:lvl5pPr marL="1824229" algn="l" defTabSz="912115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5pPr>
      <a:lvl6pPr marL="2280286" algn="l" defTabSz="912115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6pPr>
      <a:lvl7pPr marL="2736344" algn="l" defTabSz="912115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7pPr>
      <a:lvl8pPr marL="3192401" algn="l" defTabSz="912115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8pPr>
      <a:lvl9pPr marL="3648459" algn="l" defTabSz="912115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9960" y="412751"/>
            <a:ext cx="11003870" cy="38100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3"/>
            <a:ext cx="10972801" cy="458046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A10A873-392A-4A19-8C2B-DD9BE8754574}"/>
              </a:ext>
            </a:extLst>
          </p:cNvPr>
          <p:cNvSpPr/>
          <p:nvPr/>
        </p:nvSpPr>
        <p:spPr bwMode="ltGray">
          <a:xfrm>
            <a:off x="-3443" y="6766560"/>
            <a:ext cx="12195441" cy="91440"/>
          </a:xfrm>
          <a:prstGeom prst="rect">
            <a:avLst/>
          </a:prstGeom>
          <a:gradFill flip="none" rotWithShape="1">
            <a:gsLst>
              <a:gs pos="0">
                <a:srgbClr val="AADB1E"/>
              </a:gs>
              <a:gs pos="25000">
                <a:schemeClr val="accent4"/>
              </a:gs>
              <a:gs pos="100000">
                <a:srgbClr val="003D79"/>
              </a:gs>
              <a:gs pos="50000">
                <a:schemeClr val="accent1"/>
              </a:gs>
              <a:gs pos="75000">
                <a:schemeClr val="accent3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EC1D3E06-3BD4-444D-80CC-06D1EF0FE80E}"/>
              </a:ext>
            </a:extLst>
          </p:cNvPr>
          <p:cNvGrpSpPr/>
          <p:nvPr/>
        </p:nvGrpSpPr>
        <p:grpSpPr bwMode="black">
          <a:xfrm>
            <a:off x="618040" y="6446045"/>
            <a:ext cx="1100079" cy="173355"/>
            <a:chOff x="-84138" y="5622925"/>
            <a:chExt cx="4330701" cy="682626"/>
          </a:xfrm>
        </p:grpSpPr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B65990C3-6A4D-4AAF-8BC8-286DA747854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1BB1B930-0B72-49D9-807B-10C096968E56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5E1DF962-E59C-4F9C-B967-2BC43B7C3DC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C586DD09-1AA3-4DE6-9C72-75B08B54381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84663C30-A17E-456F-8614-312799660BD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EB05CCD1-E6FF-4DBF-BA36-72637BFA33F2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5918E981-84A6-4893-B532-8EE3239C18E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aseline="0" dirty="0"/>
            </a:p>
          </p:txBody>
        </p:sp>
      </p:grp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A6C16E6-5A1F-46F7-8642-A7F025A5BD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5" y="7352031"/>
            <a:ext cx="41158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586C86-F823-4766-9B10-773EDC51CC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1256" y="7352031"/>
            <a:ext cx="2742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9C9BFC-FCFF-7247-B387-15C2934714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48059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  <p:sldLayoutId id="2147483832" r:id="rId6"/>
    <p:sldLayoutId id="2147483833" r:id="rId7"/>
    <p:sldLayoutId id="2147483834" r:id="rId8"/>
    <p:sldLayoutId id="2147483835" r:id="rId9"/>
    <p:sldLayoutId id="2147483836" r:id="rId10"/>
    <p:sldLayoutId id="2147483837" r:id="rId11"/>
    <p:sldLayoutId id="2147483838" r:id="rId12"/>
    <p:sldLayoutId id="2147483839" r:id="rId13"/>
    <p:sldLayoutId id="2147483840" r:id="rId14"/>
    <p:sldLayoutId id="2147483841" r:id="rId15"/>
    <p:sldLayoutId id="2147483842" r:id="rId16"/>
    <p:sldLayoutId id="2147483843" r:id="rId17"/>
    <p:sldLayoutId id="2147483844" r:id="rId18"/>
    <p:sldLayoutId id="2147483845" r:id="rId19"/>
    <p:sldLayoutId id="2147483846" r:id="rId20"/>
    <p:sldLayoutId id="2147483847" r:id="rId21"/>
    <p:sldLayoutId id="2147483848" r:id="rId22"/>
    <p:sldLayoutId id="2147483849" r:id="rId23"/>
    <p:sldLayoutId id="2147483850" r:id="rId24"/>
    <p:sldLayoutId id="2147483851" r:id="rId25"/>
    <p:sldLayoutId id="2147483852" r:id="rId26"/>
    <p:sldLayoutId id="2147483853" r:id="rId27"/>
    <p:sldLayoutId id="2147483854" r:id="rId28"/>
    <p:sldLayoutId id="2147483855" r:id="rId29"/>
    <p:sldLayoutId id="2147483856" r:id="rId30"/>
    <p:sldLayoutId id="2147483857" r:id="rId31"/>
    <p:sldLayoutId id="2147483858" r:id="rId32"/>
    <p:sldLayoutId id="2147483859" r:id="rId33"/>
    <p:sldLayoutId id="2147483860" r:id="rId34"/>
    <p:sldLayoutId id="2147483861" r:id="rId3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8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​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457200" indent="-184150" algn="l" defTabSz="9144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SzPct val="9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744538" indent="-169863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2"/>
        </a:buClr>
        <a:buSzPct val="90000"/>
        <a:buFont typeface="Camphor Std" panose="020B0504030404020204" pitchFamily="34" charset="0"/>
        <a:buChar char="–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969963" indent="-166688" algn="l" defTabSz="9144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SzPct val="90000"/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1143000" indent="-138113" algn="l" defTabSz="9144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SzPct val="90000"/>
        <a:buFont typeface="Camphor Std" panose="020B0504030404020204" pitchFamily="34" charset="0"/>
        <a:buChar char="–"/>
        <a:tabLst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28600" indent="-228600" algn="l" defTabSz="914400" rtl="0" eaLnBrk="1" latinLnBrk="0" hangingPunct="1">
        <a:lnSpc>
          <a:spcPct val="100000"/>
        </a:lnSpc>
        <a:spcBef>
          <a:spcPts val="1800"/>
        </a:spcBef>
        <a:buClr>
          <a:schemeClr val="tx2"/>
        </a:buClr>
        <a:buSzPct val="90000"/>
        <a:buFont typeface="+mj-lt"/>
        <a:buAutoNum type="arabicPeriod"/>
        <a:defRPr sz="2000" kern="1200">
          <a:solidFill>
            <a:schemeClr val="tx2"/>
          </a:solidFill>
          <a:latin typeface="+mn-lt"/>
          <a:ea typeface="+mn-ea"/>
          <a:cs typeface="+mn-cs"/>
        </a:defRPr>
      </a:lvl6pPr>
      <a:lvl7pPr marL="512763" indent="-228600" algn="l" defTabSz="9144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SzPct val="90000"/>
        <a:buFont typeface="+mj-lt"/>
        <a:buAutoNum type="alphaLcPeriod"/>
        <a:defRPr sz="1600" kern="1200">
          <a:solidFill>
            <a:schemeClr val="tx2"/>
          </a:solidFill>
          <a:latin typeface="+mn-lt"/>
          <a:ea typeface="+mn-ea"/>
          <a:cs typeface="+mn-cs"/>
        </a:defRPr>
      </a:lvl7pPr>
      <a:lvl8pPr marL="741363" indent="-166688" algn="l" defTabSz="914400" rtl="0" eaLnBrk="1" latinLnBrk="0" hangingPunct="1">
        <a:lnSpc>
          <a:spcPct val="90000"/>
        </a:lnSpc>
        <a:spcBef>
          <a:spcPts val="600"/>
        </a:spcBef>
        <a:buClr>
          <a:schemeClr val="tx2"/>
        </a:buClr>
        <a:buSzPct val="90000"/>
        <a:buFont typeface="+mj-lt"/>
        <a:buAutoNum type="romanLcPeriod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284163" indent="-284163" algn="l" defTabSz="914400" rtl="0" eaLnBrk="1" latinLnBrk="0" hangingPunct="1">
        <a:lnSpc>
          <a:spcPct val="100000"/>
        </a:lnSpc>
        <a:spcBef>
          <a:spcPts val="1800"/>
        </a:spcBef>
        <a:buClr>
          <a:schemeClr val="tx2"/>
        </a:buClr>
        <a:buSzPct val="90000"/>
        <a:buFont typeface="+mj-lt"/>
        <a:buAutoNum type="alphaUcPeriod"/>
        <a:defRPr sz="20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39">
          <p15:clr>
            <a:srgbClr val="F26B43"/>
          </p15:clr>
        </p15:guide>
        <p15:guide id="3" orient="horz" pos="1872">
          <p15:clr>
            <a:srgbClr val="F26B43"/>
          </p15:clr>
        </p15:guide>
        <p15:guide id="4" orient="horz" pos="1584">
          <p15:clr>
            <a:srgbClr val="F26B43"/>
          </p15:clr>
        </p15:guide>
        <p15:guide id="5" orient="horz" pos="1296">
          <p15:clr>
            <a:srgbClr val="F26B43"/>
          </p15:clr>
        </p15:guide>
        <p15:guide id="6" orient="horz" pos="1008">
          <p15:clr>
            <a:srgbClr val="F26B43"/>
          </p15:clr>
        </p15:guide>
        <p15:guide id="7" orient="horz" pos="720">
          <p15:clr>
            <a:srgbClr val="F26B43"/>
          </p15:clr>
        </p15:guide>
        <p15:guide id="8" orient="horz" pos="576">
          <p15:clr>
            <a:srgbClr val="F26B43"/>
          </p15:clr>
        </p15:guide>
        <p15:guide id="9" orient="horz" pos="288">
          <p15:clr>
            <a:srgbClr val="F26B43"/>
          </p15:clr>
        </p15:guide>
        <p15:guide id="10" orient="horz">
          <p15:clr>
            <a:srgbClr val="F26B43"/>
          </p15:clr>
        </p15:guide>
        <p15:guide id="11" orient="horz" pos="2448">
          <p15:clr>
            <a:srgbClr val="F26B43"/>
          </p15:clr>
        </p15:guide>
        <p15:guide id="12" orient="horz" pos="2736">
          <p15:clr>
            <a:srgbClr val="F26B43"/>
          </p15:clr>
        </p15:guide>
        <p15:guide id="13" orient="horz" pos="3024">
          <p15:clr>
            <a:srgbClr val="F26B43"/>
          </p15:clr>
        </p15:guide>
        <p15:guide id="14" orient="horz" pos="3312">
          <p15:clr>
            <a:srgbClr val="F26B43"/>
          </p15:clr>
        </p15:guide>
        <p15:guide id="15" orient="horz" pos="3600">
          <p15:clr>
            <a:srgbClr val="F26B43"/>
          </p15:clr>
        </p15:guide>
        <p15:guide id="16" orient="horz" pos="3888">
          <p15:clr>
            <a:srgbClr val="F26B43"/>
          </p15:clr>
        </p15:guide>
        <p15:guide id="17" orient="horz" pos="4032">
          <p15:clr>
            <a:srgbClr val="F26B43"/>
          </p15:clr>
        </p15:guide>
        <p15:guide id="18" pos="3551">
          <p15:clr>
            <a:srgbClr val="F26B43"/>
          </p15:clr>
        </p15:guide>
        <p15:guide id="19" pos="3263">
          <p15:clr>
            <a:srgbClr val="F26B43"/>
          </p15:clr>
        </p15:guide>
        <p15:guide id="20" pos="2975">
          <p15:clr>
            <a:srgbClr val="F26B43"/>
          </p15:clr>
        </p15:guide>
        <p15:guide id="21" pos="2687">
          <p15:clr>
            <a:srgbClr val="F26B43"/>
          </p15:clr>
        </p15:guide>
        <p15:guide id="22" pos="2399">
          <p15:clr>
            <a:srgbClr val="F26B43"/>
          </p15:clr>
        </p15:guide>
        <p15:guide id="23" pos="2111">
          <p15:clr>
            <a:srgbClr val="F26B43"/>
          </p15:clr>
        </p15:guide>
        <p15:guide id="24" pos="1823">
          <p15:clr>
            <a:srgbClr val="F26B43"/>
          </p15:clr>
        </p15:guide>
        <p15:guide id="25" pos="1535">
          <p15:clr>
            <a:srgbClr val="F26B43"/>
          </p15:clr>
        </p15:guide>
        <p15:guide id="26" pos="1247">
          <p15:clr>
            <a:srgbClr val="F26B43"/>
          </p15:clr>
        </p15:guide>
        <p15:guide id="27" pos="959">
          <p15:clr>
            <a:srgbClr val="F26B43"/>
          </p15:clr>
        </p15:guide>
        <p15:guide id="28" pos="671">
          <p15:clr>
            <a:srgbClr val="F26B43"/>
          </p15:clr>
        </p15:guide>
        <p15:guide id="29" pos="383">
          <p15:clr>
            <a:srgbClr val="F26B43"/>
          </p15:clr>
        </p15:guide>
        <p15:guide id="30" pos="4127">
          <p15:clr>
            <a:srgbClr val="F26B43"/>
          </p15:clr>
        </p15:guide>
        <p15:guide id="31" pos="4415">
          <p15:clr>
            <a:srgbClr val="F26B43"/>
          </p15:clr>
        </p15:guide>
        <p15:guide id="32" pos="4703">
          <p15:clr>
            <a:srgbClr val="F26B43"/>
          </p15:clr>
        </p15:guide>
        <p15:guide id="33" pos="4991">
          <p15:clr>
            <a:srgbClr val="F26B43"/>
          </p15:clr>
        </p15:guide>
        <p15:guide id="34" pos="5279">
          <p15:clr>
            <a:srgbClr val="F26B43"/>
          </p15:clr>
        </p15:guide>
        <p15:guide id="35" pos="5567">
          <p15:clr>
            <a:srgbClr val="F26B43"/>
          </p15:clr>
        </p15:guide>
        <p15:guide id="36" pos="5855">
          <p15:clr>
            <a:srgbClr val="F26B43"/>
          </p15:clr>
        </p15:guide>
        <p15:guide id="37" pos="6143">
          <p15:clr>
            <a:srgbClr val="F26B43"/>
          </p15:clr>
        </p15:guide>
        <p15:guide id="38" pos="6431">
          <p15:clr>
            <a:srgbClr val="F26B43"/>
          </p15:clr>
        </p15:guide>
        <p15:guide id="39" pos="6719">
          <p15:clr>
            <a:srgbClr val="F26B43"/>
          </p15:clr>
        </p15:guide>
        <p15:guide id="40" pos="7007">
          <p15:clr>
            <a:srgbClr val="F26B43"/>
          </p15:clr>
        </p15:guide>
        <p15:guide id="41" pos="7295">
          <p15:clr>
            <a:srgbClr val="F26B43"/>
          </p15:clr>
        </p15:guide>
        <p15:guide id="42" pos="7678">
          <p15:clr>
            <a:srgbClr val="F26B43"/>
          </p15:clr>
        </p15:guide>
        <p15:guide id="43" orient="horz" pos="4320">
          <p15:clr>
            <a:srgbClr val="F26B43"/>
          </p15:clr>
        </p15:guide>
        <p15:guide id="44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68450DCA-9700-4C93-9CAA-A9FF31B0A6A3}"/>
              </a:ext>
            </a:extLst>
          </p:cNvPr>
          <p:cNvPicPr>
            <a:picLocks noChangeAspect="1"/>
          </p:cNvPicPr>
          <p:nvPr/>
        </p:nvPicPr>
        <p:blipFill>
          <a:blip r:embed="rId50">
            <a:extLs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-1" y="6766561"/>
            <a:ext cx="12192000" cy="95225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9960" y="412751"/>
            <a:ext cx="11003870" cy="38100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3"/>
            <a:ext cx="10972801" cy="458046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A6C16E6-5A1F-46F7-8642-A7F025A5BD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65" y="7352031"/>
            <a:ext cx="41158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586C86-F823-4766-9B10-773EDC51CC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1256" y="7352031"/>
            <a:ext cx="2742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9C9BFC-FCFF-7247-B387-15C2934714B0}" type="slidenum">
              <a:rPr lang="en-US" smtClean="0"/>
              <a:t>‹#›</a:t>
            </a:fld>
            <a:endParaRPr lang="en-US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485A9D7-B248-4F26-9897-A1C7A54FAF89}"/>
              </a:ext>
            </a:extLst>
          </p:cNvPr>
          <p:cNvGrpSpPr/>
          <p:nvPr/>
        </p:nvGrpSpPr>
        <p:grpSpPr>
          <a:xfrm>
            <a:off x="608171" y="6445106"/>
            <a:ext cx="1184706" cy="186690"/>
            <a:chOff x="863272" y="6563918"/>
            <a:chExt cx="861082" cy="135727"/>
          </a:xfrm>
          <a:solidFill>
            <a:schemeClr val="bg1"/>
          </a:solidFill>
        </p:grpSpPr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3813DC77-8C0C-44B4-AE3B-61F5A80140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963" y="6569284"/>
              <a:ext cx="181812" cy="128783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id="{4D7DC1A2-819A-4366-8BE9-387CC00090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9084" y="6569284"/>
              <a:ext cx="70389" cy="128783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0373EF47-4DA1-4EF4-AE4F-54BCB38FC2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77894" y="6569284"/>
              <a:ext cx="115211" cy="130361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ABC15050-D5E4-4FBD-806D-1CEC1AF606F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77775" y="6569284"/>
              <a:ext cx="108898" cy="130361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31" name="Freeform 10">
              <a:extLst>
                <a:ext uri="{FF2B5EF4-FFF2-40B4-BE49-F238E27FC236}">
                  <a16:creationId xmlns:a16="http://schemas.microsoft.com/office/drawing/2014/main" id="{953BA047-B60F-46CD-AFCB-49101F4D74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3272" y="6563918"/>
              <a:ext cx="325115" cy="135727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E5E07D7E-E36B-4549-9FB3-3BA1E225948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94683" y="6569284"/>
              <a:ext cx="29671" cy="31249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  <p:sp>
          <p:nvSpPr>
            <p:cNvPr id="33" name="Freeform 12">
              <a:extLst>
                <a:ext uri="{FF2B5EF4-FFF2-40B4-BE49-F238E27FC236}">
                  <a16:creationId xmlns:a16="http://schemas.microsoft.com/office/drawing/2014/main" id="{3352F97F-F3A2-4B3E-9917-55B62713FDC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3521" y="6576859"/>
              <a:ext cx="12626" cy="15151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baseline="0" dirty="0"/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20A2C43B-3928-4C21-81F0-0AA332C8F322}"/>
              </a:ext>
            </a:extLst>
          </p:cNvPr>
          <p:cNvSpPr txBox="1"/>
          <p:nvPr/>
        </p:nvSpPr>
        <p:spPr bwMode="white">
          <a:xfrm flipH="1">
            <a:off x="2074133" y="6506318"/>
            <a:ext cx="1729338" cy="18669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nfidential</a:t>
            </a:r>
            <a:r>
              <a:rPr lang="en-US" sz="8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 │  </a:t>
            </a:r>
            <a:r>
              <a:rPr lang="en-US" sz="8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19 VMware, Inc.</a:t>
            </a:r>
          </a:p>
        </p:txBody>
      </p:sp>
    </p:spTree>
    <p:extLst>
      <p:ext uri="{BB962C8B-B14F-4D97-AF65-F5344CB8AC3E}">
        <p14:creationId xmlns:p14="http://schemas.microsoft.com/office/powerpoint/2010/main" val="2076142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3" r:id="rId1"/>
    <p:sldLayoutId id="2147483864" r:id="rId2"/>
    <p:sldLayoutId id="2147483865" r:id="rId3"/>
    <p:sldLayoutId id="2147483866" r:id="rId4"/>
    <p:sldLayoutId id="2147483867" r:id="rId5"/>
    <p:sldLayoutId id="2147483868" r:id="rId6"/>
    <p:sldLayoutId id="2147483869" r:id="rId7"/>
    <p:sldLayoutId id="2147483870" r:id="rId8"/>
    <p:sldLayoutId id="2147483871" r:id="rId9"/>
    <p:sldLayoutId id="2147483872" r:id="rId10"/>
    <p:sldLayoutId id="2147483873" r:id="rId11"/>
    <p:sldLayoutId id="2147483874" r:id="rId12"/>
    <p:sldLayoutId id="2147483875" r:id="rId13"/>
    <p:sldLayoutId id="2147483876" r:id="rId14"/>
    <p:sldLayoutId id="2147483877" r:id="rId15"/>
    <p:sldLayoutId id="2147483878" r:id="rId16"/>
    <p:sldLayoutId id="2147483879" r:id="rId17"/>
    <p:sldLayoutId id="2147483880" r:id="rId18"/>
    <p:sldLayoutId id="2147483881" r:id="rId19"/>
    <p:sldLayoutId id="2147483882" r:id="rId20"/>
    <p:sldLayoutId id="2147483883" r:id="rId21"/>
    <p:sldLayoutId id="2147483884" r:id="rId22"/>
    <p:sldLayoutId id="2147483885" r:id="rId23"/>
    <p:sldLayoutId id="2147483886" r:id="rId24"/>
    <p:sldLayoutId id="2147483887" r:id="rId25"/>
    <p:sldLayoutId id="2147483888" r:id="rId26"/>
    <p:sldLayoutId id="2147483889" r:id="rId27"/>
    <p:sldLayoutId id="2147483890" r:id="rId28"/>
    <p:sldLayoutId id="2147483891" r:id="rId29"/>
    <p:sldLayoutId id="2147483892" r:id="rId30"/>
    <p:sldLayoutId id="2147483893" r:id="rId31"/>
    <p:sldLayoutId id="2147483894" r:id="rId32"/>
    <p:sldLayoutId id="2147483895" r:id="rId33"/>
    <p:sldLayoutId id="2147483896" r:id="rId34"/>
    <p:sldLayoutId id="2147483897" r:id="rId35"/>
    <p:sldLayoutId id="2147483898" r:id="rId36"/>
    <p:sldLayoutId id="2147483899" r:id="rId37"/>
    <p:sldLayoutId id="2147483900" r:id="rId38"/>
    <p:sldLayoutId id="2147483901" r:id="rId39"/>
    <p:sldLayoutId id="2147483902" r:id="rId40"/>
    <p:sldLayoutId id="2147483903" r:id="rId41"/>
    <p:sldLayoutId id="2147483904" r:id="rId42"/>
    <p:sldLayoutId id="2147483905" r:id="rId43"/>
    <p:sldLayoutId id="2147483906" r:id="rId44"/>
    <p:sldLayoutId id="2147483907" r:id="rId45"/>
    <p:sldLayoutId id="2147483908" r:id="rId46"/>
    <p:sldLayoutId id="2147483909" r:id="rId47"/>
    <p:sldLayoutId id="2147483910" r:id="rId4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8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​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457200" indent="-184150" algn="l" defTabSz="9144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SzPct val="9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744538" indent="-169863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2"/>
        </a:buClr>
        <a:buSzPct val="90000"/>
        <a:buFont typeface="Camphor Std" panose="020B0504030404020204" pitchFamily="34" charset="0"/>
        <a:buChar char="–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969963" indent="-166688" algn="l" defTabSz="9144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SzPct val="90000"/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1143000" indent="-138113" algn="l" defTabSz="9144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SzPct val="90000"/>
        <a:buFont typeface="Camphor Std" panose="020B0504030404020204" pitchFamily="34" charset="0"/>
        <a:buChar char="–"/>
        <a:tabLst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28600" indent="-228600" algn="l" defTabSz="914400" rtl="0" eaLnBrk="1" latinLnBrk="0" hangingPunct="1">
        <a:lnSpc>
          <a:spcPct val="100000"/>
        </a:lnSpc>
        <a:spcBef>
          <a:spcPts val="1800"/>
        </a:spcBef>
        <a:buClr>
          <a:schemeClr val="tx2"/>
        </a:buClr>
        <a:buSzPct val="90000"/>
        <a:buFont typeface="+mj-lt"/>
        <a:buAutoNum type="arabicPeriod"/>
        <a:defRPr sz="2000" kern="1200">
          <a:solidFill>
            <a:schemeClr val="tx2"/>
          </a:solidFill>
          <a:latin typeface="+mn-lt"/>
          <a:ea typeface="+mn-ea"/>
          <a:cs typeface="+mn-cs"/>
        </a:defRPr>
      </a:lvl6pPr>
      <a:lvl7pPr marL="512763" indent="-228600" algn="l" defTabSz="9144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SzPct val="90000"/>
        <a:buFont typeface="+mj-lt"/>
        <a:buAutoNum type="alphaLcPeriod"/>
        <a:defRPr sz="1600" kern="1200">
          <a:solidFill>
            <a:schemeClr val="tx2"/>
          </a:solidFill>
          <a:latin typeface="+mn-lt"/>
          <a:ea typeface="+mn-ea"/>
          <a:cs typeface="+mn-cs"/>
        </a:defRPr>
      </a:lvl7pPr>
      <a:lvl8pPr marL="741363" indent="-166688" algn="l" defTabSz="914400" rtl="0" eaLnBrk="1" latinLnBrk="0" hangingPunct="1">
        <a:lnSpc>
          <a:spcPct val="90000"/>
        </a:lnSpc>
        <a:spcBef>
          <a:spcPts val="600"/>
        </a:spcBef>
        <a:buClr>
          <a:schemeClr val="tx2"/>
        </a:buClr>
        <a:buSzPct val="90000"/>
        <a:buFont typeface="+mj-lt"/>
        <a:buAutoNum type="romanLcPeriod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284163" indent="-284163" algn="l" defTabSz="914400" rtl="0" eaLnBrk="1" latinLnBrk="0" hangingPunct="1">
        <a:lnSpc>
          <a:spcPct val="100000"/>
        </a:lnSpc>
        <a:spcBef>
          <a:spcPts val="1800"/>
        </a:spcBef>
        <a:buClr>
          <a:schemeClr val="tx2"/>
        </a:buClr>
        <a:buSzPct val="90000"/>
        <a:buFont typeface="+mj-lt"/>
        <a:buAutoNum type="alphaUcPeriod"/>
        <a:defRPr sz="20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39">
          <p15:clr>
            <a:srgbClr val="F26B43"/>
          </p15:clr>
        </p15:guide>
        <p15:guide id="3" orient="horz" pos="1872">
          <p15:clr>
            <a:srgbClr val="F26B43"/>
          </p15:clr>
        </p15:guide>
        <p15:guide id="4" orient="horz" pos="1584">
          <p15:clr>
            <a:srgbClr val="F26B43"/>
          </p15:clr>
        </p15:guide>
        <p15:guide id="5" orient="horz" pos="1296">
          <p15:clr>
            <a:srgbClr val="F26B43"/>
          </p15:clr>
        </p15:guide>
        <p15:guide id="6" orient="horz" pos="1008">
          <p15:clr>
            <a:srgbClr val="F26B43"/>
          </p15:clr>
        </p15:guide>
        <p15:guide id="7" orient="horz" pos="720">
          <p15:clr>
            <a:srgbClr val="F26B43"/>
          </p15:clr>
        </p15:guide>
        <p15:guide id="8" orient="horz" pos="576">
          <p15:clr>
            <a:srgbClr val="F26B43"/>
          </p15:clr>
        </p15:guide>
        <p15:guide id="9" orient="horz" pos="288">
          <p15:clr>
            <a:srgbClr val="F26B43"/>
          </p15:clr>
        </p15:guide>
        <p15:guide id="10" orient="horz">
          <p15:clr>
            <a:srgbClr val="F26B43"/>
          </p15:clr>
        </p15:guide>
        <p15:guide id="11" orient="horz" pos="2448">
          <p15:clr>
            <a:srgbClr val="F26B43"/>
          </p15:clr>
        </p15:guide>
        <p15:guide id="12" orient="horz" pos="2736">
          <p15:clr>
            <a:srgbClr val="F26B43"/>
          </p15:clr>
        </p15:guide>
        <p15:guide id="13" orient="horz" pos="3024">
          <p15:clr>
            <a:srgbClr val="F26B43"/>
          </p15:clr>
        </p15:guide>
        <p15:guide id="14" orient="horz" pos="3312">
          <p15:clr>
            <a:srgbClr val="F26B43"/>
          </p15:clr>
        </p15:guide>
        <p15:guide id="15" orient="horz" pos="3600">
          <p15:clr>
            <a:srgbClr val="F26B43"/>
          </p15:clr>
        </p15:guide>
        <p15:guide id="16" orient="horz" pos="3888">
          <p15:clr>
            <a:srgbClr val="F26B43"/>
          </p15:clr>
        </p15:guide>
        <p15:guide id="17" orient="horz" pos="4032">
          <p15:clr>
            <a:srgbClr val="F26B43"/>
          </p15:clr>
        </p15:guide>
        <p15:guide id="18" pos="3551">
          <p15:clr>
            <a:srgbClr val="F26B43"/>
          </p15:clr>
        </p15:guide>
        <p15:guide id="19" pos="3263">
          <p15:clr>
            <a:srgbClr val="F26B43"/>
          </p15:clr>
        </p15:guide>
        <p15:guide id="20" pos="2975">
          <p15:clr>
            <a:srgbClr val="F26B43"/>
          </p15:clr>
        </p15:guide>
        <p15:guide id="21" pos="2687">
          <p15:clr>
            <a:srgbClr val="F26B43"/>
          </p15:clr>
        </p15:guide>
        <p15:guide id="22" pos="2399">
          <p15:clr>
            <a:srgbClr val="F26B43"/>
          </p15:clr>
        </p15:guide>
        <p15:guide id="23" pos="2111">
          <p15:clr>
            <a:srgbClr val="F26B43"/>
          </p15:clr>
        </p15:guide>
        <p15:guide id="24" pos="1823">
          <p15:clr>
            <a:srgbClr val="F26B43"/>
          </p15:clr>
        </p15:guide>
        <p15:guide id="25" pos="1535">
          <p15:clr>
            <a:srgbClr val="F26B43"/>
          </p15:clr>
        </p15:guide>
        <p15:guide id="26" pos="1247">
          <p15:clr>
            <a:srgbClr val="F26B43"/>
          </p15:clr>
        </p15:guide>
        <p15:guide id="27" pos="959">
          <p15:clr>
            <a:srgbClr val="F26B43"/>
          </p15:clr>
        </p15:guide>
        <p15:guide id="28" pos="671">
          <p15:clr>
            <a:srgbClr val="F26B43"/>
          </p15:clr>
        </p15:guide>
        <p15:guide id="29" pos="383">
          <p15:clr>
            <a:srgbClr val="F26B43"/>
          </p15:clr>
        </p15:guide>
        <p15:guide id="30" pos="4127">
          <p15:clr>
            <a:srgbClr val="F26B43"/>
          </p15:clr>
        </p15:guide>
        <p15:guide id="31" pos="4415">
          <p15:clr>
            <a:srgbClr val="F26B43"/>
          </p15:clr>
        </p15:guide>
        <p15:guide id="32" pos="4703">
          <p15:clr>
            <a:srgbClr val="F26B43"/>
          </p15:clr>
        </p15:guide>
        <p15:guide id="33" pos="4991">
          <p15:clr>
            <a:srgbClr val="F26B43"/>
          </p15:clr>
        </p15:guide>
        <p15:guide id="34" pos="5279">
          <p15:clr>
            <a:srgbClr val="F26B43"/>
          </p15:clr>
        </p15:guide>
        <p15:guide id="35" pos="5567">
          <p15:clr>
            <a:srgbClr val="F26B43"/>
          </p15:clr>
        </p15:guide>
        <p15:guide id="36" pos="5855">
          <p15:clr>
            <a:srgbClr val="F26B43"/>
          </p15:clr>
        </p15:guide>
        <p15:guide id="37" pos="6143">
          <p15:clr>
            <a:srgbClr val="F26B43"/>
          </p15:clr>
        </p15:guide>
        <p15:guide id="38" pos="6431">
          <p15:clr>
            <a:srgbClr val="F26B43"/>
          </p15:clr>
        </p15:guide>
        <p15:guide id="39" pos="6719">
          <p15:clr>
            <a:srgbClr val="F26B43"/>
          </p15:clr>
        </p15:guide>
        <p15:guide id="40" pos="7007">
          <p15:clr>
            <a:srgbClr val="F26B43"/>
          </p15:clr>
        </p15:guide>
        <p15:guide id="41" pos="7295">
          <p15:clr>
            <a:srgbClr val="F26B43"/>
          </p15:clr>
        </p15:guide>
        <p15:guide id="42" pos="7678">
          <p15:clr>
            <a:srgbClr val="F26B43"/>
          </p15:clr>
        </p15:guide>
        <p15:guide id="43" orient="horz" pos="4320">
          <p15:clr>
            <a:srgbClr val="F26B43"/>
          </p15:clr>
        </p15:guide>
        <p15:guide id="44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183092"/>
            <a:ext cx="54864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66800"/>
            <a:ext cx="5486400" cy="30173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24-Sep-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18060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5" r:id="rId1"/>
    <p:sldLayoutId id="2147483916" r:id="rId2"/>
    <p:sldLayoutId id="2147483917" r:id="rId3"/>
    <p:sldLayoutId id="2147483918" r:id="rId4"/>
    <p:sldLayoutId id="2147483919" r:id="rId5"/>
    <p:sldLayoutId id="2147483920" r:id="rId6"/>
    <p:sldLayoutId id="2147483921" r:id="rId7"/>
    <p:sldLayoutId id="2147483922" r:id="rId8"/>
    <p:sldLayoutId id="2147483923" r:id="rId9"/>
    <p:sldLayoutId id="2147483924" r:id="rId10"/>
    <p:sldLayoutId id="2147483925" r:id="rId11"/>
  </p:sldLayoutIdLst>
  <p:txStyles>
    <p:titleStyle>
      <a:lvl1pPr algn="ctr" defTabSz="609630" rtl="0" eaLnBrk="1" latinLnBrk="0" hangingPunct="1">
        <a:spcBef>
          <a:spcPct val="0"/>
        </a:spcBef>
        <a:buNone/>
        <a:defRPr sz="29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11" indent="-228611" algn="l" defTabSz="609630" rtl="0" eaLnBrk="1" latinLnBrk="0" hangingPunct="1">
        <a:spcBef>
          <a:spcPct val="20000"/>
        </a:spcBef>
        <a:buFont typeface="Arial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495325" indent="-190510" algn="l" defTabSz="609630" rtl="0" eaLnBrk="1" latinLnBrk="0" hangingPunct="1">
        <a:spcBef>
          <a:spcPct val="20000"/>
        </a:spcBef>
        <a:buFont typeface="Arial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762038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66853" indent="-152408" algn="l" defTabSz="609630" rtl="0" eaLnBrk="1" latinLnBrk="0" hangingPunct="1">
        <a:spcBef>
          <a:spcPct val="20000"/>
        </a:spcBef>
        <a:buFont typeface="Arial" pitchFamily="34" charset="0"/>
        <a:buChar char="–"/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71669" indent="-152408" algn="l" defTabSz="609630" rtl="0" eaLnBrk="1" latinLnBrk="0" hangingPunct="1">
        <a:spcBef>
          <a:spcPct val="20000"/>
        </a:spcBef>
        <a:buFont typeface="Arial" pitchFamily="34" charset="0"/>
        <a:buChar char="»"/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648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1981299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28611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590930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815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63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4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926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407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9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707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8522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1" y="183092"/>
            <a:ext cx="54864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1" y="1066801"/>
            <a:ext cx="5486400" cy="30173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4800" y="4237568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24-Sep-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82801" y="4237568"/>
            <a:ext cx="1930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68800" y="4237568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41822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7" r:id="rId1"/>
    <p:sldLayoutId id="2147483928" r:id="rId2"/>
    <p:sldLayoutId id="2147483929" r:id="rId3"/>
    <p:sldLayoutId id="2147483930" r:id="rId4"/>
    <p:sldLayoutId id="2147483931" r:id="rId5"/>
    <p:sldLayoutId id="2147483932" r:id="rId6"/>
    <p:sldLayoutId id="2147483933" r:id="rId7"/>
    <p:sldLayoutId id="2147483934" r:id="rId8"/>
    <p:sldLayoutId id="2147483935" r:id="rId9"/>
    <p:sldLayoutId id="2147483936" r:id="rId10"/>
    <p:sldLayoutId id="2147483937" r:id="rId11"/>
  </p:sldLayoutIdLst>
  <p:txStyles>
    <p:titleStyle>
      <a:lvl1pPr algn="ctr" defTabSz="609448" rtl="0" eaLnBrk="1" latinLnBrk="0" hangingPunct="1">
        <a:spcBef>
          <a:spcPct val="0"/>
        </a:spcBef>
        <a:buNone/>
        <a:defRPr sz="29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43" indent="-228543" algn="l" defTabSz="609448" rtl="0" eaLnBrk="1" latinLnBrk="0" hangingPunct="1">
        <a:spcBef>
          <a:spcPct val="20000"/>
        </a:spcBef>
        <a:buFont typeface="Arial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495176" indent="-190452" algn="l" defTabSz="609448" rtl="0" eaLnBrk="1" latinLnBrk="0" hangingPunct="1">
        <a:spcBef>
          <a:spcPct val="20000"/>
        </a:spcBef>
        <a:buFont typeface="Arial" pitchFamily="34" charset="0"/>
        <a:buChar char="–"/>
        <a:defRPr sz="1866" kern="1200">
          <a:solidFill>
            <a:schemeClr val="tx1"/>
          </a:solidFill>
          <a:latin typeface="+mn-lt"/>
          <a:ea typeface="+mn-ea"/>
          <a:cs typeface="+mn-cs"/>
        </a:defRPr>
      </a:lvl2pPr>
      <a:lvl3pPr marL="761810" indent="-152362" algn="l" defTabSz="609448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66533" indent="-152362" algn="l" defTabSz="609448" rtl="0" eaLnBrk="1" latinLnBrk="0" hangingPunct="1">
        <a:spcBef>
          <a:spcPct val="20000"/>
        </a:spcBef>
        <a:buFont typeface="Arial" pitchFamily="34" charset="0"/>
        <a:buChar char="–"/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71257" indent="-152362" algn="l" defTabSz="609448" rtl="0" eaLnBrk="1" latinLnBrk="0" hangingPunct="1">
        <a:spcBef>
          <a:spcPct val="20000"/>
        </a:spcBef>
        <a:buFont typeface="Arial" pitchFamily="34" charset="0"/>
        <a:buChar char="»"/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5981" indent="-152362" algn="l" defTabSz="609448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1980705" indent="-152362" algn="l" defTabSz="609448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285429" indent="-152362" algn="l" defTabSz="609448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590152" indent="-152362" algn="l" defTabSz="609448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448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724" algn="l" defTabSz="609448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448" algn="l" defTabSz="609448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171" algn="l" defTabSz="609448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8895" algn="l" defTabSz="609448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3619" algn="l" defTabSz="609448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343" algn="l" defTabSz="609448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067" algn="l" defTabSz="609448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7790" algn="l" defTabSz="609448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2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17.xml"/><Relationship Id="rId6" Type="http://schemas.openxmlformats.org/officeDocument/2006/relationships/image" Target="../media/image70.png"/><Relationship Id="rId5" Type="http://schemas.openxmlformats.org/officeDocument/2006/relationships/image" Target="../media/image69.png"/><Relationship Id="rId4" Type="http://schemas.openxmlformats.org/officeDocument/2006/relationships/image" Target="../media/image68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2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1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1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1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1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2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1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1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tiff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2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1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1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18.xml"/><Relationship Id="rId4" Type="http://schemas.openxmlformats.org/officeDocument/2006/relationships/image" Target="../media/image75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1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218.xml"/><Relationship Id="rId4" Type="http://schemas.openxmlformats.org/officeDocument/2006/relationships/image" Target="../media/image78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21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218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21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218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2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2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218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218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218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18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https://labs.hol.vmware.com/HOL/" TargetMode="External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18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18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18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18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18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1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28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18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18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18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18.xml"/><Relationship Id="rId4" Type="http://schemas.openxmlformats.org/officeDocument/2006/relationships/image" Target="../media/image85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18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18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18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18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18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1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28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18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18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18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18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18.xml"/><Relationship Id="rId4" Type="http://schemas.openxmlformats.org/officeDocument/2006/relationships/image" Target="../media/image91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8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92.png"/><Relationship Id="rId4" Type="http://schemas.openxmlformats.org/officeDocument/2006/relationships/image" Target="../media/image82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18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8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5" Type="http://schemas.openxmlformats.org/officeDocument/2006/relationships/image" Target="../media/image94.png"/><Relationship Id="rId4" Type="http://schemas.openxmlformats.org/officeDocument/2006/relationships/image" Target="../media/image82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hyperlink" Target="https://vmware.com/go/powercli" TargetMode="External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18.xml"/><Relationship Id="rId6" Type="http://schemas.openxmlformats.org/officeDocument/2006/relationships/hyperlink" Target="https://code.vmware.com/samples" TargetMode="External"/><Relationship Id="rId5" Type="http://schemas.openxmlformats.org/officeDocument/2006/relationships/hyperlink" Target="https://github.com/vmware/PowerCLI-Example-Scripts" TargetMode="External"/><Relationship Id="rId4" Type="http://schemas.openxmlformats.org/officeDocument/2006/relationships/hyperlink" Target="https://code.vmware.com/web/code/join" TargetMode="Externa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imple-talk.com/sysadmin/powershell/the-complete-guide-to-powershell-punctuation/" TargetMode="External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18.xml"/><Relationship Id="rId4" Type="http://schemas.openxmlformats.org/officeDocument/2006/relationships/hyperlink" Target="https://code.vmware.com/tool/vmware-powercli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Windows_PowerShell" TargetMode="External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17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21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PowerShell/PowerShell" TargetMode="External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1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1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tiff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6EF07137-5EA9-4A26-9AEE-D947CFE284D0}"/>
              </a:ext>
            </a:extLst>
          </p:cNvPr>
          <p:cNvSpPr txBox="1"/>
          <p:nvPr/>
        </p:nvSpPr>
        <p:spPr>
          <a:xfrm>
            <a:off x="69574" y="1295400"/>
            <a:ext cx="11698356" cy="202119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 defTabSz="609630"/>
            <a:r>
              <a:rPr lang="en-US" sz="6267" dirty="0">
                <a:solidFill>
                  <a:prstClr val="black"/>
                </a:solidFill>
                <a:latin typeface="Dubai Medium"/>
                <a:cs typeface="Dubai Medium"/>
              </a:rPr>
              <a:t>PowerCLI Workshop</a:t>
            </a:r>
            <a:br>
              <a:rPr lang="en-US" sz="6267" dirty="0">
                <a:solidFill>
                  <a:prstClr val="black"/>
                </a:solidFill>
                <a:latin typeface="Dubai Medium"/>
                <a:cs typeface="Dubai Medium"/>
              </a:rPr>
            </a:br>
            <a:r>
              <a:rPr lang="en-US" sz="6267" dirty="0">
                <a:solidFill>
                  <a:prstClr val="black"/>
                </a:solidFill>
                <a:latin typeface="Dubai Medium"/>
                <a:cs typeface="Dubai Medium"/>
              </a:rPr>
              <a:t>From Beginner to Advanced</a:t>
            </a:r>
            <a:endParaRPr lang="en-US" sz="12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0DD8BAC-A2F5-4F32-8943-DF53A9201993}"/>
              </a:ext>
            </a:extLst>
          </p:cNvPr>
          <p:cNvSpPr txBox="1"/>
          <p:nvPr/>
        </p:nvSpPr>
        <p:spPr>
          <a:xfrm>
            <a:off x="2475346" y="4023719"/>
            <a:ext cx="7241309" cy="1323439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 defTabSz="609630"/>
            <a:r>
              <a:rPr lang="en-US" sz="4000" dirty="0">
                <a:solidFill>
                  <a:prstClr val="black"/>
                </a:solidFill>
                <a:latin typeface="Bahnschrift SemiCondensed"/>
                <a:cs typeface="Dubai Medium"/>
              </a:rPr>
              <a:t>Luc </a:t>
            </a:r>
            <a:r>
              <a:rPr lang="en-US" sz="4000" dirty="0" err="1">
                <a:solidFill>
                  <a:prstClr val="black"/>
                </a:solidFill>
                <a:latin typeface="Bahnschrift SemiCondensed"/>
                <a:cs typeface="Dubai Medium"/>
              </a:rPr>
              <a:t>Dekens</a:t>
            </a:r>
            <a:endParaRPr lang="en-US" sz="4000" dirty="0">
              <a:solidFill>
                <a:prstClr val="black"/>
              </a:solidFill>
              <a:latin typeface="Bahnschrift SemiCondensed"/>
              <a:cs typeface="Dubai Medium"/>
            </a:endParaRPr>
          </a:p>
          <a:p>
            <a:pPr algn="ctr" defTabSz="609630"/>
            <a:r>
              <a:rPr lang="en-US" sz="4000" dirty="0">
                <a:solidFill>
                  <a:prstClr val="black"/>
                </a:solidFill>
                <a:latin typeface="Bahnschrift SemiCondensed"/>
                <a:cs typeface="Dubai Medium"/>
              </a:rPr>
              <a:t>Kyle Ruddy</a:t>
            </a:r>
            <a:endParaRPr lang="en-US" sz="1200" dirty="0">
              <a:solidFill>
                <a:prstClr val="white">
                  <a:lumMod val="50000"/>
                </a:prstClr>
              </a:solidFill>
              <a:latin typeface="Bahnschrift SemiCondensed"/>
              <a:cs typeface="Dubai Medium"/>
            </a:endParaRPr>
          </a:p>
        </p:txBody>
      </p:sp>
    </p:spTree>
    <p:extLst>
      <p:ext uri="{BB962C8B-B14F-4D97-AF65-F5344CB8AC3E}">
        <p14:creationId xmlns:p14="http://schemas.microsoft.com/office/powerpoint/2010/main" val="12161356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FE5DCD3-4C54-A243-9DE0-4DB7C4E63F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93105" y="1485058"/>
            <a:ext cx="3315751" cy="479959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C7AEBA2-4ED5-2544-8361-3C3A4B18E9E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8315" y="616137"/>
            <a:ext cx="2901225" cy="272490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530BFDE-4441-D140-B831-4079130D149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8315" y="3592136"/>
            <a:ext cx="3123520" cy="264972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9ABCDE4-895D-ED46-B348-CAE079CE5A6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767536" y="1208007"/>
            <a:ext cx="2717078" cy="5076646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131109C-BAFF-2C40-9E37-191B613F82B1}"/>
              </a:ext>
            </a:extLst>
          </p:cNvPr>
          <p:cNvSpPr txBox="1"/>
          <p:nvPr/>
        </p:nvSpPr>
        <p:spPr>
          <a:xfrm>
            <a:off x="139148" y="715617"/>
            <a:ext cx="1158902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/>
              <a:t>PowerCLI Compatibility</a:t>
            </a:r>
          </a:p>
        </p:txBody>
      </p:sp>
    </p:spTree>
    <p:extLst>
      <p:ext uri="{BB962C8B-B14F-4D97-AF65-F5344CB8AC3E}">
        <p14:creationId xmlns:p14="http://schemas.microsoft.com/office/powerpoint/2010/main" val="29715034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F3E3179-3334-E846-95E4-F2D658FF78E6}"/>
              </a:ext>
            </a:extLst>
          </p:cNvPr>
          <p:cNvSpPr txBox="1"/>
          <p:nvPr/>
        </p:nvSpPr>
        <p:spPr>
          <a:xfrm>
            <a:off x="1217469" y="2721114"/>
            <a:ext cx="975706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 Lingo Dictionary</a:t>
            </a:r>
          </a:p>
        </p:txBody>
      </p:sp>
    </p:spTree>
    <p:extLst>
      <p:ext uri="{BB962C8B-B14F-4D97-AF65-F5344CB8AC3E}">
        <p14:creationId xmlns:p14="http://schemas.microsoft.com/office/powerpoint/2010/main" val="256890065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3E8D7B1-7723-6A4C-8267-1C2AB3FD7140}"/>
              </a:ext>
            </a:extLst>
          </p:cNvPr>
          <p:cNvSpPr txBox="1"/>
          <p:nvPr/>
        </p:nvSpPr>
        <p:spPr>
          <a:xfrm>
            <a:off x="139148" y="715617"/>
            <a:ext cx="1158902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mmon Term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4DB3EF-A35D-3C44-A544-904C49A90225}"/>
              </a:ext>
            </a:extLst>
          </p:cNvPr>
          <p:cNvSpPr txBox="1">
            <a:spLocks/>
          </p:cNvSpPr>
          <p:nvPr/>
        </p:nvSpPr>
        <p:spPr>
          <a:xfrm>
            <a:off x="243068" y="2016890"/>
            <a:ext cx="11485106" cy="3538958"/>
          </a:xfrm>
          <a:prstGeom prst="rect">
            <a:avLst/>
          </a:prstGeom>
        </p:spPr>
        <p:txBody>
          <a:bodyPr numCol="2"/>
          <a:lstStyle>
            <a:lvl1pPr marL="228611" indent="-228611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5325" indent="-190510" algn="l" defTabSz="6096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2038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6853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69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76484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81299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86114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90930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11" marR="0" lvl="0" indent="-228611" algn="l" defTabSz="60963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mdlet (“Command let”)</a:t>
            </a:r>
          </a:p>
          <a:p>
            <a:pPr lvl="1" indent="-228611">
              <a:buFont typeface="Arial" pitchFamily="34" charset="0"/>
              <a:buChar char="•"/>
            </a:pPr>
            <a:r>
              <a:rPr kumimoji="0" lang="en-US" sz="2534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 single command</a:t>
            </a:r>
          </a:p>
          <a:p>
            <a:pPr lvl="1" indent="-228611">
              <a:buFont typeface="Arial" pitchFamily="34" charset="0"/>
              <a:buChar char="•"/>
            </a:pPr>
            <a:r>
              <a:rPr kumimoji="0" lang="en-US" sz="2534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sually written and compiled in .NET</a:t>
            </a:r>
          </a:p>
          <a:p>
            <a:pPr marL="228611" marR="0" lvl="0" indent="-228611" algn="l" defTabSz="60963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2800" dirty="0">
                <a:solidFill>
                  <a:prstClr val="black"/>
                </a:solidFill>
                <a:latin typeface="Calibri"/>
              </a:rPr>
              <a:t>Function</a:t>
            </a:r>
          </a:p>
          <a:p>
            <a:pPr lvl="1" indent="-228611">
              <a:buFont typeface="Arial" pitchFamily="34" charset="0"/>
              <a:buChar char="•"/>
            </a:pPr>
            <a:r>
              <a:rPr lang="en-US" sz="2534" dirty="0">
                <a:solidFill>
                  <a:prstClr val="black"/>
                </a:solidFill>
              </a:rPr>
              <a:t>A single command</a:t>
            </a:r>
          </a:p>
          <a:p>
            <a:pPr lvl="1" indent="-228611">
              <a:buFont typeface="Arial" pitchFamily="34" charset="0"/>
              <a:buChar char="•"/>
            </a:pPr>
            <a:r>
              <a:rPr lang="en-US" sz="2534" dirty="0">
                <a:solidFill>
                  <a:prstClr val="black"/>
                </a:solidFill>
              </a:rPr>
              <a:t>Usually written in PowerShell</a:t>
            </a:r>
            <a:endParaRPr lang="en-US" sz="2800" dirty="0">
              <a:solidFill>
                <a:prstClr val="black"/>
              </a:solidFill>
              <a:latin typeface="Calibri"/>
            </a:endParaRPr>
          </a:p>
          <a:p>
            <a:pPr marL="228611" marR="0" lvl="0" indent="-228611" algn="l" defTabSz="60963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28611" marR="0" lvl="0" indent="-228611" algn="l" defTabSz="60963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cript</a:t>
            </a:r>
          </a:p>
          <a:p>
            <a:pPr lvl="1" indent="-228611">
              <a:buFont typeface="Arial" pitchFamily="34" charset="0"/>
              <a:buChar char="•"/>
            </a:pPr>
            <a:r>
              <a:rPr kumimoji="0" lang="en-US" sz="2534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ries of commands stored in a PS1 file</a:t>
            </a:r>
          </a:p>
          <a:p>
            <a:pPr lvl="1" indent="-228611">
              <a:buFont typeface="Arial" pitchFamily="34" charset="0"/>
              <a:buChar char="•"/>
            </a:pPr>
            <a:endParaRPr lang="en-US" sz="2534" dirty="0">
              <a:solidFill>
                <a:prstClr val="black"/>
              </a:solidFill>
              <a:latin typeface="Calibri"/>
            </a:endParaRPr>
          </a:p>
          <a:p>
            <a:r>
              <a:rPr lang="en-US" sz="2800" dirty="0">
                <a:solidFill>
                  <a:prstClr val="black"/>
                </a:solidFill>
                <a:latin typeface="Calibri"/>
              </a:rPr>
              <a:t>Module</a:t>
            </a:r>
          </a:p>
          <a:p>
            <a:pPr lvl="1" indent="-228611">
              <a:buFont typeface="Arial" pitchFamily="34" charset="0"/>
              <a:buChar char="•"/>
            </a:pPr>
            <a:r>
              <a:rPr kumimoji="0" lang="en-US" sz="2534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ckage of related commands</a:t>
            </a:r>
          </a:p>
          <a:p>
            <a:pPr marL="228611" marR="0" lvl="0" indent="-228611" algn="l" defTabSz="60963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98378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3E8D7B1-7723-6A4C-8267-1C2AB3FD7140}"/>
              </a:ext>
            </a:extLst>
          </p:cNvPr>
          <p:cNvSpPr txBox="1"/>
          <p:nvPr/>
        </p:nvSpPr>
        <p:spPr>
          <a:xfrm>
            <a:off x="139148" y="715617"/>
            <a:ext cx="1158902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/>
              <a:t>Command Structu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4DB3EF-A35D-3C44-A544-904C49A90225}"/>
              </a:ext>
            </a:extLst>
          </p:cNvPr>
          <p:cNvSpPr txBox="1">
            <a:spLocks/>
          </p:cNvSpPr>
          <p:nvPr/>
        </p:nvSpPr>
        <p:spPr>
          <a:xfrm>
            <a:off x="616666" y="2016890"/>
            <a:ext cx="8978747" cy="3538958"/>
          </a:xfrm>
          <a:prstGeom prst="rect">
            <a:avLst/>
          </a:prstGeom>
        </p:spPr>
        <p:txBody>
          <a:bodyPr/>
          <a:lstStyle>
            <a:lvl1pPr marL="228611" indent="-228611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5325" indent="-190510" algn="l" defTabSz="6096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2038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6853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69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76484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81299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86114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90930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/>
              <a:t>Cmdlets and Functions use properly formatted verbs</a:t>
            </a:r>
          </a:p>
          <a:p>
            <a:pPr lvl="1"/>
            <a:r>
              <a:rPr lang="en-US" sz="2400" dirty="0"/>
              <a:t>Use Get-Verb to see the available options</a:t>
            </a:r>
          </a:p>
          <a:p>
            <a:r>
              <a:rPr lang="en-US" sz="2800" dirty="0"/>
              <a:t>Most features follow a very simple pattern</a:t>
            </a:r>
          </a:p>
          <a:p>
            <a:pPr lvl="1"/>
            <a:r>
              <a:rPr lang="en-US" sz="2400" dirty="0"/>
              <a:t>Get = Gather data</a:t>
            </a:r>
          </a:p>
          <a:p>
            <a:pPr lvl="1"/>
            <a:r>
              <a:rPr lang="en-US" sz="2400" dirty="0"/>
              <a:t>Set = Change data</a:t>
            </a:r>
          </a:p>
          <a:p>
            <a:pPr lvl="1"/>
            <a:r>
              <a:rPr lang="en-US" sz="2400" dirty="0"/>
              <a:t>New = Create data</a:t>
            </a:r>
          </a:p>
          <a:p>
            <a:pPr lvl="1"/>
            <a:r>
              <a:rPr lang="en-US" sz="2400" dirty="0"/>
              <a:t>Remove = Delete data</a:t>
            </a:r>
          </a:p>
        </p:txBody>
      </p:sp>
    </p:spTree>
    <p:extLst>
      <p:ext uri="{BB962C8B-B14F-4D97-AF65-F5344CB8AC3E}">
        <p14:creationId xmlns:p14="http://schemas.microsoft.com/office/powerpoint/2010/main" val="279538536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D890DAC-0959-3749-8E1E-B1BE5CEE2026}"/>
              </a:ext>
            </a:extLst>
          </p:cNvPr>
          <p:cNvSpPr txBox="1"/>
          <p:nvPr/>
        </p:nvSpPr>
        <p:spPr>
          <a:xfrm>
            <a:off x="139148" y="715617"/>
            <a:ext cx="1158902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/>
              <a:t>Object Management</a:t>
            </a:r>
          </a:p>
        </p:txBody>
      </p: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173B89B4-9975-E948-9746-321FA1E6C53D}"/>
              </a:ext>
            </a:extLst>
          </p:cNvPr>
          <p:cNvSpPr txBox="1">
            <a:spLocks/>
          </p:cNvSpPr>
          <p:nvPr/>
        </p:nvSpPr>
        <p:spPr>
          <a:xfrm>
            <a:off x="608171" y="1739097"/>
            <a:ext cx="10975658" cy="4572000"/>
          </a:xfrm>
          <a:prstGeom prst="rect">
            <a:avLst/>
          </a:prstGeom>
        </p:spPr>
        <p:txBody>
          <a:bodyPr/>
          <a:lstStyle>
            <a:lvl1pPr marL="228611" indent="-228611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5325" indent="-190510" algn="l" defTabSz="6096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2038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6853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69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76484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81299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86114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90930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Variable</a:t>
            </a:r>
          </a:p>
          <a:p>
            <a:pPr lvl="1"/>
            <a:r>
              <a:rPr lang="en-US" sz="2400" dirty="0"/>
              <a:t>Saves objects for later reference</a:t>
            </a:r>
          </a:p>
          <a:p>
            <a:pPr lvl="1"/>
            <a:r>
              <a:rPr lang="en-US" sz="2400" dirty="0"/>
              <a:t>Uses ‘$’ as the initial character</a:t>
            </a:r>
          </a:p>
          <a:p>
            <a:r>
              <a:rPr lang="en-US" sz="2400" dirty="0"/>
              <a:t>Example: </a:t>
            </a:r>
            <a:r>
              <a:rPr lang="en-US" dirty="0"/>
              <a:t> </a:t>
            </a:r>
            <a:r>
              <a:rPr lang="en-US" dirty="0">
                <a:solidFill>
                  <a:srgbClr val="A82D00"/>
                </a:solidFill>
              </a:rPr>
              <a:t>$Name</a:t>
            </a:r>
            <a:r>
              <a:rPr lang="en-US" dirty="0">
                <a:solidFill>
                  <a:prstClr val="black"/>
                </a:solidFill>
              </a:rPr>
              <a:t> </a:t>
            </a:r>
            <a:r>
              <a:rPr lang="en-US" dirty="0">
                <a:solidFill>
                  <a:srgbClr val="696969"/>
                </a:solidFill>
              </a:rPr>
              <a:t>=</a:t>
            </a:r>
            <a:r>
              <a:rPr lang="en-US" dirty="0">
                <a:solidFill>
                  <a:prstClr val="black"/>
                </a:solidFill>
              </a:rPr>
              <a:t> </a:t>
            </a:r>
            <a:r>
              <a:rPr lang="en-US" dirty="0">
                <a:solidFill>
                  <a:srgbClr val="8B0000"/>
                </a:solidFill>
              </a:rPr>
              <a:t>“Kyle Ruddy”</a:t>
            </a:r>
            <a:r>
              <a:rPr lang="en-US" dirty="0">
                <a:solidFill>
                  <a:srgbClr val="8B0000"/>
                </a:solidFill>
                <a:latin typeface="Lucida Console" panose="020B0609040504020204" pitchFamily="49" charset="0"/>
              </a:rPr>
              <a:t> </a:t>
            </a:r>
          </a:p>
          <a:p>
            <a:pPr lvl="1"/>
            <a:endParaRPr lang="en-US" sz="2400" dirty="0"/>
          </a:p>
          <a:p>
            <a:r>
              <a:rPr lang="en-US" sz="2400" dirty="0"/>
              <a:t>Pipeline</a:t>
            </a:r>
          </a:p>
          <a:p>
            <a:pPr lvl="1"/>
            <a:r>
              <a:rPr lang="en-US" sz="2400" dirty="0"/>
              <a:t>Passes objects from one command to the next</a:t>
            </a:r>
          </a:p>
          <a:p>
            <a:pPr lvl="1"/>
            <a:r>
              <a:rPr lang="en-US" sz="2400" dirty="0"/>
              <a:t>Declared with ‘|’ character</a:t>
            </a:r>
          </a:p>
          <a:p>
            <a:pPr lvl="1"/>
            <a:r>
              <a:rPr lang="en-US" sz="2400" dirty="0"/>
              <a:t>Example: </a:t>
            </a:r>
            <a:r>
              <a:rPr lang="en-US" sz="2400" dirty="0">
                <a:solidFill>
                  <a:srgbClr val="0000FF"/>
                </a:solidFill>
              </a:rPr>
              <a:t>Get-User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>
                <a:solidFill>
                  <a:srgbClr val="000080"/>
                </a:solidFill>
              </a:rPr>
              <a:t>–Name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>
                <a:solidFill>
                  <a:srgbClr val="A82D00"/>
                </a:solidFill>
              </a:rPr>
              <a:t>$Name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>
                <a:solidFill>
                  <a:srgbClr val="696969"/>
                </a:solidFill>
              </a:rPr>
              <a:t>|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>
                <a:solidFill>
                  <a:srgbClr val="0000FF"/>
                </a:solidFill>
              </a:rPr>
              <a:t>Get-Beard </a:t>
            </a:r>
            <a:endParaRPr lang="en-US" sz="2400" b="1" dirty="0">
              <a:solidFill>
                <a:schemeClr val="accent4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451713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F9DFB8-8DF3-1E43-9F81-D1FE78374F35}"/>
              </a:ext>
            </a:extLst>
          </p:cNvPr>
          <p:cNvSpPr txBox="1">
            <a:spLocks/>
          </p:cNvSpPr>
          <p:nvPr/>
        </p:nvSpPr>
        <p:spPr>
          <a:xfrm>
            <a:off x="609600" y="1752575"/>
            <a:ext cx="10972800" cy="4572000"/>
          </a:xfrm>
          <a:prstGeom prst="rect">
            <a:avLst/>
          </a:prstGeom>
        </p:spPr>
        <p:txBody>
          <a:bodyPr/>
          <a:lstStyle>
            <a:lvl1pPr marL="306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PowerShell and PowerCLI work with objects</a:t>
            </a:r>
          </a:p>
          <a:p>
            <a:pPr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Not all objects are equal</a:t>
            </a:r>
          </a:p>
          <a:p>
            <a:pPr marL="648900" lvl="2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200" dirty="0" err="1">
                <a:solidFill>
                  <a:schemeClr val="tx1"/>
                </a:solidFill>
              </a:rPr>
              <a:t>.Net</a:t>
            </a:r>
            <a:r>
              <a:rPr lang="en-US" sz="2200" dirty="0">
                <a:solidFill>
                  <a:schemeClr val="tx1"/>
                </a:solidFill>
              </a:rPr>
              <a:t> objects</a:t>
            </a:r>
          </a:p>
          <a:p>
            <a:pPr marL="648900" lvl="2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chemeClr val="tx1"/>
                </a:solidFill>
              </a:rPr>
              <a:t>vSphere object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B4D63D06-69EA-B74A-B971-46EAD619CC3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6358441"/>
              </p:ext>
            </p:extLst>
          </p:nvPr>
        </p:nvGraphicFramePr>
        <p:xfrm>
          <a:off x="1532042" y="3947279"/>
          <a:ext cx="8125884" cy="23772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2942">
                  <a:extLst>
                    <a:ext uri="{9D8B030D-6E8A-4147-A177-3AD203B41FA5}">
                      <a16:colId xmlns:a16="http://schemas.microsoft.com/office/drawing/2014/main" val="2252127476"/>
                    </a:ext>
                  </a:extLst>
                </a:gridCol>
                <a:gridCol w="4062942">
                  <a:extLst>
                    <a:ext uri="{9D8B030D-6E8A-4147-A177-3AD203B41FA5}">
                      <a16:colId xmlns:a16="http://schemas.microsoft.com/office/drawing/2014/main" val="2765844377"/>
                    </a:ext>
                  </a:extLst>
                </a:gridCol>
              </a:tblGrid>
              <a:tr h="370743">
                <a:tc>
                  <a:txBody>
                    <a:bodyPr/>
                    <a:lstStyle/>
                    <a:p>
                      <a:r>
                        <a:rPr lang="en-US" sz="2000" dirty="0" err="1"/>
                        <a:t>.Net</a:t>
                      </a:r>
                      <a:r>
                        <a:rPr lang="en-US" sz="2000" dirty="0"/>
                        <a:t> objects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vSphere objects</a:t>
                      </a:r>
                    </a:p>
                  </a:txBody>
                  <a:tcPr marL="91416" marR="91416" marT="45708" marB="45708"/>
                </a:tc>
                <a:extLst>
                  <a:ext uri="{0D108BD9-81ED-4DB2-BD59-A6C34878D82A}">
                    <a16:rowId xmlns:a16="http://schemas.microsoft.com/office/drawing/2014/main" val="1157362127"/>
                  </a:ext>
                </a:extLst>
              </a:tr>
              <a:tr h="370743">
                <a:tc>
                  <a:txBody>
                    <a:bodyPr/>
                    <a:lstStyle/>
                    <a:p>
                      <a:r>
                        <a:rPr lang="en-US" sz="2000" dirty="0" err="1">
                          <a:solidFill>
                            <a:schemeClr val="tx2"/>
                          </a:solidFill>
                        </a:rPr>
                        <a:t>PowerCLI</a:t>
                      </a:r>
                      <a:r>
                        <a:rPr lang="en-US" sz="2000" dirty="0">
                          <a:solidFill>
                            <a:schemeClr val="tx2"/>
                          </a:solidFill>
                        </a:rPr>
                        <a:t> cmdlet</a:t>
                      </a:r>
                    </a:p>
                  </a:txBody>
                  <a:tcPr marL="91416" marR="91416" marT="45708" marB="4570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 err="1">
                          <a:solidFill>
                            <a:schemeClr val="tx2"/>
                          </a:solidFill>
                        </a:rPr>
                        <a:t>PowerCLI</a:t>
                      </a:r>
                      <a:r>
                        <a:rPr lang="en-US" sz="2000" dirty="0">
                          <a:solidFill>
                            <a:schemeClr val="tx2"/>
                          </a:solidFill>
                        </a:rPr>
                        <a:t> cmdlet – indirect</a:t>
                      </a:r>
                    </a:p>
                  </a:txBody>
                  <a:tcPr marL="91416" marR="91416" marT="45708" marB="45708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966201"/>
                  </a:ext>
                </a:extLst>
              </a:tr>
              <a:tr h="370743"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tx2"/>
                          </a:solidFill>
                        </a:rPr>
                        <a:t>Selection of properties</a:t>
                      </a:r>
                    </a:p>
                  </a:txBody>
                  <a:tcPr marL="91416" marR="91416" marT="45708" marB="4570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tx2"/>
                          </a:solidFill>
                        </a:rPr>
                        <a:t>All vSphere properties</a:t>
                      </a:r>
                    </a:p>
                  </a:txBody>
                  <a:tcPr marL="91416" marR="91416" marT="45708" marB="45708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2364861"/>
                  </a:ext>
                </a:extLst>
              </a:tr>
              <a:tr h="370743">
                <a:tc>
                  <a:txBody>
                    <a:bodyPr/>
                    <a:lstStyle/>
                    <a:p>
                      <a:r>
                        <a:rPr lang="en-US" sz="2000" dirty="0" err="1">
                          <a:solidFill>
                            <a:schemeClr val="tx2"/>
                          </a:solidFill>
                        </a:rPr>
                        <a:t>PowerCLI</a:t>
                      </a:r>
                      <a:r>
                        <a:rPr lang="en-US" sz="2000" dirty="0">
                          <a:solidFill>
                            <a:schemeClr val="tx2"/>
                          </a:solidFill>
                        </a:rPr>
                        <a:t> methods</a:t>
                      </a:r>
                    </a:p>
                  </a:txBody>
                  <a:tcPr marL="91416" marR="91416" marT="45708" marB="4570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tx2"/>
                          </a:solidFill>
                        </a:rPr>
                        <a:t>All vSphere methods</a:t>
                      </a:r>
                    </a:p>
                  </a:txBody>
                  <a:tcPr marL="91416" marR="91416" marT="45708" marB="45708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3803710"/>
                  </a:ext>
                </a:extLst>
              </a:tr>
              <a:tr h="370743"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tx2"/>
                          </a:solidFill>
                        </a:rPr>
                        <a:t>Get-Help/Get-Command</a:t>
                      </a:r>
                    </a:p>
                  </a:txBody>
                  <a:tcPr marL="91416" marR="91416" marT="45708" marB="4570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tx2"/>
                          </a:solidFill>
                        </a:rPr>
                        <a:t>API Reference</a:t>
                      </a:r>
                    </a:p>
                  </a:txBody>
                  <a:tcPr marL="91416" marR="91416" marT="45708" marB="45708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4445298"/>
                  </a:ext>
                </a:extLst>
              </a:tr>
              <a:tr h="370743"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tx2"/>
                          </a:solidFill>
                        </a:rPr>
                        <a:t>Starter + Intermediate</a:t>
                      </a:r>
                    </a:p>
                  </a:txBody>
                  <a:tcPr marL="91416" marR="91416" marT="45708" marB="4570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tx2"/>
                          </a:solidFill>
                        </a:rPr>
                        <a:t>Intermediate + Advanced</a:t>
                      </a:r>
                    </a:p>
                  </a:txBody>
                  <a:tcPr marL="91416" marR="91416" marT="45708" marB="45708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612157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0BEEBDD7-031E-FB4D-83DC-FDA82A2D5C1F}"/>
              </a:ext>
            </a:extLst>
          </p:cNvPr>
          <p:cNvSpPr txBox="1"/>
          <p:nvPr/>
        </p:nvSpPr>
        <p:spPr>
          <a:xfrm>
            <a:off x="139148" y="715617"/>
            <a:ext cx="1158902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/>
              <a:t>PowerCLI Object Management</a:t>
            </a:r>
          </a:p>
        </p:txBody>
      </p:sp>
    </p:spTree>
    <p:extLst>
      <p:ext uri="{BB962C8B-B14F-4D97-AF65-F5344CB8AC3E}">
        <p14:creationId xmlns:p14="http://schemas.microsoft.com/office/powerpoint/2010/main" val="35196617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F3E3179-3334-E846-95E4-F2D658FF78E6}"/>
              </a:ext>
            </a:extLst>
          </p:cNvPr>
          <p:cNvSpPr txBox="1"/>
          <p:nvPr/>
        </p:nvSpPr>
        <p:spPr>
          <a:xfrm>
            <a:off x="1217469" y="2721114"/>
            <a:ext cx="975706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tup and Configuration</a:t>
            </a:r>
          </a:p>
        </p:txBody>
      </p:sp>
    </p:spTree>
    <p:extLst>
      <p:ext uri="{BB962C8B-B14F-4D97-AF65-F5344CB8AC3E}">
        <p14:creationId xmlns:p14="http://schemas.microsoft.com/office/powerpoint/2010/main" val="26137068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F793142-1313-E646-928E-5D1CFF06C52D}"/>
              </a:ext>
            </a:extLst>
          </p:cNvPr>
          <p:cNvSpPr txBox="1"/>
          <p:nvPr/>
        </p:nvSpPr>
        <p:spPr>
          <a:xfrm>
            <a:off x="139148" y="715617"/>
            <a:ext cx="1158902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/>
              <a:t>Setting Up PowerShel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0D3EB3-04F4-BD44-87CC-3B6CB7BFF1FE}"/>
              </a:ext>
            </a:extLst>
          </p:cNvPr>
          <p:cNvSpPr txBox="1">
            <a:spLocks/>
          </p:cNvSpPr>
          <p:nvPr/>
        </p:nvSpPr>
        <p:spPr>
          <a:xfrm>
            <a:off x="616666" y="1600201"/>
            <a:ext cx="10975658" cy="4572000"/>
          </a:xfrm>
          <a:prstGeom prst="rect">
            <a:avLst/>
          </a:prstGeom>
        </p:spPr>
        <p:txBody>
          <a:bodyPr/>
          <a:lstStyle>
            <a:lvl1pPr marL="228611" indent="-228611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5325" indent="-190510" algn="l" defTabSz="6096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2038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6853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69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76484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81299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86114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90930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/>
              <a:t>Native to all modern Windows deployments</a:t>
            </a:r>
          </a:p>
          <a:p>
            <a:r>
              <a:rPr lang="en-US" sz="2800" dirty="0"/>
              <a:t>Latest version is 5.1</a:t>
            </a:r>
          </a:p>
          <a:p>
            <a:pPr lvl="1"/>
            <a:r>
              <a:rPr lang="en-US" sz="2800" dirty="0"/>
              <a:t>Use $</a:t>
            </a:r>
            <a:r>
              <a:rPr lang="en-US" sz="2800" dirty="0" err="1"/>
              <a:t>PSVersionTable</a:t>
            </a:r>
            <a:r>
              <a:rPr lang="en-US" sz="2800" dirty="0"/>
              <a:t> to see what you’re running</a:t>
            </a:r>
          </a:p>
          <a:p>
            <a:endParaRPr lang="en-US" sz="28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A81998F-3D6B-B74F-BD25-32D3921E55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3545" y="3429000"/>
            <a:ext cx="5041900" cy="237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725123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331E8C8-E0F3-324A-9427-A42B1C868165}"/>
              </a:ext>
            </a:extLst>
          </p:cNvPr>
          <p:cNvSpPr txBox="1"/>
          <p:nvPr/>
        </p:nvSpPr>
        <p:spPr>
          <a:xfrm>
            <a:off x="139148" y="715617"/>
            <a:ext cx="1158902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/>
              <a:t>Setting Up PowerShell Co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20EA18-D8D1-C343-AF03-53651BB4BE70}"/>
              </a:ext>
            </a:extLst>
          </p:cNvPr>
          <p:cNvSpPr txBox="1">
            <a:spLocks/>
          </p:cNvSpPr>
          <p:nvPr/>
        </p:nvSpPr>
        <p:spPr>
          <a:xfrm>
            <a:off x="616666" y="1600201"/>
            <a:ext cx="10975658" cy="4572000"/>
          </a:xfrm>
          <a:prstGeom prst="rect">
            <a:avLst/>
          </a:prstGeom>
        </p:spPr>
        <p:txBody>
          <a:bodyPr/>
          <a:lstStyle>
            <a:lvl1pPr marL="228611" indent="-228611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5325" indent="-190510" algn="l" defTabSz="6096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2038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6853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69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76484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81299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86114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90930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/>
              <a:t>Available through most package managers</a:t>
            </a:r>
          </a:p>
          <a:p>
            <a:r>
              <a:rPr lang="en-US" sz="2800" dirty="0"/>
              <a:t>Latest version is 6.2.3</a:t>
            </a:r>
          </a:p>
          <a:p>
            <a:pPr lvl="1"/>
            <a:r>
              <a:rPr lang="en-US" sz="2800" dirty="0"/>
              <a:t>Use $</a:t>
            </a:r>
            <a:r>
              <a:rPr lang="en-US" sz="2800" dirty="0" err="1"/>
              <a:t>PSVersionTable</a:t>
            </a:r>
            <a:r>
              <a:rPr lang="en-US" sz="2800" dirty="0"/>
              <a:t> to see what you’re running</a:t>
            </a:r>
          </a:p>
          <a:p>
            <a:endParaRPr lang="en-US" sz="28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9F23EB7-D240-894C-92C2-D7BD8CD609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12856" y="3410073"/>
            <a:ext cx="6766287" cy="2762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91177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F8979CD-C9BD-AD46-B765-AF000300CDCA}"/>
              </a:ext>
            </a:extLst>
          </p:cNvPr>
          <p:cNvSpPr txBox="1"/>
          <p:nvPr/>
        </p:nvSpPr>
        <p:spPr>
          <a:xfrm>
            <a:off x="525558" y="928467"/>
            <a:ext cx="1097280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0" dirty="0"/>
              <a:t>Installation of PowerCLI is from the PowerShell Gallery </a:t>
            </a:r>
          </a:p>
          <a:p>
            <a:pPr algn="ctr"/>
            <a:r>
              <a:rPr lang="en-US" sz="3200" dirty="0"/>
              <a:t>          </a:t>
            </a:r>
            <a:r>
              <a:rPr lang="en-US" sz="3200" b="0" dirty="0"/>
              <a:t>and is done directly from within PowerShel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4758E06-349E-A540-8ED1-73839665E632}"/>
              </a:ext>
            </a:extLst>
          </p:cNvPr>
          <p:cNvSpPr txBox="1"/>
          <p:nvPr/>
        </p:nvSpPr>
        <p:spPr>
          <a:xfrm>
            <a:off x="525558" y="2130101"/>
            <a:ext cx="1080847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u="sng" dirty="0"/>
              <a:t>Prerequisites</a:t>
            </a:r>
            <a:r>
              <a:rPr lang="en-US" sz="2800" dirty="0"/>
              <a:t>:</a:t>
            </a:r>
          </a:p>
          <a:p>
            <a:pPr marL="457200" indent="-457200">
              <a:lnSpc>
                <a:spcPct val="100000"/>
              </a:lnSpc>
              <a:buAutoNum type="arabicPeriod"/>
            </a:pPr>
            <a:r>
              <a:rPr lang="en-US" sz="2000" b="0" dirty="0"/>
              <a:t>PowerShell 5.x (OR manually install </a:t>
            </a:r>
            <a:r>
              <a:rPr lang="en-US" sz="2000" b="0" dirty="0" err="1"/>
              <a:t>PowerShellGet</a:t>
            </a:r>
            <a:r>
              <a:rPr lang="en-US" sz="2000" b="0" dirty="0"/>
              <a:t>)</a:t>
            </a:r>
          </a:p>
          <a:p>
            <a:pPr marL="457200" indent="-457200">
              <a:buAutoNum type="arabicPeriod"/>
            </a:pPr>
            <a:r>
              <a:rPr lang="en-US" sz="2000" dirty="0"/>
              <a:t>U</a:t>
            </a:r>
            <a:r>
              <a:rPr lang="en-US" sz="2000" b="0" dirty="0"/>
              <a:t>ninstall PowerCLI 6.5 R1 (OR any other previous versions)</a:t>
            </a:r>
          </a:p>
          <a:p>
            <a:pPr marL="457200" indent="-457200">
              <a:buAutoNum type="arabicPeriod"/>
            </a:pPr>
            <a:r>
              <a:rPr lang="en-US" sz="2000" b="0" dirty="0"/>
              <a:t>Internet Connectivity</a:t>
            </a:r>
          </a:p>
          <a:p>
            <a:endParaRPr lang="en-US" sz="20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05C1364-09C4-CB44-853E-5DDE4DD05DFD}"/>
              </a:ext>
            </a:extLst>
          </p:cNvPr>
          <p:cNvSpPr txBox="1"/>
          <p:nvPr/>
        </p:nvSpPr>
        <p:spPr>
          <a:xfrm>
            <a:off x="525558" y="3863007"/>
            <a:ext cx="10885336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u="sng" dirty="0"/>
              <a:t>Installation</a:t>
            </a:r>
            <a:r>
              <a:rPr lang="en-US" sz="2800" b="0" dirty="0"/>
              <a:t>:</a:t>
            </a:r>
          </a:p>
          <a:p>
            <a:pPr marL="457200" indent="-457200">
              <a:buAutoNum type="arabicPeriod"/>
            </a:pPr>
            <a:r>
              <a:rPr lang="en-US" sz="2000" dirty="0"/>
              <a:t>Open a PowerShell Session</a:t>
            </a:r>
          </a:p>
          <a:p>
            <a:pPr marL="457200" indent="-457200">
              <a:buAutoNum type="arabicPeriod"/>
            </a:pPr>
            <a:r>
              <a:rPr lang="en-US" sz="2000" b="0" dirty="0"/>
              <a:t>Run: Install-Module </a:t>
            </a:r>
            <a:r>
              <a:rPr lang="en-US" sz="2000" b="0" dirty="0" err="1"/>
              <a:t>VMware.PowerCLI</a:t>
            </a:r>
            <a:r>
              <a:rPr lang="en-US" sz="2000" b="0" dirty="0"/>
              <a:t> -Scope </a:t>
            </a:r>
            <a:r>
              <a:rPr lang="en-US" sz="2000" b="0" dirty="0" err="1"/>
              <a:t>CurrentUser</a:t>
            </a:r>
            <a:endParaRPr lang="en-US" sz="2000" b="0" dirty="0"/>
          </a:p>
          <a:p>
            <a:endParaRPr lang="en-US" sz="2000" b="0" dirty="0"/>
          </a:p>
          <a:p>
            <a:r>
              <a:rPr lang="en-US" sz="2000" b="0" dirty="0"/>
              <a:t>Modules are deployed to: $home\Documents\</a:t>
            </a:r>
            <a:r>
              <a:rPr lang="en-US" sz="2000" b="0" dirty="0" err="1"/>
              <a:t>WindowsPowerShell</a:t>
            </a:r>
            <a:r>
              <a:rPr lang="en-US" sz="2000" b="0" dirty="0"/>
              <a:t>\Modules</a:t>
            </a:r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2555480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C1B8C926-4939-F14B-A5C7-7E344251BD9C}"/>
              </a:ext>
            </a:extLst>
          </p:cNvPr>
          <p:cNvGrpSpPr/>
          <p:nvPr/>
        </p:nvGrpSpPr>
        <p:grpSpPr>
          <a:xfrm>
            <a:off x="-183493" y="2936278"/>
            <a:ext cx="7138968" cy="3223447"/>
            <a:chOff x="225429" y="2979884"/>
            <a:chExt cx="3964782" cy="1252838"/>
          </a:xfrm>
        </p:grpSpPr>
        <p:sp>
          <p:nvSpPr>
            <p:cNvPr id="3" name="Text Placeholder 5">
              <a:extLst>
                <a:ext uri="{FF2B5EF4-FFF2-40B4-BE49-F238E27FC236}">
                  <a16:creationId xmlns:a16="http://schemas.microsoft.com/office/drawing/2014/main" id="{453554DB-1EA9-4A4B-908D-8C6593EED7DA}"/>
                </a:ext>
              </a:extLst>
            </p:cNvPr>
            <p:cNvSpPr txBox="1">
              <a:spLocks/>
            </p:cNvSpPr>
            <p:nvPr/>
          </p:nvSpPr>
          <p:spPr>
            <a:xfrm>
              <a:off x="225429" y="2979884"/>
              <a:ext cx="1258632" cy="1243038"/>
            </a:xfrm>
            <a:prstGeom prst="rect">
              <a:avLst/>
            </a:prstGeom>
          </p:spPr>
          <p:txBody>
            <a:bodyPr vert="horz" lIns="162434" tIns="81217" rIns="162434" bIns="81217" rtlCol="0">
              <a:normAutofit/>
            </a:bodyPr>
            <a:lstStyle>
              <a:lvl1pPr marL="0" indent="0" algn="l" defTabSz="457189" rtl="0" eaLnBrk="1" latinLnBrk="0" hangingPunct="1">
                <a:spcBef>
                  <a:spcPct val="20000"/>
                </a:spcBef>
                <a:buFont typeface="Arial"/>
                <a:buNone/>
                <a:defRPr sz="1500" b="0" i="0" kern="1200">
                  <a:solidFill>
                    <a:schemeClr val="bg1">
                      <a:lumMod val="65000"/>
                    </a:schemeClr>
                  </a:solidFill>
                  <a:latin typeface="Tahoma"/>
                  <a:ea typeface="+mn-ea"/>
                  <a:cs typeface="Tahoma"/>
                </a:defRPr>
              </a:lvl1pPr>
              <a:lvl2pPr marL="342900" indent="0" algn="l" defTabSz="457189" rtl="0" eaLnBrk="1" latinLnBrk="0" hangingPunct="1">
                <a:spcBef>
                  <a:spcPct val="20000"/>
                </a:spcBef>
                <a:buFont typeface="Arial"/>
                <a:buNone/>
                <a:defRPr sz="1050" b="0" i="0" kern="1200">
                  <a:solidFill>
                    <a:schemeClr val="bg1">
                      <a:lumMod val="65000"/>
                    </a:schemeClr>
                  </a:solidFill>
                  <a:latin typeface="Tahoma"/>
                  <a:ea typeface="+mn-ea"/>
                  <a:cs typeface="Tahoma"/>
                </a:defRPr>
              </a:lvl2pPr>
              <a:lvl3pPr marL="685800" indent="0" algn="l" defTabSz="457189" rtl="0" eaLnBrk="1" latinLnBrk="0" hangingPunct="1">
                <a:spcBef>
                  <a:spcPct val="20000"/>
                </a:spcBef>
                <a:buFont typeface="Arial"/>
                <a:buNone/>
                <a:defRPr sz="900" b="0" i="0" kern="1200">
                  <a:solidFill>
                    <a:schemeClr val="bg1">
                      <a:lumMod val="65000"/>
                    </a:schemeClr>
                  </a:solidFill>
                  <a:latin typeface="Tahoma"/>
                  <a:ea typeface="+mn-ea"/>
                  <a:cs typeface="Tahoma"/>
                </a:defRPr>
              </a:lvl3pPr>
              <a:lvl4pPr marL="1028700" indent="0" algn="l" defTabSz="457189" rtl="0" eaLnBrk="1" latinLnBrk="0" hangingPunct="1">
                <a:spcBef>
                  <a:spcPct val="20000"/>
                </a:spcBef>
                <a:buFont typeface="Arial"/>
                <a:buNone/>
                <a:defRPr sz="750" b="0" i="0" kern="1200">
                  <a:solidFill>
                    <a:schemeClr val="bg1">
                      <a:lumMod val="65000"/>
                    </a:schemeClr>
                  </a:solidFill>
                  <a:latin typeface="Tahoma"/>
                  <a:ea typeface="+mn-ea"/>
                  <a:cs typeface="Tahoma"/>
                </a:defRPr>
              </a:lvl4pPr>
              <a:lvl5pPr marL="1371600" indent="0" algn="l" defTabSz="457189" rtl="0" eaLnBrk="1" latinLnBrk="0" hangingPunct="1">
                <a:spcBef>
                  <a:spcPct val="20000"/>
                </a:spcBef>
                <a:buFont typeface="Arial"/>
                <a:buNone/>
                <a:defRPr sz="750" b="0" i="0" kern="1200">
                  <a:solidFill>
                    <a:schemeClr val="bg1">
                      <a:lumMod val="65000"/>
                    </a:schemeClr>
                  </a:solidFill>
                  <a:latin typeface="Tahoma"/>
                  <a:ea typeface="+mn-ea"/>
                  <a:cs typeface="Tahoma"/>
                </a:defRPr>
              </a:lvl5pPr>
              <a:lvl6pPr marL="1714500" indent="0" algn="l" defTabSz="457189" rtl="0" eaLnBrk="1" latinLnBrk="0" hangingPunct="1">
                <a:spcBef>
                  <a:spcPct val="20000"/>
                </a:spcBef>
                <a:buFont typeface="Arial"/>
                <a:buNone/>
                <a:defRPr sz="7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indent="0" algn="l" defTabSz="457189" rtl="0" eaLnBrk="1" latinLnBrk="0" hangingPunct="1">
                <a:spcBef>
                  <a:spcPct val="20000"/>
                </a:spcBef>
                <a:buFont typeface="Arial"/>
                <a:buNone/>
                <a:defRPr sz="7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indent="0" algn="l" defTabSz="457189" rtl="0" eaLnBrk="1" latinLnBrk="0" hangingPunct="1">
                <a:spcBef>
                  <a:spcPct val="20000"/>
                </a:spcBef>
                <a:buFont typeface="Arial"/>
                <a:buNone/>
                <a:defRPr sz="7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indent="0" algn="l" defTabSz="457189" rtl="0" eaLnBrk="1" latinLnBrk="0" hangingPunct="1">
                <a:spcBef>
                  <a:spcPct val="20000"/>
                </a:spcBef>
                <a:buFont typeface="Arial"/>
                <a:buNone/>
                <a:defRPr sz="7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US" sz="2664" b="1" dirty="0">
                  <a:solidFill>
                    <a:srgbClr val="3F3F3F"/>
                  </a:solidFill>
                </a:rPr>
                <a:t>Writer</a:t>
              </a:r>
            </a:p>
            <a:p>
              <a:pPr algn="r">
                <a:defRPr/>
              </a:pPr>
              <a:r>
                <a:rPr lang="en-US" sz="2664" b="1" dirty="0">
                  <a:solidFill>
                    <a:srgbClr val="3F3F3F"/>
                  </a:solidFill>
                </a:rPr>
                <a:t>GitHub</a:t>
              </a:r>
            </a:p>
            <a:p>
              <a:pPr algn="r">
                <a:defRPr/>
              </a:pPr>
              <a:r>
                <a:rPr lang="en-US" sz="2664" b="1" dirty="0">
                  <a:solidFill>
                    <a:srgbClr val="3F3F3F"/>
                  </a:solidFill>
                </a:rPr>
                <a:t>Twitter</a:t>
              </a:r>
            </a:p>
            <a:p>
              <a:pPr algn="r">
                <a:defRPr/>
              </a:pPr>
              <a:r>
                <a:rPr lang="en-US" sz="2664" b="1" dirty="0">
                  <a:solidFill>
                    <a:srgbClr val="3F3F3F"/>
                  </a:solidFill>
                </a:rPr>
                <a:t>MS MVP</a:t>
              </a:r>
            </a:p>
          </p:txBody>
        </p:sp>
        <p:sp>
          <p:nvSpPr>
            <p:cNvPr id="4" name="Text Placeholder 5">
              <a:extLst>
                <a:ext uri="{FF2B5EF4-FFF2-40B4-BE49-F238E27FC236}">
                  <a16:creationId xmlns:a16="http://schemas.microsoft.com/office/drawing/2014/main" id="{D106333D-A3BD-0B41-80B1-FD9FAB061DB4}"/>
                </a:ext>
              </a:extLst>
            </p:cNvPr>
            <p:cNvSpPr txBox="1">
              <a:spLocks/>
            </p:cNvSpPr>
            <p:nvPr/>
          </p:nvSpPr>
          <p:spPr>
            <a:xfrm>
              <a:off x="1366141" y="2982195"/>
              <a:ext cx="2824070" cy="1250527"/>
            </a:xfrm>
            <a:prstGeom prst="rect">
              <a:avLst/>
            </a:prstGeom>
          </p:spPr>
          <p:txBody>
            <a:bodyPr vert="horz" lIns="162434" tIns="81217" rIns="162434" bIns="81217" rtlCol="0">
              <a:normAutofit/>
            </a:bodyPr>
            <a:lstStyle>
              <a:lvl1pPr marL="0" indent="0" algn="l" defTabSz="457189" rtl="0" eaLnBrk="1" latinLnBrk="0" hangingPunct="1">
                <a:spcBef>
                  <a:spcPct val="20000"/>
                </a:spcBef>
                <a:buFont typeface="Arial"/>
                <a:buNone/>
                <a:defRPr sz="1500" b="0" i="0" kern="1200">
                  <a:solidFill>
                    <a:schemeClr val="bg1">
                      <a:lumMod val="65000"/>
                    </a:schemeClr>
                  </a:solidFill>
                  <a:latin typeface="Tahoma"/>
                  <a:ea typeface="+mn-ea"/>
                  <a:cs typeface="Tahoma"/>
                </a:defRPr>
              </a:lvl1pPr>
              <a:lvl2pPr marL="342900" indent="0" algn="l" defTabSz="457189" rtl="0" eaLnBrk="1" latinLnBrk="0" hangingPunct="1">
                <a:spcBef>
                  <a:spcPct val="20000"/>
                </a:spcBef>
                <a:buFont typeface="Arial"/>
                <a:buNone/>
                <a:defRPr sz="1050" b="0" i="0" kern="1200">
                  <a:solidFill>
                    <a:schemeClr val="bg1">
                      <a:lumMod val="65000"/>
                    </a:schemeClr>
                  </a:solidFill>
                  <a:latin typeface="Tahoma"/>
                  <a:ea typeface="+mn-ea"/>
                  <a:cs typeface="Tahoma"/>
                </a:defRPr>
              </a:lvl2pPr>
              <a:lvl3pPr marL="685800" indent="0" algn="l" defTabSz="457189" rtl="0" eaLnBrk="1" latinLnBrk="0" hangingPunct="1">
                <a:spcBef>
                  <a:spcPct val="20000"/>
                </a:spcBef>
                <a:buFont typeface="Arial"/>
                <a:buNone/>
                <a:defRPr sz="900" b="0" i="0" kern="1200">
                  <a:solidFill>
                    <a:schemeClr val="bg1">
                      <a:lumMod val="65000"/>
                    </a:schemeClr>
                  </a:solidFill>
                  <a:latin typeface="Tahoma"/>
                  <a:ea typeface="+mn-ea"/>
                  <a:cs typeface="Tahoma"/>
                </a:defRPr>
              </a:lvl3pPr>
              <a:lvl4pPr marL="1028700" indent="0" algn="l" defTabSz="457189" rtl="0" eaLnBrk="1" latinLnBrk="0" hangingPunct="1">
                <a:spcBef>
                  <a:spcPct val="20000"/>
                </a:spcBef>
                <a:buFont typeface="Arial"/>
                <a:buNone/>
                <a:defRPr sz="750" b="0" i="0" kern="1200">
                  <a:solidFill>
                    <a:schemeClr val="bg1">
                      <a:lumMod val="65000"/>
                    </a:schemeClr>
                  </a:solidFill>
                  <a:latin typeface="Tahoma"/>
                  <a:ea typeface="+mn-ea"/>
                  <a:cs typeface="Tahoma"/>
                </a:defRPr>
              </a:lvl4pPr>
              <a:lvl5pPr marL="1371600" indent="0" algn="l" defTabSz="457189" rtl="0" eaLnBrk="1" latinLnBrk="0" hangingPunct="1">
                <a:spcBef>
                  <a:spcPct val="20000"/>
                </a:spcBef>
                <a:buFont typeface="Arial"/>
                <a:buNone/>
                <a:defRPr sz="750" b="0" i="0" kern="1200">
                  <a:solidFill>
                    <a:schemeClr val="bg1">
                      <a:lumMod val="65000"/>
                    </a:schemeClr>
                  </a:solidFill>
                  <a:latin typeface="Tahoma"/>
                  <a:ea typeface="+mn-ea"/>
                  <a:cs typeface="Tahoma"/>
                </a:defRPr>
              </a:lvl5pPr>
              <a:lvl6pPr marL="1714500" indent="0" algn="l" defTabSz="457189" rtl="0" eaLnBrk="1" latinLnBrk="0" hangingPunct="1">
                <a:spcBef>
                  <a:spcPct val="20000"/>
                </a:spcBef>
                <a:buFont typeface="Arial"/>
                <a:buNone/>
                <a:defRPr sz="7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indent="0" algn="l" defTabSz="457189" rtl="0" eaLnBrk="1" latinLnBrk="0" hangingPunct="1">
                <a:spcBef>
                  <a:spcPct val="20000"/>
                </a:spcBef>
                <a:buFont typeface="Arial"/>
                <a:buNone/>
                <a:defRPr sz="7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indent="0" algn="l" defTabSz="457189" rtl="0" eaLnBrk="1" latinLnBrk="0" hangingPunct="1">
                <a:spcBef>
                  <a:spcPct val="20000"/>
                </a:spcBef>
                <a:buFont typeface="Arial"/>
                <a:buNone/>
                <a:defRPr sz="7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indent="0" algn="l" defTabSz="457189" rtl="0" eaLnBrk="1" latinLnBrk="0" hangingPunct="1">
                <a:spcBef>
                  <a:spcPct val="20000"/>
                </a:spcBef>
                <a:buFont typeface="Arial"/>
                <a:buNone/>
                <a:defRPr sz="7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en-US" sz="2664" dirty="0">
                  <a:solidFill>
                    <a:srgbClr val="3F3F3F"/>
                  </a:solidFill>
                </a:rPr>
                <a:t>@ </a:t>
              </a:r>
              <a:r>
                <a:rPr lang="en-US" sz="2664" dirty="0" err="1">
                  <a:solidFill>
                    <a:srgbClr val="3F3F3F"/>
                  </a:solidFill>
                </a:rPr>
                <a:t>lucd.info</a:t>
              </a:r>
              <a:endParaRPr lang="en-US" sz="2664" dirty="0">
                <a:solidFill>
                  <a:srgbClr val="3F3F3F"/>
                </a:solidFill>
              </a:endParaRPr>
            </a:p>
            <a:p>
              <a:pPr>
                <a:defRPr/>
              </a:pPr>
              <a:r>
                <a:rPr lang="en-US" sz="2664" dirty="0">
                  <a:solidFill>
                    <a:srgbClr val="3F3F3F"/>
                  </a:solidFill>
                </a:rPr>
                <a:t>@ </a:t>
              </a:r>
              <a:r>
                <a:rPr lang="en-US" sz="2664" dirty="0" err="1">
                  <a:solidFill>
                    <a:srgbClr val="3F3F3F"/>
                  </a:solidFill>
                </a:rPr>
                <a:t>github.com</a:t>
              </a:r>
              <a:r>
                <a:rPr lang="en-US" sz="2664" dirty="0">
                  <a:solidFill>
                    <a:srgbClr val="3F3F3F"/>
                  </a:solidFill>
                </a:rPr>
                <a:t>/</a:t>
              </a:r>
              <a:r>
                <a:rPr lang="en-US" sz="2664" dirty="0" err="1">
                  <a:solidFill>
                    <a:srgbClr val="3F3F3F"/>
                  </a:solidFill>
                </a:rPr>
                <a:t>lucdekens</a:t>
              </a:r>
              <a:endParaRPr lang="en-US" sz="2664" dirty="0">
                <a:solidFill>
                  <a:srgbClr val="3F3F3F"/>
                </a:solidFill>
              </a:endParaRPr>
            </a:p>
            <a:p>
              <a:pPr>
                <a:defRPr/>
              </a:pPr>
              <a:r>
                <a:rPr lang="en-US" sz="2664" dirty="0">
                  <a:solidFill>
                    <a:srgbClr val="3F3F3F"/>
                  </a:solidFill>
                </a:rPr>
                <a:t>@lucd22</a:t>
              </a:r>
            </a:p>
            <a:p>
              <a:pPr>
                <a:defRPr/>
              </a:pPr>
              <a:r>
                <a:rPr lang="en-US" sz="2664" dirty="0">
                  <a:solidFill>
                    <a:srgbClr val="3F3F3F"/>
                  </a:solidFill>
                </a:rPr>
                <a:t>Cloud\Datacenter Management</a:t>
              </a:r>
            </a:p>
          </p:txBody>
        </p:sp>
      </p:grp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6431CA28-3B28-C848-BAA8-EE3D30452F50}"/>
              </a:ext>
            </a:extLst>
          </p:cNvPr>
          <p:cNvSpPr txBox="1">
            <a:spLocks/>
          </p:cNvSpPr>
          <p:nvPr/>
        </p:nvSpPr>
        <p:spPr>
          <a:xfrm>
            <a:off x="425790" y="2029992"/>
            <a:ext cx="6016665" cy="634287"/>
          </a:xfrm>
          <a:prstGeom prst="rect">
            <a:avLst/>
          </a:prstGeom>
        </p:spPr>
        <p:txBody>
          <a:bodyPr vert="horz" lIns="162434" tIns="81217" rIns="162434" bIns="81217" rtlCol="0">
            <a:normAutofit/>
          </a:bodyPr>
          <a:lstStyle>
            <a:lvl1pPr marL="0" indent="0" algn="l" defTabSz="457189" rtl="0" eaLnBrk="1" latinLnBrk="0" hangingPunct="1">
              <a:spcBef>
                <a:spcPct val="20000"/>
              </a:spcBef>
              <a:buFont typeface="Arial"/>
              <a:buNone/>
              <a:defRPr sz="1500" b="0" i="0" kern="1200">
                <a:solidFill>
                  <a:schemeClr val="bg1">
                    <a:lumMod val="65000"/>
                  </a:schemeClr>
                </a:solidFill>
                <a:latin typeface="Tahoma"/>
                <a:ea typeface="+mn-ea"/>
                <a:cs typeface="Tahoma"/>
              </a:defRPr>
            </a:lvl1pPr>
            <a:lvl2pPr marL="342900" indent="0" algn="l" defTabSz="457189" rtl="0" eaLnBrk="1" latinLnBrk="0" hangingPunct="1">
              <a:spcBef>
                <a:spcPct val="20000"/>
              </a:spcBef>
              <a:buFont typeface="Arial"/>
              <a:buNone/>
              <a:defRPr sz="1050" b="0" i="0" kern="1200">
                <a:solidFill>
                  <a:schemeClr val="bg1">
                    <a:lumMod val="65000"/>
                  </a:schemeClr>
                </a:solidFill>
                <a:latin typeface="Tahoma"/>
                <a:ea typeface="+mn-ea"/>
                <a:cs typeface="Tahoma"/>
              </a:defRPr>
            </a:lvl2pPr>
            <a:lvl3pPr marL="685800" indent="0" algn="l" defTabSz="457189" rtl="0" eaLnBrk="1" latinLnBrk="0" hangingPunct="1">
              <a:spcBef>
                <a:spcPct val="20000"/>
              </a:spcBef>
              <a:buFont typeface="Arial"/>
              <a:buNone/>
              <a:defRPr sz="900" b="0" i="0" kern="1200">
                <a:solidFill>
                  <a:schemeClr val="bg1">
                    <a:lumMod val="65000"/>
                  </a:schemeClr>
                </a:solidFill>
                <a:latin typeface="Tahoma"/>
                <a:ea typeface="+mn-ea"/>
                <a:cs typeface="Tahoma"/>
              </a:defRPr>
            </a:lvl3pPr>
            <a:lvl4pPr marL="1028700" indent="0" algn="l" defTabSz="457189" rtl="0" eaLnBrk="1" latinLnBrk="0" hangingPunct="1">
              <a:spcBef>
                <a:spcPct val="20000"/>
              </a:spcBef>
              <a:buFont typeface="Arial"/>
              <a:buNone/>
              <a:defRPr sz="750" b="0" i="0" kern="1200">
                <a:solidFill>
                  <a:schemeClr val="bg1">
                    <a:lumMod val="65000"/>
                  </a:schemeClr>
                </a:solidFill>
                <a:latin typeface="Tahoma"/>
                <a:ea typeface="+mn-ea"/>
                <a:cs typeface="Tahoma"/>
              </a:defRPr>
            </a:lvl4pPr>
            <a:lvl5pPr marL="1371600" indent="0" algn="l" defTabSz="457189" rtl="0" eaLnBrk="1" latinLnBrk="0" hangingPunct="1">
              <a:spcBef>
                <a:spcPct val="20000"/>
              </a:spcBef>
              <a:buFont typeface="Arial"/>
              <a:buNone/>
              <a:defRPr sz="750" b="0" i="0" kern="1200">
                <a:solidFill>
                  <a:schemeClr val="bg1">
                    <a:lumMod val="65000"/>
                  </a:schemeClr>
                </a:solidFill>
                <a:latin typeface="Tahoma"/>
                <a:ea typeface="+mn-ea"/>
                <a:cs typeface="Tahoma"/>
              </a:defRPr>
            </a:lvl5pPr>
            <a:lvl6pPr marL="1714500" indent="0" algn="l" defTabSz="457189" rtl="0" eaLnBrk="1" latinLnBrk="0" hangingPunct="1">
              <a:spcBef>
                <a:spcPct val="20000"/>
              </a:spcBef>
              <a:buFont typeface="Arial"/>
              <a:buNone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l" defTabSz="457189" rtl="0" eaLnBrk="1" latinLnBrk="0" hangingPunct="1">
              <a:spcBef>
                <a:spcPct val="20000"/>
              </a:spcBef>
              <a:buFont typeface="Arial"/>
              <a:buNone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l" defTabSz="457189" rtl="0" eaLnBrk="1" latinLnBrk="0" hangingPunct="1">
              <a:spcBef>
                <a:spcPct val="20000"/>
              </a:spcBef>
              <a:buFont typeface="Arial"/>
              <a:buNone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l" defTabSz="457189" rtl="0" eaLnBrk="1" latinLnBrk="0" hangingPunct="1">
              <a:spcBef>
                <a:spcPct val="20000"/>
              </a:spcBef>
              <a:buFont typeface="Arial"/>
              <a:buNone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2798" dirty="0">
                <a:solidFill>
                  <a:srgbClr val="717074">
                    <a:lumMod val="75000"/>
                  </a:srgbClr>
                </a:solidFill>
              </a:rPr>
              <a:t>PowerCLI Mastermind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C69A752-C359-E84C-B459-A9F77638E282}"/>
              </a:ext>
            </a:extLst>
          </p:cNvPr>
          <p:cNvSpPr txBox="1">
            <a:spLocks/>
          </p:cNvSpPr>
          <p:nvPr/>
        </p:nvSpPr>
        <p:spPr>
          <a:xfrm>
            <a:off x="427232" y="1369553"/>
            <a:ext cx="6016665" cy="862767"/>
          </a:xfrm>
          <a:prstGeom prst="rect">
            <a:avLst/>
          </a:prstGeom>
        </p:spPr>
        <p:txBody>
          <a:bodyPr vert="horz" lIns="162434" tIns="81217" rIns="162434" bIns="81217" rtlCol="0">
            <a:noAutofit/>
          </a:bodyPr>
          <a:lstStyle>
            <a:lvl1pPr marL="0" indent="0" algn="l" defTabSz="457189" rtl="0" eaLnBrk="1" latinLnBrk="0" hangingPunct="1">
              <a:spcBef>
                <a:spcPct val="20000"/>
              </a:spcBef>
              <a:buFont typeface="Arial"/>
              <a:buNone/>
              <a:defRPr sz="1500" b="0" i="0" kern="1200">
                <a:solidFill>
                  <a:schemeClr val="bg1">
                    <a:lumMod val="65000"/>
                  </a:schemeClr>
                </a:solidFill>
                <a:latin typeface="Tahoma"/>
                <a:ea typeface="+mn-ea"/>
                <a:cs typeface="Tahoma"/>
              </a:defRPr>
            </a:lvl1pPr>
            <a:lvl2pPr marL="342900" indent="0" algn="l" defTabSz="457189" rtl="0" eaLnBrk="1" latinLnBrk="0" hangingPunct="1">
              <a:spcBef>
                <a:spcPct val="20000"/>
              </a:spcBef>
              <a:buFont typeface="Arial"/>
              <a:buNone/>
              <a:defRPr sz="1050" b="0" i="0" kern="1200">
                <a:solidFill>
                  <a:schemeClr val="bg1">
                    <a:lumMod val="65000"/>
                  </a:schemeClr>
                </a:solidFill>
                <a:latin typeface="Tahoma"/>
                <a:ea typeface="+mn-ea"/>
                <a:cs typeface="Tahoma"/>
              </a:defRPr>
            </a:lvl2pPr>
            <a:lvl3pPr marL="685800" indent="0" algn="l" defTabSz="457189" rtl="0" eaLnBrk="1" latinLnBrk="0" hangingPunct="1">
              <a:spcBef>
                <a:spcPct val="20000"/>
              </a:spcBef>
              <a:buFont typeface="Arial"/>
              <a:buNone/>
              <a:defRPr sz="900" b="0" i="0" kern="1200">
                <a:solidFill>
                  <a:schemeClr val="bg1">
                    <a:lumMod val="65000"/>
                  </a:schemeClr>
                </a:solidFill>
                <a:latin typeface="Tahoma"/>
                <a:ea typeface="+mn-ea"/>
                <a:cs typeface="Tahoma"/>
              </a:defRPr>
            </a:lvl3pPr>
            <a:lvl4pPr marL="1028700" indent="0" algn="l" defTabSz="457189" rtl="0" eaLnBrk="1" latinLnBrk="0" hangingPunct="1">
              <a:spcBef>
                <a:spcPct val="20000"/>
              </a:spcBef>
              <a:buFont typeface="Arial"/>
              <a:buNone/>
              <a:defRPr sz="750" b="0" i="0" kern="1200">
                <a:solidFill>
                  <a:schemeClr val="bg1">
                    <a:lumMod val="65000"/>
                  </a:schemeClr>
                </a:solidFill>
                <a:latin typeface="Tahoma"/>
                <a:ea typeface="+mn-ea"/>
                <a:cs typeface="Tahoma"/>
              </a:defRPr>
            </a:lvl4pPr>
            <a:lvl5pPr marL="1371600" indent="0" algn="l" defTabSz="457189" rtl="0" eaLnBrk="1" latinLnBrk="0" hangingPunct="1">
              <a:spcBef>
                <a:spcPct val="20000"/>
              </a:spcBef>
              <a:buFont typeface="Arial"/>
              <a:buNone/>
              <a:defRPr sz="750" b="0" i="0" kern="1200">
                <a:solidFill>
                  <a:schemeClr val="bg1">
                    <a:lumMod val="65000"/>
                  </a:schemeClr>
                </a:solidFill>
                <a:latin typeface="Tahoma"/>
                <a:ea typeface="+mn-ea"/>
                <a:cs typeface="Tahoma"/>
              </a:defRPr>
            </a:lvl5pPr>
            <a:lvl6pPr marL="1714500" indent="0" algn="l" defTabSz="457189" rtl="0" eaLnBrk="1" latinLnBrk="0" hangingPunct="1">
              <a:spcBef>
                <a:spcPct val="20000"/>
              </a:spcBef>
              <a:buFont typeface="Arial"/>
              <a:buNone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l" defTabSz="457189" rtl="0" eaLnBrk="1" latinLnBrk="0" hangingPunct="1">
              <a:spcBef>
                <a:spcPct val="20000"/>
              </a:spcBef>
              <a:buFont typeface="Arial"/>
              <a:buNone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l" defTabSz="457189" rtl="0" eaLnBrk="1" latinLnBrk="0" hangingPunct="1">
              <a:spcBef>
                <a:spcPct val="20000"/>
              </a:spcBef>
              <a:buFont typeface="Arial"/>
              <a:buNone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l" defTabSz="457189" rtl="0" eaLnBrk="1" latinLnBrk="0" hangingPunct="1">
              <a:spcBef>
                <a:spcPct val="20000"/>
              </a:spcBef>
              <a:buFont typeface="Arial"/>
              <a:buNone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3998" b="1" dirty="0">
                <a:solidFill>
                  <a:srgbClr val="717074">
                    <a:lumMod val="75000"/>
                  </a:srgbClr>
                </a:solidFill>
              </a:rPr>
              <a:t>Luc Deken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6F461C5-AE11-F84C-B664-6E55DE061F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43100" y="1187566"/>
            <a:ext cx="4482869" cy="4482869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395168680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078C2D1-A9E9-384C-9AA5-8D439FF8CE56}"/>
              </a:ext>
            </a:extLst>
          </p:cNvPr>
          <p:cNvSpPr txBox="1"/>
          <p:nvPr/>
        </p:nvSpPr>
        <p:spPr>
          <a:xfrm>
            <a:off x="1217469" y="2721114"/>
            <a:ext cx="975706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arting to Code</a:t>
            </a:r>
          </a:p>
        </p:txBody>
      </p:sp>
    </p:spTree>
    <p:extLst>
      <p:ext uri="{BB962C8B-B14F-4D97-AF65-F5344CB8AC3E}">
        <p14:creationId xmlns:p14="http://schemas.microsoft.com/office/powerpoint/2010/main" val="9710051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885613D-D28C-8D40-BEB4-93030B20D4F1}"/>
              </a:ext>
            </a:extLst>
          </p:cNvPr>
          <p:cNvSpPr txBox="1"/>
          <p:nvPr/>
        </p:nvSpPr>
        <p:spPr>
          <a:xfrm>
            <a:off x="139148" y="715617"/>
            <a:ext cx="1158902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/>
              <a:t>Safe vs Non-Safe Command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0DC3B2-1342-7D4A-AEBA-4863ABD59DE3}"/>
              </a:ext>
            </a:extLst>
          </p:cNvPr>
          <p:cNvSpPr txBox="1">
            <a:spLocks/>
          </p:cNvSpPr>
          <p:nvPr/>
        </p:nvSpPr>
        <p:spPr>
          <a:xfrm>
            <a:off x="608171" y="2231335"/>
            <a:ext cx="10975658" cy="2395329"/>
          </a:xfrm>
          <a:prstGeom prst="rect">
            <a:avLst/>
          </a:prstGeom>
        </p:spPr>
        <p:txBody>
          <a:bodyPr/>
          <a:lstStyle>
            <a:lvl1pPr marL="228611" indent="-228611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5325" indent="-190510" algn="l" defTabSz="6096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2038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6853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69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76484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81299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86114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90930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/>
              <a:t>Suggest starting with cmdlets that pull or display data</a:t>
            </a:r>
          </a:p>
          <a:p>
            <a:pPr lvl="1"/>
            <a:r>
              <a:rPr lang="en-US" sz="2400" dirty="0"/>
              <a:t>These are “Safe” in that they are unable to modify data</a:t>
            </a:r>
          </a:p>
          <a:p>
            <a:r>
              <a:rPr lang="en-US" sz="2800" dirty="0"/>
              <a:t>This is helpful for learning the PowerShell syntax</a:t>
            </a:r>
          </a:p>
          <a:p>
            <a:pPr lvl="1"/>
            <a:r>
              <a:rPr lang="en-US" sz="2400" dirty="0"/>
              <a:t>Which</a:t>
            </a:r>
            <a:r>
              <a:rPr lang="is-IS" sz="2400" dirty="0"/>
              <a:t>… is a n</a:t>
            </a:r>
            <a:r>
              <a:rPr lang="en-US" sz="2400" dirty="0"/>
              <a:t>ever ending journey!</a:t>
            </a:r>
          </a:p>
        </p:txBody>
      </p:sp>
    </p:spTree>
    <p:extLst>
      <p:ext uri="{BB962C8B-B14F-4D97-AF65-F5344CB8AC3E}">
        <p14:creationId xmlns:p14="http://schemas.microsoft.com/office/powerpoint/2010/main" val="15945500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F11FB0C-E73C-B045-A2F5-97FB40CDB423}"/>
              </a:ext>
            </a:extLst>
          </p:cNvPr>
          <p:cNvSpPr txBox="1"/>
          <p:nvPr/>
        </p:nvSpPr>
        <p:spPr>
          <a:xfrm>
            <a:off x="139148" y="715617"/>
            <a:ext cx="1158902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/>
              <a:t>Identify Safe Commands</a:t>
            </a:r>
          </a:p>
        </p:txBody>
      </p:sp>
      <p:sp>
        <p:nvSpPr>
          <p:cNvPr id="3" name="Content Placeholder 6">
            <a:extLst>
              <a:ext uri="{FF2B5EF4-FFF2-40B4-BE49-F238E27FC236}">
                <a16:creationId xmlns:a16="http://schemas.microsoft.com/office/drawing/2014/main" id="{EF615F43-6CE5-9542-BCF4-8FCD825BD7B1}"/>
              </a:ext>
            </a:extLst>
          </p:cNvPr>
          <p:cNvSpPr txBox="1">
            <a:spLocks/>
          </p:cNvSpPr>
          <p:nvPr/>
        </p:nvSpPr>
        <p:spPr>
          <a:xfrm>
            <a:off x="616666" y="1600201"/>
            <a:ext cx="10975658" cy="4572000"/>
          </a:xfrm>
          <a:prstGeom prst="rect">
            <a:avLst/>
          </a:prstGeom>
        </p:spPr>
        <p:txBody>
          <a:bodyPr/>
          <a:lstStyle>
            <a:lvl1pPr marL="228611" indent="-228611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5325" indent="-190510" algn="l" defTabSz="6096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2038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6853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69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76484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81299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86114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90930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800" dirty="0"/>
              <a:t>Safe means that there is no data modification</a:t>
            </a:r>
          </a:p>
          <a:p>
            <a:pPr>
              <a:buFont typeface="Arial" pitchFamily="34" charset="0"/>
              <a:buNone/>
            </a:pP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AEDA16D-48DF-A84F-9E4A-1CE67129EB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2150" y="4861917"/>
            <a:ext cx="10807700" cy="10287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153908B-6A28-054B-B60D-321979ED6E3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86000" y="2490206"/>
            <a:ext cx="7620000" cy="1714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317965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B971322-DCBA-4649-A58E-687209F858C8}"/>
              </a:ext>
            </a:extLst>
          </p:cNvPr>
          <p:cNvSpPr txBox="1"/>
          <p:nvPr/>
        </p:nvSpPr>
        <p:spPr>
          <a:xfrm>
            <a:off x="139148" y="715617"/>
            <a:ext cx="1158902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/>
              <a:t>Additional Safeguard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4B958C-60F3-2C45-9CE0-6D990487C294}"/>
              </a:ext>
            </a:extLst>
          </p:cNvPr>
          <p:cNvSpPr txBox="1">
            <a:spLocks/>
          </p:cNvSpPr>
          <p:nvPr/>
        </p:nvSpPr>
        <p:spPr>
          <a:xfrm>
            <a:off x="608171" y="2032552"/>
            <a:ext cx="10975658" cy="2792895"/>
          </a:xfrm>
          <a:prstGeom prst="rect">
            <a:avLst/>
          </a:prstGeom>
        </p:spPr>
        <p:txBody>
          <a:bodyPr/>
          <a:lstStyle>
            <a:lvl1pPr marL="228611" indent="-228611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5325" indent="-190510" algn="l" defTabSz="6096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2038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6853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69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76484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81299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86114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90930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/>
              <a:t>Whatif</a:t>
            </a:r>
          </a:p>
          <a:p>
            <a:pPr lvl="1"/>
            <a:r>
              <a:rPr lang="en-US" sz="2800"/>
              <a:t>Shows you what WOULD happen without actually modifying data</a:t>
            </a:r>
          </a:p>
          <a:p>
            <a:pPr lvl="1"/>
            <a:r>
              <a:rPr lang="en-US" sz="2800"/>
              <a:t>Switch</a:t>
            </a:r>
          </a:p>
          <a:p>
            <a:r>
              <a:rPr lang="en-US" sz="2800"/>
              <a:t>Confirm</a:t>
            </a:r>
          </a:p>
          <a:p>
            <a:pPr lvl="1"/>
            <a:r>
              <a:rPr lang="en-US" sz="2800"/>
              <a:t>Asks you to confirm before any changes are made</a:t>
            </a:r>
          </a:p>
          <a:p>
            <a:pPr lvl="1"/>
            <a:r>
              <a:rPr lang="en-US" sz="2800"/>
              <a:t>Boolean ($true or $false)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98174325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B60C226-6F4E-B046-B727-CB51A86DC3D5}"/>
              </a:ext>
            </a:extLst>
          </p:cNvPr>
          <p:cNvSpPr txBox="1"/>
          <p:nvPr/>
        </p:nvSpPr>
        <p:spPr>
          <a:xfrm>
            <a:off x="139148" y="715617"/>
            <a:ext cx="1158902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/>
              <a:t>Additional Safeguard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856FBE6-028F-9B44-A770-4F9CE0BA83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1177" y="2055247"/>
            <a:ext cx="11229646" cy="91804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407B4CB-5BEA-AE40-94BD-E4B76541B8D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1749" y="4165876"/>
            <a:ext cx="10408501" cy="1412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510015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B74A48C-6BC9-2847-A647-BE0CD9B4DB87}"/>
              </a:ext>
            </a:extLst>
          </p:cNvPr>
          <p:cNvSpPr txBox="1"/>
          <p:nvPr/>
        </p:nvSpPr>
        <p:spPr>
          <a:xfrm>
            <a:off x="1217469" y="2721114"/>
            <a:ext cx="975706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riting Logic Statements</a:t>
            </a:r>
          </a:p>
        </p:txBody>
      </p:sp>
    </p:spTree>
    <p:extLst>
      <p:ext uri="{BB962C8B-B14F-4D97-AF65-F5344CB8AC3E}">
        <p14:creationId xmlns:p14="http://schemas.microsoft.com/office/powerpoint/2010/main" val="97998186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46AEF3B-4CCD-0C4C-A363-A23406A037FF}"/>
              </a:ext>
            </a:extLst>
          </p:cNvPr>
          <p:cNvSpPr txBox="1"/>
          <p:nvPr/>
        </p:nvSpPr>
        <p:spPr>
          <a:xfrm>
            <a:off x="139148" y="715617"/>
            <a:ext cx="1158902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/>
              <a:t>Sample Use Cas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9B61934-AAEE-B248-A78E-657C591A3F49}"/>
              </a:ext>
            </a:extLst>
          </p:cNvPr>
          <p:cNvSpPr txBox="1">
            <a:spLocks/>
          </p:cNvSpPr>
          <p:nvPr/>
        </p:nvSpPr>
        <p:spPr>
          <a:xfrm>
            <a:off x="608171" y="2047462"/>
            <a:ext cx="10975658" cy="4572000"/>
          </a:xfrm>
          <a:prstGeom prst="rect">
            <a:avLst/>
          </a:prstGeom>
        </p:spPr>
        <p:txBody>
          <a:bodyPr/>
          <a:lstStyle>
            <a:lvl1pPr marL="228611" indent="-228611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5325" indent="-190510" algn="l" defTabSz="6096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2038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6853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69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76484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81299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86114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90930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/>
              <a:t>Cluster configuration</a:t>
            </a:r>
          </a:p>
          <a:p>
            <a:pPr lvl="1"/>
            <a:r>
              <a:rPr lang="en-US" sz="2800"/>
              <a:t>What values are currently configured?</a:t>
            </a:r>
          </a:p>
          <a:p>
            <a:pPr lvl="1"/>
            <a:r>
              <a:rPr lang="en-US" sz="2800"/>
              <a:t>Changing a few of them to match our desired state</a:t>
            </a:r>
          </a:p>
          <a:p>
            <a:r>
              <a:rPr lang="en-US" sz="3200"/>
              <a:t>DRS Settings</a:t>
            </a:r>
          </a:p>
          <a:p>
            <a:pPr lvl="1"/>
            <a:r>
              <a:rPr lang="en-US" sz="2800"/>
              <a:t>HA is </a:t>
            </a:r>
            <a:r>
              <a:rPr lang="en-US" sz="2800">
                <a:solidFill>
                  <a:schemeClr val="accent2"/>
                </a:solidFill>
              </a:rPr>
              <a:t>Enabled</a:t>
            </a:r>
          </a:p>
          <a:p>
            <a:pPr lvl="1"/>
            <a:r>
              <a:rPr lang="en-US" sz="2800"/>
              <a:t>DRS Automation Level is </a:t>
            </a:r>
            <a:r>
              <a:rPr lang="en-US" sz="2800">
                <a:solidFill>
                  <a:schemeClr val="accent2"/>
                </a:solidFill>
              </a:rPr>
              <a:t>Fully</a:t>
            </a:r>
            <a:r>
              <a:rPr lang="en-US" sz="2800"/>
              <a:t> </a:t>
            </a:r>
            <a:r>
              <a:rPr lang="en-US" sz="2800">
                <a:solidFill>
                  <a:schemeClr val="accent2"/>
                </a:solidFill>
              </a:rPr>
              <a:t>Automated</a:t>
            </a:r>
            <a:endParaRPr lang="en-US" sz="28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0332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2F6EEAA-7424-6945-B381-3E4DAD33CC4C}"/>
              </a:ext>
            </a:extLst>
          </p:cNvPr>
          <p:cNvSpPr txBox="1"/>
          <p:nvPr/>
        </p:nvSpPr>
        <p:spPr>
          <a:xfrm>
            <a:off x="139148" y="715617"/>
            <a:ext cx="1158902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/>
              <a:t>Gathering Cluster Dat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8FD519-CF9D-3640-9A93-38799363F7C5}"/>
              </a:ext>
            </a:extLst>
          </p:cNvPr>
          <p:cNvSpPr txBox="1">
            <a:spLocks/>
          </p:cNvSpPr>
          <p:nvPr/>
        </p:nvSpPr>
        <p:spPr>
          <a:xfrm>
            <a:off x="616666" y="1600201"/>
            <a:ext cx="10975658" cy="4572000"/>
          </a:xfrm>
          <a:prstGeom prst="rect">
            <a:avLst/>
          </a:prstGeom>
        </p:spPr>
        <p:txBody>
          <a:bodyPr/>
          <a:lstStyle>
            <a:lvl1pPr marL="228611" indent="-228611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5325" indent="-190510" algn="l" defTabSz="6096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2038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6853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69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76484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81299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86114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90930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endParaRPr lang="en-US" sz="2400" i="1">
              <a:solidFill>
                <a:srgbClr val="006400"/>
              </a:solidFill>
              <a:latin typeface="Menlo" charset="0"/>
            </a:endParaRPr>
          </a:p>
          <a:p>
            <a:pPr marL="0" indent="0">
              <a:buFont typeface="Arial" pitchFamily="34" charset="0"/>
              <a:buNone/>
            </a:pPr>
            <a:r>
              <a:rPr lang="en-US" sz="2400" i="1">
                <a:solidFill>
                  <a:srgbClr val="006400"/>
                </a:solidFill>
                <a:latin typeface="Menlo" charset="0"/>
              </a:rPr>
              <a:t># Variables</a:t>
            </a:r>
            <a:endParaRPr lang="en-US" sz="2400">
              <a:solidFill>
                <a:srgbClr val="333333"/>
              </a:solidFill>
              <a:latin typeface="Menlo" charset="0"/>
            </a:endParaRPr>
          </a:p>
          <a:p>
            <a:pPr marL="0" indent="0">
              <a:buFont typeface="Arial" pitchFamily="34" charset="0"/>
              <a:buNone/>
            </a:pPr>
            <a:r>
              <a:rPr lang="en-US" sz="2400">
                <a:solidFill>
                  <a:srgbClr val="00008B"/>
                </a:solidFill>
                <a:latin typeface="Menlo" charset="0"/>
              </a:rPr>
              <a:t>$</a:t>
            </a:r>
            <a:r>
              <a:rPr lang="en-US" sz="2400">
                <a:solidFill>
                  <a:srgbClr val="FF4500"/>
                </a:solidFill>
                <a:latin typeface="Menlo" charset="0"/>
              </a:rPr>
              <a:t>cluster</a:t>
            </a:r>
            <a:r>
              <a:rPr lang="en-US" sz="2400">
                <a:solidFill>
                  <a:srgbClr val="333333"/>
                </a:solidFill>
                <a:latin typeface="Menlo" charset="0"/>
              </a:rPr>
              <a:t> </a:t>
            </a:r>
            <a:r>
              <a:rPr lang="en-US" sz="2400">
                <a:solidFill>
                  <a:srgbClr val="A9A9A9"/>
                </a:solidFill>
                <a:latin typeface="Menlo" charset="0"/>
              </a:rPr>
              <a:t>=</a:t>
            </a:r>
            <a:r>
              <a:rPr lang="en-US" sz="2400">
                <a:solidFill>
                  <a:srgbClr val="333333"/>
                </a:solidFill>
                <a:latin typeface="Menlo" charset="0"/>
              </a:rPr>
              <a:t> ‘Cluster Name’</a:t>
            </a:r>
          </a:p>
          <a:p>
            <a:pPr marL="0" indent="0">
              <a:buFont typeface="Arial" pitchFamily="34" charset="0"/>
              <a:buNone/>
            </a:pPr>
            <a:br>
              <a:rPr lang="en-US" sz="2400">
                <a:solidFill>
                  <a:srgbClr val="333333"/>
                </a:solidFill>
                <a:latin typeface="Menlo" charset="0"/>
              </a:rPr>
            </a:br>
            <a:r>
              <a:rPr lang="en-US" sz="2400" i="1">
                <a:solidFill>
                  <a:srgbClr val="006400"/>
                </a:solidFill>
                <a:latin typeface="Menlo" charset="0"/>
              </a:rPr>
              <a:t># Gather Cluster Data</a:t>
            </a:r>
            <a:endParaRPr lang="en-US" sz="2400">
              <a:solidFill>
                <a:srgbClr val="333333"/>
              </a:solidFill>
              <a:latin typeface="Menlo" charset="0"/>
            </a:endParaRPr>
          </a:p>
          <a:p>
            <a:pPr marL="0" indent="0">
              <a:buFont typeface="Arial" pitchFamily="34" charset="0"/>
              <a:buNone/>
            </a:pPr>
            <a:r>
              <a:rPr lang="en-US" sz="2400">
                <a:solidFill>
                  <a:srgbClr val="00008B"/>
                </a:solidFill>
                <a:latin typeface="Menlo" charset="0"/>
              </a:rPr>
              <a:t>$</a:t>
            </a:r>
            <a:r>
              <a:rPr lang="en-US" sz="2400">
                <a:solidFill>
                  <a:srgbClr val="FF4500"/>
                </a:solidFill>
                <a:latin typeface="Menlo" charset="0"/>
              </a:rPr>
              <a:t>clusterConfig</a:t>
            </a:r>
            <a:r>
              <a:rPr lang="en-US" sz="2400">
                <a:solidFill>
                  <a:srgbClr val="333333"/>
                </a:solidFill>
                <a:latin typeface="Menlo" charset="0"/>
              </a:rPr>
              <a:t> </a:t>
            </a:r>
            <a:r>
              <a:rPr lang="en-US" sz="2400">
                <a:solidFill>
                  <a:srgbClr val="A9A9A9"/>
                </a:solidFill>
                <a:latin typeface="Menlo" charset="0"/>
              </a:rPr>
              <a:t>=</a:t>
            </a:r>
            <a:r>
              <a:rPr lang="en-US" sz="2400">
                <a:solidFill>
                  <a:srgbClr val="333333"/>
                </a:solidFill>
                <a:latin typeface="Menlo" charset="0"/>
              </a:rPr>
              <a:t> </a:t>
            </a:r>
            <a:r>
              <a:rPr lang="en-US" sz="2400">
                <a:solidFill>
                  <a:srgbClr val="0000FF"/>
                </a:solidFill>
                <a:latin typeface="Menlo" charset="0"/>
              </a:rPr>
              <a:t>Get-Cluster</a:t>
            </a:r>
            <a:r>
              <a:rPr lang="en-US" sz="2400">
                <a:solidFill>
                  <a:srgbClr val="333333"/>
                </a:solidFill>
                <a:latin typeface="Menlo" charset="0"/>
              </a:rPr>
              <a:t> –Name </a:t>
            </a:r>
            <a:r>
              <a:rPr lang="en-US" sz="2400">
                <a:solidFill>
                  <a:srgbClr val="00008B"/>
                </a:solidFill>
                <a:latin typeface="Menlo" charset="0"/>
              </a:rPr>
              <a:t>$</a:t>
            </a:r>
            <a:r>
              <a:rPr lang="en-US" sz="2400">
                <a:solidFill>
                  <a:srgbClr val="FF4500"/>
                </a:solidFill>
                <a:latin typeface="Menlo" charset="0"/>
              </a:rPr>
              <a:t>cluster</a:t>
            </a:r>
            <a:endParaRPr lang="en-US" sz="2400">
              <a:solidFill>
                <a:srgbClr val="333333"/>
              </a:solidFill>
              <a:latin typeface="Menlo" charset="0"/>
            </a:endParaRPr>
          </a:p>
          <a:p>
            <a:pPr marL="0" indent="0">
              <a:buFont typeface="Arial" pitchFamily="34" charset="0"/>
              <a:buNone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85785970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E02AB22-C118-E440-B45B-AC7CD806C7E5}"/>
              </a:ext>
            </a:extLst>
          </p:cNvPr>
          <p:cNvSpPr txBox="1"/>
          <p:nvPr/>
        </p:nvSpPr>
        <p:spPr>
          <a:xfrm>
            <a:off x="139148" y="715617"/>
            <a:ext cx="1158902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/>
              <a:t>Gathering Cluster Data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9F81726-4405-194A-923D-EDDFAD11C7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6199" y="2526471"/>
            <a:ext cx="10159601" cy="2353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644325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47E6193-C0C3-214B-BA54-CB31481A8106}"/>
              </a:ext>
            </a:extLst>
          </p:cNvPr>
          <p:cNvSpPr txBox="1"/>
          <p:nvPr/>
        </p:nvSpPr>
        <p:spPr>
          <a:xfrm>
            <a:off x="139148" y="715617"/>
            <a:ext cx="1158902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/>
              <a:t>Decision Making Logic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C0D6517-F4AB-FC4D-A2C1-B2783E22226D}"/>
              </a:ext>
            </a:extLst>
          </p:cNvPr>
          <p:cNvSpPr txBox="1">
            <a:spLocks/>
          </p:cNvSpPr>
          <p:nvPr/>
        </p:nvSpPr>
        <p:spPr>
          <a:xfrm>
            <a:off x="308333" y="1808923"/>
            <a:ext cx="11575334" cy="4572000"/>
          </a:xfrm>
          <a:prstGeom prst="rect">
            <a:avLst/>
          </a:prstGeom>
        </p:spPr>
        <p:txBody>
          <a:bodyPr/>
          <a:lstStyle>
            <a:lvl1pPr marL="228611" indent="-228611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5325" indent="-190510" algn="l" defTabSz="6096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2038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6853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69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76484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81299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86114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90930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endParaRPr lang="en-US" sz="2400" i="1">
              <a:solidFill>
                <a:srgbClr val="006400"/>
              </a:solidFill>
              <a:latin typeface="Menlo" charset="0"/>
            </a:endParaRPr>
          </a:p>
          <a:p>
            <a:pPr marL="0" indent="0">
              <a:buFont typeface="Arial" pitchFamily="34" charset="0"/>
              <a:buNone/>
            </a:pPr>
            <a:r>
              <a:rPr lang="en-US" sz="2400" i="1">
                <a:solidFill>
                  <a:srgbClr val="006400"/>
                </a:solidFill>
                <a:latin typeface="Menlo" charset="0"/>
              </a:rPr>
              <a:t>#Adding logic to test values</a:t>
            </a:r>
            <a:endParaRPr lang="en-US" sz="2400">
              <a:solidFill>
                <a:srgbClr val="333333"/>
              </a:solidFill>
              <a:latin typeface="Menlo" charset="0"/>
            </a:endParaRPr>
          </a:p>
          <a:p>
            <a:pPr marL="0" indent="0">
              <a:buFont typeface="Arial" pitchFamily="34" charset="0"/>
              <a:buNone/>
            </a:pPr>
            <a:r>
              <a:rPr lang="en-US" sz="2400">
                <a:solidFill>
                  <a:srgbClr val="00008B"/>
                </a:solidFill>
                <a:latin typeface="Menlo" charset="0"/>
              </a:rPr>
              <a:t>if</a:t>
            </a:r>
            <a:r>
              <a:rPr lang="en-US" sz="2400">
                <a:solidFill>
                  <a:srgbClr val="333333"/>
                </a:solidFill>
                <a:latin typeface="Menlo" charset="0"/>
              </a:rPr>
              <a:t> </a:t>
            </a:r>
            <a:r>
              <a:rPr lang="en-US" sz="2400">
                <a:solidFill>
                  <a:srgbClr val="00008B"/>
                </a:solidFill>
                <a:latin typeface="Menlo" charset="0"/>
              </a:rPr>
              <a:t>($</a:t>
            </a:r>
            <a:r>
              <a:rPr lang="en-US" sz="2400">
                <a:solidFill>
                  <a:srgbClr val="FF4500"/>
                </a:solidFill>
                <a:latin typeface="Menlo" charset="0"/>
              </a:rPr>
              <a:t>clusterConfig</a:t>
            </a:r>
            <a:r>
              <a:rPr lang="en-US" sz="2400">
                <a:solidFill>
                  <a:srgbClr val="0000FF"/>
                </a:solidFill>
                <a:latin typeface="Menlo" charset="0"/>
              </a:rPr>
              <a:t>.DrsAutomationLevel</a:t>
            </a:r>
            <a:r>
              <a:rPr lang="en-US" sz="2400">
                <a:solidFill>
                  <a:srgbClr val="333333"/>
                </a:solidFill>
                <a:latin typeface="Menlo" charset="0"/>
              </a:rPr>
              <a:t> –ne ‘FullyAutomated’</a:t>
            </a:r>
            <a:r>
              <a:rPr lang="en-US" sz="2400">
                <a:solidFill>
                  <a:srgbClr val="00008B"/>
                </a:solidFill>
                <a:latin typeface="Menlo" charset="0"/>
              </a:rPr>
              <a:t>)</a:t>
            </a:r>
            <a:r>
              <a:rPr lang="en-US" sz="2400">
                <a:solidFill>
                  <a:srgbClr val="333333"/>
                </a:solidFill>
                <a:latin typeface="Menlo" charset="0"/>
              </a:rPr>
              <a:t> {</a:t>
            </a:r>
          </a:p>
          <a:p>
            <a:pPr marL="274320" lvl="1" indent="0">
              <a:buFont typeface="Arial" pitchFamily="34" charset="0"/>
              <a:buNone/>
            </a:pPr>
            <a:br>
              <a:rPr lang="en-US" sz="2000">
                <a:solidFill>
                  <a:srgbClr val="333333"/>
                </a:solidFill>
                <a:latin typeface="Menlo" charset="0"/>
              </a:rPr>
            </a:br>
            <a:r>
              <a:rPr lang="en-US" sz="2000">
                <a:solidFill>
                  <a:srgbClr val="333333"/>
                </a:solidFill>
                <a:latin typeface="Menlo" charset="0"/>
              </a:rPr>
              <a:t>	</a:t>
            </a:r>
            <a:r>
              <a:rPr lang="en-US" sz="2000" i="1">
                <a:solidFill>
                  <a:srgbClr val="006400"/>
                </a:solidFill>
                <a:latin typeface="Menlo" charset="0"/>
              </a:rPr>
              <a:t># Display a warning message indicating the DRS Automation level is incorrect</a:t>
            </a:r>
            <a:endParaRPr lang="en-US" sz="2000">
              <a:solidFill>
                <a:srgbClr val="333333"/>
              </a:solidFill>
              <a:latin typeface="Menlo" charset="0"/>
            </a:endParaRPr>
          </a:p>
          <a:p>
            <a:pPr marL="274320" lvl="1" indent="0">
              <a:buFont typeface="Arial" pitchFamily="34" charset="0"/>
              <a:buNone/>
            </a:pPr>
            <a:r>
              <a:rPr lang="en-US" sz="2000">
                <a:solidFill>
                  <a:srgbClr val="333333"/>
                </a:solidFill>
                <a:latin typeface="Menlo" charset="0"/>
              </a:rPr>
              <a:t>    	</a:t>
            </a:r>
            <a:r>
              <a:rPr lang="en-US" sz="2000">
                <a:solidFill>
                  <a:srgbClr val="0000FF"/>
                </a:solidFill>
                <a:latin typeface="Menlo" charset="0"/>
              </a:rPr>
              <a:t>Write-Warning</a:t>
            </a:r>
            <a:r>
              <a:rPr lang="en-US" sz="2000">
                <a:solidFill>
                  <a:srgbClr val="333333"/>
                </a:solidFill>
                <a:latin typeface="Menlo" charset="0"/>
              </a:rPr>
              <a:t> –Message ‘DRS Automation Level is wrong</a:t>
            </a:r>
            <a:r>
              <a:rPr lang="en-US" sz="2000">
                <a:solidFill>
                  <a:srgbClr val="A9A9A9"/>
                </a:solidFill>
                <a:latin typeface="Menlo" charset="0"/>
              </a:rPr>
              <a:t>!</a:t>
            </a:r>
            <a:r>
              <a:rPr lang="en-US" sz="2000">
                <a:solidFill>
                  <a:srgbClr val="333333"/>
                </a:solidFill>
                <a:latin typeface="Menlo" charset="0"/>
              </a:rPr>
              <a:t>’</a:t>
            </a:r>
          </a:p>
          <a:p>
            <a:pPr marL="0" indent="0">
              <a:buFont typeface="Arial" pitchFamily="34" charset="0"/>
              <a:buNone/>
            </a:pPr>
            <a:br>
              <a:rPr lang="en-US" sz="2400">
                <a:solidFill>
                  <a:srgbClr val="333333"/>
                </a:solidFill>
                <a:latin typeface="Menlo" charset="0"/>
              </a:rPr>
            </a:br>
            <a:r>
              <a:rPr lang="en-US" sz="2400">
                <a:solidFill>
                  <a:srgbClr val="333333"/>
                </a:solidFill>
                <a:latin typeface="Menlo" charset="0"/>
              </a:rPr>
              <a:t>}</a:t>
            </a:r>
          </a:p>
          <a:p>
            <a:pPr marL="0" indent="0">
              <a:buFont typeface="Arial" pitchFamily="34" charset="0"/>
              <a:buNone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2963117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63C8F9AA-6C92-B14B-BD64-02C221CE4FD1}"/>
              </a:ext>
            </a:extLst>
          </p:cNvPr>
          <p:cNvGrpSpPr/>
          <p:nvPr/>
        </p:nvGrpSpPr>
        <p:grpSpPr>
          <a:xfrm>
            <a:off x="-121147" y="2837377"/>
            <a:ext cx="7138968" cy="3223447"/>
            <a:chOff x="225429" y="2979884"/>
            <a:chExt cx="3964782" cy="1252838"/>
          </a:xfrm>
        </p:grpSpPr>
        <p:sp>
          <p:nvSpPr>
            <p:cNvPr id="3" name="Text Placeholder 5">
              <a:extLst>
                <a:ext uri="{FF2B5EF4-FFF2-40B4-BE49-F238E27FC236}">
                  <a16:creationId xmlns:a16="http://schemas.microsoft.com/office/drawing/2014/main" id="{8F20F1E0-A692-4B4D-AB13-2628CB3401AE}"/>
                </a:ext>
              </a:extLst>
            </p:cNvPr>
            <p:cNvSpPr txBox="1">
              <a:spLocks/>
            </p:cNvSpPr>
            <p:nvPr/>
          </p:nvSpPr>
          <p:spPr>
            <a:xfrm>
              <a:off x="225429" y="2979884"/>
              <a:ext cx="1258632" cy="1243038"/>
            </a:xfrm>
            <a:prstGeom prst="rect">
              <a:avLst/>
            </a:prstGeom>
          </p:spPr>
          <p:txBody>
            <a:bodyPr vert="horz" lIns="162434" tIns="81217" rIns="162434" bIns="81217" rtlCol="0">
              <a:normAutofit/>
            </a:bodyPr>
            <a:lstStyle>
              <a:lvl1pPr marL="0" indent="0" algn="l" defTabSz="457189" rtl="0" eaLnBrk="1" latinLnBrk="0" hangingPunct="1">
                <a:spcBef>
                  <a:spcPct val="20000"/>
                </a:spcBef>
                <a:buFont typeface="Arial"/>
                <a:buNone/>
                <a:defRPr sz="1500" b="0" i="0" kern="1200">
                  <a:solidFill>
                    <a:schemeClr val="bg1">
                      <a:lumMod val="65000"/>
                    </a:schemeClr>
                  </a:solidFill>
                  <a:latin typeface="Tahoma"/>
                  <a:ea typeface="+mn-ea"/>
                  <a:cs typeface="Tahoma"/>
                </a:defRPr>
              </a:lvl1pPr>
              <a:lvl2pPr marL="342900" indent="0" algn="l" defTabSz="457189" rtl="0" eaLnBrk="1" latinLnBrk="0" hangingPunct="1">
                <a:spcBef>
                  <a:spcPct val="20000"/>
                </a:spcBef>
                <a:buFont typeface="Arial"/>
                <a:buNone/>
                <a:defRPr sz="1050" b="0" i="0" kern="1200">
                  <a:solidFill>
                    <a:schemeClr val="bg1">
                      <a:lumMod val="65000"/>
                    </a:schemeClr>
                  </a:solidFill>
                  <a:latin typeface="Tahoma"/>
                  <a:ea typeface="+mn-ea"/>
                  <a:cs typeface="Tahoma"/>
                </a:defRPr>
              </a:lvl2pPr>
              <a:lvl3pPr marL="685800" indent="0" algn="l" defTabSz="457189" rtl="0" eaLnBrk="1" latinLnBrk="0" hangingPunct="1">
                <a:spcBef>
                  <a:spcPct val="20000"/>
                </a:spcBef>
                <a:buFont typeface="Arial"/>
                <a:buNone/>
                <a:defRPr sz="900" b="0" i="0" kern="1200">
                  <a:solidFill>
                    <a:schemeClr val="bg1">
                      <a:lumMod val="65000"/>
                    </a:schemeClr>
                  </a:solidFill>
                  <a:latin typeface="Tahoma"/>
                  <a:ea typeface="+mn-ea"/>
                  <a:cs typeface="Tahoma"/>
                </a:defRPr>
              </a:lvl3pPr>
              <a:lvl4pPr marL="1028700" indent="0" algn="l" defTabSz="457189" rtl="0" eaLnBrk="1" latinLnBrk="0" hangingPunct="1">
                <a:spcBef>
                  <a:spcPct val="20000"/>
                </a:spcBef>
                <a:buFont typeface="Arial"/>
                <a:buNone/>
                <a:defRPr sz="750" b="0" i="0" kern="1200">
                  <a:solidFill>
                    <a:schemeClr val="bg1">
                      <a:lumMod val="65000"/>
                    </a:schemeClr>
                  </a:solidFill>
                  <a:latin typeface="Tahoma"/>
                  <a:ea typeface="+mn-ea"/>
                  <a:cs typeface="Tahoma"/>
                </a:defRPr>
              </a:lvl4pPr>
              <a:lvl5pPr marL="1371600" indent="0" algn="l" defTabSz="457189" rtl="0" eaLnBrk="1" latinLnBrk="0" hangingPunct="1">
                <a:spcBef>
                  <a:spcPct val="20000"/>
                </a:spcBef>
                <a:buFont typeface="Arial"/>
                <a:buNone/>
                <a:defRPr sz="750" b="0" i="0" kern="1200">
                  <a:solidFill>
                    <a:schemeClr val="bg1">
                      <a:lumMod val="65000"/>
                    </a:schemeClr>
                  </a:solidFill>
                  <a:latin typeface="Tahoma"/>
                  <a:ea typeface="+mn-ea"/>
                  <a:cs typeface="Tahoma"/>
                </a:defRPr>
              </a:lvl5pPr>
              <a:lvl6pPr marL="1714500" indent="0" algn="l" defTabSz="457189" rtl="0" eaLnBrk="1" latinLnBrk="0" hangingPunct="1">
                <a:spcBef>
                  <a:spcPct val="20000"/>
                </a:spcBef>
                <a:buFont typeface="Arial"/>
                <a:buNone/>
                <a:defRPr sz="7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indent="0" algn="l" defTabSz="457189" rtl="0" eaLnBrk="1" latinLnBrk="0" hangingPunct="1">
                <a:spcBef>
                  <a:spcPct val="20000"/>
                </a:spcBef>
                <a:buFont typeface="Arial"/>
                <a:buNone/>
                <a:defRPr sz="7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indent="0" algn="l" defTabSz="457189" rtl="0" eaLnBrk="1" latinLnBrk="0" hangingPunct="1">
                <a:spcBef>
                  <a:spcPct val="20000"/>
                </a:spcBef>
                <a:buFont typeface="Arial"/>
                <a:buNone/>
                <a:defRPr sz="7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indent="0" algn="l" defTabSz="457189" rtl="0" eaLnBrk="1" latinLnBrk="0" hangingPunct="1">
                <a:spcBef>
                  <a:spcPct val="20000"/>
                </a:spcBef>
                <a:buFont typeface="Arial"/>
                <a:buNone/>
                <a:defRPr sz="7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US" sz="2664" b="1" dirty="0">
                  <a:solidFill>
                    <a:srgbClr val="3F3F3F"/>
                  </a:solidFill>
                </a:rPr>
                <a:t>Writer</a:t>
              </a:r>
            </a:p>
            <a:p>
              <a:pPr algn="r">
                <a:defRPr/>
              </a:pPr>
              <a:r>
                <a:rPr lang="en-US" sz="2664" b="1" dirty="0">
                  <a:solidFill>
                    <a:srgbClr val="3F3F3F"/>
                  </a:solidFill>
                </a:rPr>
                <a:t>GitHub</a:t>
              </a:r>
            </a:p>
            <a:p>
              <a:pPr algn="r">
                <a:defRPr/>
              </a:pPr>
              <a:r>
                <a:rPr lang="en-US" sz="2664" b="1" dirty="0">
                  <a:solidFill>
                    <a:srgbClr val="3F3F3F"/>
                  </a:solidFill>
                </a:rPr>
                <a:t>Podcast</a:t>
              </a:r>
            </a:p>
            <a:p>
              <a:pPr algn="r">
                <a:defRPr/>
              </a:pPr>
              <a:r>
                <a:rPr lang="en-US" sz="2664" b="1" dirty="0">
                  <a:solidFill>
                    <a:srgbClr val="3F3F3F"/>
                  </a:solidFill>
                </a:rPr>
                <a:t>Twitter</a:t>
              </a:r>
            </a:p>
            <a:p>
              <a:pPr algn="r">
                <a:defRPr/>
              </a:pPr>
              <a:r>
                <a:rPr lang="en-US" sz="2664" b="1" dirty="0">
                  <a:solidFill>
                    <a:srgbClr val="3F3F3F"/>
                  </a:solidFill>
                </a:rPr>
                <a:t>MS MVP</a:t>
              </a:r>
            </a:p>
          </p:txBody>
        </p:sp>
        <p:sp>
          <p:nvSpPr>
            <p:cNvPr id="4" name="Text Placeholder 5">
              <a:extLst>
                <a:ext uri="{FF2B5EF4-FFF2-40B4-BE49-F238E27FC236}">
                  <a16:creationId xmlns:a16="http://schemas.microsoft.com/office/drawing/2014/main" id="{D0E2645C-EAE8-B341-A06D-C5ED4067DC21}"/>
                </a:ext>
              </a:extLst>
            </p:cNvPr>
            <p:cNvSpPr txBox="1">
              <a:spLocks/>
            </p:cNvSpPr>
            <p:nvPr/>
          </p:nvSpPr>
          <p:spPr>
            <a:xfrm>
              <a:off x="1366141" y="2982195"/>
              <a:ext cx="2824070" cy="1250527"/>
            </a:xfrm>
            <a:prstGeom prst="rect">
              <a:avLst/>
            </a:prstGeom>
          </p:spPr>
          <p:txBody>
            <a:bodyPr vert="horz" lIns="162434" tIns="81217" rIns="162434" bIns="81217" rtlCol="0">
              <a:normAutofit/>
            </a:bodyPr>
            <a:lstStyle>
              <a:lvl1pPr marL="0" indent="0" algn="l" defTabSz="457189" rtl="0" eaLnBrk="1" latinLnBrk="0" hangingPunct="1">
                <a:spcBef>
                  <a:spcPct val="20000"/>
                </a:spcBef>
                <a:buFont typeface="Arial"/>
                <a:buNone/>
                <a:defRPr sz="1500" b="0" i="0" kern="1200">
                  <a:solidFill>
                    <a:schemeClr val="bg1">
                      <a:lumMod val="65000"/>
                    </a:schemeClr>
                  </a:solidFill>
                  <a:latin typeface="Tahoma"/>
                  <a:ea typeface="+mn-ea"/>
                  <a:cs typeface="Tahoma"/>
                </a:defRPr>
              </a:lvl1pPr>
              <a:lvl2pPr marL="342900" indent="0" algn="l" defTabSz="457189" rtl="0" eaLnBrk="1" latinLnBrk="0" hangingPunct="1">
                <a:spcBef>
                  <a:spcPct val="20000"/>
                </a:spcBef>
                <a:buFont typeface="Arial"/>
                <a:buNone/>
                <a:defRPr sz="1050" b="0" i="0" kern="1200">
                  <a:solidFill>
                    <a:schemeClr val="bg1">
                      <a:lumMod val="65000"/>
                    </a:schemeClr>
                  </a:solidFill>
                  <a:latin typeface="Tahoma"/>
                  <a:ea typeface="+mn-ea"/>
                  <a:cs typeface="Tahoma"/>
                </a:defRPr>
              </a:lvl2pPr>
              <a:lvl3pPr marL="685800" indent="0" algn="l" defTabSz="457189" rtl="0" eaLnBrk="1" latinLnBrk="0" hangingPunct="1">
                <a:spcBef>
                  <a:spcPct val="20000"/>
                </a:spcBef>
                <a:buFont typeface="Arial"/>
                <a:buNone/>
                <a:defRPr sz="900" b="0" i="0" kern="1200">
                  <a:solidFill>
                    <a:schemeClr val="bg1">
                      <a:lumMod val="65000"/>
                    </a:schemeClr>
                  </a:solidFill>
                  <a:latin typeface="Tahoma"/>
                  <a:ea typeface="+mn-ea"/>
                  <a:cs typeface="Tahoma"/>
                </a:defRPr>
              </a:lvl3pPr>
              <a:lvl4pPr marL="1028700" indent="0" algn="l" defTabSz="457189" rtl="0" eaLnBrk="1" latinLnBrk="0" hangingPunct="1">
                <a:spcBef>
                  <a:spcPct val="20000"/>
                </a:spcBef>
                <a:buFont typeface="Arial"/>
                <a:buNone/>
                <a:defRPr sz="750" b="0" i="0" kern="1200">
                  <a:solidFill>
                    <a:schemeClr val="bg1">
                      <a:lumMod val="65000"/>
                    </a:schemeClr>
                  </a:solidFill>
                  <a:latin typeface="Tahoma"/>
                  <a:ea typeface="+mn-ea"/>
                  <a:cs typeface="Tahoma"/>
                </a:defRPr>
              </a:lvl4pPr>
              <a:lvl5pPr marL="1371600" indent="0" algn="l" defTabSz="457189" rtl="0" eaLnBrk="1" latinLnBrk="0" hangingPunct="1">
                <a:spcBef>
                  <a:spcPct val="20000"/>
                </a:spcBef>
                <a:buFont typeface="Arial"/>
                <a:buNone/>
                <a:defRPr sz="750" b="0" i="0" kern="1200">
                  <a:solidFill>
                    <a:schemeClr val="bg1">
                      <a:lumMod val="65000"/>
                    </a:schemeClr>
                  </a:solidFill>
                  <a:latin typeface="Tahoma"/>
                  <a:ea typeface="+mn-ea"/>
                  <a:cs typeface="Tahoma"/>
                </a:defRPr>
              </a:lvl5pPr>
              <a:lvl6pPr marL="1714500" indent="0" algn="l" defTabSz="457189" rtl="0" eaLnBrk="1" latinLnBrk="0" hangingPunct="1">
                <a:spcBef>
                  <a:spcPct val="20000"/>
                </a:spcBef>
                <a:buFont typeface="Arial"/>
                <a:buNone/>
                <a:defRPr sz="7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indent="0" algn="l" defTabSz="457189" rtl="0" eaLnBrk="1" latinLnBrk="0" hangingPunct="1">
                <a:spcBef>
                  <a:spcPct val="20000"/>
                </a:spcBef>
                <a:buFont typeface="Arial"/>
                <a:buNone/>
                <a:defRPr sz="7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indent="0" algn="l" defTabSz="457189" rtl="0" eaLnBrk="1" latinLnBrk="0" hangingPunct="1">
                <a:spcBef>
                  <a:spcPct val="20000"/>
                </a:spcBef>
                <a:buFont typeface="Arial"/>
                <a:buNone/>
                <a:defRPr sz="7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indent="0" algn="l" defTabSz="457189" rtl="0" eaLnBrk="1" latinLnBrk="0" hangingPunct="1">
                <a:spcBef>
                  <a:spcPct val="20000"/>
                </a:spcBef>
                <a:buFont typeface="Arial"/>
                <a:buNone/>
                <a:defRPr sz="7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en-US" sz="2664" dirty="0">
                  <a:solidFill>
                    <a:srgbClr val="3F3F3F"/>
                  </a:solidFill>
                </a:rPr>
                <a:t>@ </a:t>
              </a:r>
              <a:r>
                <a:rPr lang="en-US" sz="2664" dirty="0" err="1">
                  <a:solidFill>
                    <a:srgbClr val="3F3F3F"/>
                  </a:solidFill>
                </a:rPr>
                <a:t>kmruddy.com</a:t>
              </a:r>
              <a:endParaRPr lang="en-US" sz="2664" dirty="0">
                <a:solidFill>
                  <a:srgbClr val="3F3F3F"/>
                </a:solidFill>
              </a:endParaRPr>
            </a:p>
            <a:p>
              <a:pPr>
                <a:defRPr/>
              </a:pPr>
              <a:r>
                <a:rPr lang="en-US" sz="2664" dirty="0">
                  <a:solidFill>
                    <a:srgbClr val="3F3F3F"/>
                  </a:solidFill>
                </a:rPr>
                <a:t>@ </a:t>
              </a:r>
              <a:r>
                <a:rPr lang="en-US" sz="2664" dirty="0" err="1">
                  <a:solidFill>
                    <a:srgbClr val="3F3F3F"/>
                  </a:solidFill>
                </a:rPr>
                <a:t>github.com</a:t>
              </a:r>
              <a:r>
                <a:rPr lang="en-US" sz="2664" dirty="0">
                  <a:solidFill>
                    <a:srgbClr val="3F3F3F"/>
                  </a:solidFill>
                </a:rPr>
                <a:t>/</a:t>
              </a:r>
              <a:r>
                <a:rPr lang="en-US" sz="2664" dirty="0" err="1">
                  <a:solidFill>
                    <a:srgbClr val="3F3F3F"/>
                  </a:solidFill>
                </a:rPr>
                <a:t>kmruddy</a:t>
              </a:r>
              <a:endParaRPr lang="en-US" sz="2664" dirty="0">
                <a:solidFill>
                  <a:srgbClr val="3F3F3F"/>
                </a:solidFill>
              </a:endParaRPr>
            </a:p>
            <a:p>
              <a:pPr>
                <a:defRPr/>
              </a:pPr>
              <a:r>
                <a:rPr lang="en-US" sz="2664" dirty="0">
                  <a:solidFill>
                    <a:srgbClr val="3F3F3F"/>
                  </a:solidFill>
                </a:rPr>
                <a:t>@ </a:t>
              </a:r>
              <a:r>
                <a:rPr lang="en-US" sz="2664" dirty="0" err="1">
                  <a:solidFill>
                    <a:srgbClr val="3F3F3F"/>
                  </a:solidFill>
                </a:rPr>
                <a:t>vBrownBag.com</a:t>
              </a:r>
              <a:endParaRPr lang="en-US" sz="2664" dirty="0">
                <a:solidFill>
                  <a:srgbClr val="3F3F3F"/>
                </a:solidFill>
              </a:endParaRPr>
            </a:p>
            <a:p>
              <a:pPr>
                <a:defRPr/>
              </a:pPr>
              <a:r>
                <a:rPr lang="en-US" sz="2664" dirty="0">
                  <a:solidFill>
                    <a:srgbClr val="3F3F3F"/>
                  </a:solidFill>
                </a:rPr>
                <a:t>@</a:t>
              </a:r>
              <a:r>
                <a:rPr lang="en-US" sz="2664" dirty="0" err="1">
                  <a:solidFill>
                    <a:srgbClr val="3F3F3F"/>
                  </a:solidFill>
                </a:rPr>
                <a:t>kmruddy</a:t>
              </a:r>
              <a:endParaRPr lang="en-US" sz="2664" dirty="0">
                <a:solidFill>
                  <a:srgbClr val="3F3F3F"/>
                </a:solidFill>
              </a:endParaRPr>
            </a:p>
            <a:p>
              <a:pPr>
                <a:defRPr/>
              </a:pPr>
              <a:r>
                <a:rPr lang="en-US" sz="2664" dirty="0">
                  <a:solidFill>
                    <a:srgbClr val="3F3F3F"/>
                  </a:solidFill>
                </a:rPr>
                <a:t>Cloud\Datacenter Management</a:t>
              </a:r>
            </a:p>
          </p:txBody>
        </p:sp>
      </p:grp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7D7A8E90-A789-CD40-AAF7-5F44D8E8D7CE}"/>
              </a:ext>
            </a:extLst>
          </p:cNvPr>
          <p:cNvSpPr txBox="1">
            <a:spLocks/>
          </p:cNvSpPr>
          <p:nvPr/>
        </p:nvSpPr>
        <p:spPr>
          <a:xfrm>
            <a:off x="488136" y="1931091"/>
            <a:ext cx="6016665" cy="634287"/>
          </a:xfrm>
          <a:prstGeom prst="rect">
            <a:avLst/>
          </a:prstGeom>
        </p:spPr>
        <p:txBody>
          <a:bodyPr vert="horz" lIns="162434" tIns="81217" rIns="162434" bIns="81217" rtlCol="0">
            <a:normAutofit fontScale="92500"/>
          </a:bodyPr>
          <a:lstStyle>
            <a:lvl1pPr marL="0" indent="0" algn="l" defTabSz="457189" rtl="0" eaLnBrk="1" latinLnBrk="0" hangingPunct="1">
              <a:spcBef>
                <a:spcPct val="20000"/>
              </a:spcBef>
              <a:buFont typeface="Arial"/>
              <a:buNone/>
              <a:defRPr sz="1500" b="0" i="0" kern="1200">
                <a:solidFill>
                  <a:schemeClr val="bg1">
                    <a:lumMod val="65000"/>
                  </a:schemeClr>
                </a:solidFill>
                <a:latin typeface="Tahoma"/>
                <a:ea typeface="+mn-ea"/>
                <a:cs typeface="Tahoma"/>
              </a:defRPr>
            </a:lvl1pPr>
            <a:lvl2pPr marL="342900" indent="0" algn="l" defTabSz="457189" rtl="0" eaLnBrk="1" latinLnBrk="0" hangingPunct="1">
              <a:spcBef>
                <a:spcPct val="20000"/>
              </a:spcBef>
              <a:buFont typeface="Arial"/>
              <a:buNone/>
              <a:defRPr sz="1050" b="0" i="0" kern="1200">
                <a:solidFill>
                  <a:schemeClr val="bg1">
                    <a:lumMod val="65000"/>
                  </a:schemeClr>
                </a:solidFill>
                <a:latin typeface="Tahoma"/>
                <a:ea typeface="+mn-ea"/>
                <a:cs typeface="Tahoma"/>
              </a:defRPr>
            </a:lvl2pPr>
            <a:lvl3pPr marL="685800" indent="0" algn="l" defTabSz="457189" rtl="0" eaLnBrk="1" latinLnBrk="0" hangingPunct="1">
              <a:spcBef>
                <a:spcPct val="20000"/>
              </a:spcBef>
              <a:buFont typeface="Arial"/>
              <a:buNone/>
              <a:defRPr sz="900" b="0" i="0" kern="1200">
                <a:solidFill>
                  <a:schemeClr val="bg1">
                    <a:lumMod val="65000"/>
                  </a:schemeClr>
                </a:solidFill>
                <a:latin typeface="Tahoma"/>
                <a:ea typeface="+mn-ea"/>
                <a:cs typeface="Tahoma"/>
              </a:defRPr>
            </a:lvl3pPr>
            <a:lvl4pPr marL="1028700" indent="0" algn="l" defTabSz="457189" rtl="0" eaLnBrk="1" latinLnBrk="0" hangingPunct="1">
              <a:spcBef>
                <a:spcPct val="20000"/>
              </a:spcBef>
              <a:buFont typeface="Arial"/>
              <a:buNone/>
              <a:defRPr sz="750" b="0" i="0" kern="1200">
                <a:solidFill>
                  <a:schemeClr val="bg1">
                    <a:lumMod val="65000"/>
                  </a:schemeClr>
                </a:solidFill>
                <a:latin typeface="Tahoma"/>
                <a:ea typeface="+mn-ea"/>
                <a:cs typeface="Tahoma"/>
              </a:defRPr>
            </a:lvl4pPr>
            <a:lvl5pPr marL="1371600" indent="0" algn="l" defTabSz="457189" rtl="0" eaLnBrk="1" latinLnBrk="0" hangingPunct="1">
              <a:spcBef>
                <a:spcPct val="20000"/>
              </a:spcBef>
              <a:buFont typeface="Arial"/>
              <a:buNone/>
              <a:defRPr sz="750" b="0" i="0" kern="1200">
                <a:solidFill>
                  <a:schemeClr val="bg1">
                    <a:lumMod val="65000"/>
                  </a:schemeClr>
                </a:solidFill>
                <a:latin typeface="Tahoma"/>
                <a:ea typeface="+mn-ea"/>
                <a:cs typeface="Tahoma"/>
              </a:defRPr>
            </a:lvl5pPr>
            <a:lvl6pPr marL="1714500" indent="0" algn="l" defTabSz="457189" rtl="0" eaLnBrk="1" latinLnBrk="0" hangingPunct="1">
              <a:spcBef>
                <a:spcPct val="20000"/>
              </a:spcBef>
              <a:buFont typeface="Arial"/>
              <a:buNone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l" defTabSz="457189" rtl="0" eaLnBrk="1" latinLnBrk="0" hangingPunct="1">
              <a:spcBef>
                <a:spcPct val="20000"/>
              </a:spcBef>
              <a:buFont typeface="Arial"/>
              <a:buNone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l" defTabSz="457189" rtl="0" eaLnBrk="1" latinLnBrk="0" hangingPunct="1">
              <a:spcBef>
                <a:spcPct val="20000"/>
              </a:spcBef>
              <a:buFont typeface="Arial"/>
              <a:buNone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l" defTabSz="457189" rtl="0" eaLnBrk="1" latinLnBrk="0" hangingPunct="1">
              <a:spcBef>
                <a:spcPct val="20000"/>
              </a:spcBef>
              <a:buFont typeface="Arial"/>
              <a:buNone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2798" dirty="0">
                <a:solidFill>
                  <a:srgbClr val="717074">
                    <a:lumMod val="75000"/>
                  </a:srgbClr>
                </a:solidFill>
              </a:rPr>
              <a:t>Senior Architect, Technical Marketing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85D5F5D-5DA4-3B49-8609-539EDB6A2497}"/>
              </a:ext>
            </a:extLst>
          </p:cNvPr>
          <p:cNvSpPr txBox="1">
            <a:spLocks/>
          </p:cNvSpPr>
          <p:nvPr/>
        </p:nvSpPr>
        <p:spPr>
          <a:xfrm>
            <a:off x="489578" y="1270652"/>
            <a:ext cx="6016665" cy="862767"/>
          </a:xfrm>
          <a:prstGeom prst="rect">
            <a:avLst/>
          </a:prstGeom>
        </p:spPr>
        <p:txBody>
          <a:bodyPr vert="horz" lIns="162434" tIns="81217" rIns="162434" bIns="81217" rtlCol="0">
            <a:noAutofit/>
          </a:bodyPr>
          <a:lstStyle>
            <a:lvl1pPr marL="0" indent="0" algn="l" defTabSz="457189" rtl="0" eaLnBrk="1" latinLnBrk="0" hangingPunct="1">
              <a:spcBef>
                <a:spcPct val="20000"/>
              </a:spcBef>
              <a:buFont typeface="Arial"/>
              <a:buNone/>
              <a:defRPr sz="1500" b="0" i="0" kern="1200">
                <a:solidFill>
                  <a:schemeClr val="bg1">
                    <a:lumMod val="65000"/>
                  </a:schemeClr>
                </a:solidFill>
                <a:latin typeface="Tahoma"/>
                <a:ea typeface="+mn-ea"/>
                <a:cs typeface="Tahoma"/>
              </a:defRPr>
            </a:lvl1pPr>
            <a:lvl2pPr marL="342900" indent="0" algn="l" defTabSz="457189" rtl="0" eaLnBrk="1" latinLnBrk="0" hangingPunct="1">
              <a:spcBef>
                <a:spcPct val="20000"/>
              </a:spcBef>
              <a:buFont typeface="Arial"/>
              <a:buNone/>
              <a:defRPr sz="1050" b="0" i="0" kern="1200">
                <a:solidFill>
                  <a:schemeClr val="bg1">
                    <a:lumMod val="65000"/>
                  </a:schemeClr>
                </a:solidFill>
                <a:latin typeface="Tahoma"/>
                <a:ea typeface="+mn-ea"/>
                <a:cs typeface="Tahoma"/>
              </a:defRPr>
            </a:lvl2pPr>
            <a:lvl3pPr marL="685800" indent="0" algn="l" defTabSz="457189" rtl="0" eaLnBrk="1" latinLnBrk="0" hangingPunct="1">
              <a:spcBef>
                <a:spcPct val="20000"/>
              </a:spcBef>
              <a:buFont typeface="Arial"/>
              <a:buNone/>
              <a:defRPr sz="900" b="0" i="0" kern="1200">
                <a:solidFill>
                  <a:schemeClr val="bg1">
                    <a:lumMod val="65000"/>
                  </a:schemeClr>
                </a:solidFill>
                <a:latin typeface="Tahoma"/>
                <a:ea typeface="+mn-ea"/>
                <a:cs typeface="Tahoma"/>
              </a:defRPr>
            </a:lvl3pPr>
            <a:lvl4pPr marL="1028700" indent="0" algn="l" defTabSz="457189" rtl="0" eaLnBrk="1" latinLnBrk="0" hangingPunct="1">
              <a:spcBef>
                <a:spcPct val="20000"/>
              </a:spcBef>
              <a:buFont typeface="Arial"/>
              <a:buNone/>
              <a:defRPr sz="750" b="0" i="0" kern="1200">
                <a:solidFill>
                  <a:schemeClr val="bg1">
                    <a:lumMod val="65000"/>
                  </a:schemeClr>
                </a:solidFill>
                <a:latin typeface="Tahoma"/>
                <a:ea typeface="+mn-ea"/>
                <a:cs typeface="Tahoma"/>
              </a:defRPr>
            </a:lvl4pPr>
            <a:lvl5pPr marL="1371600" indent="0" algn="l" defTabSz="457189" rtl="0" eaLnBrk="1" latinLnBrk="0" hangingPunct="1">
              <a:spcBef>
                <a:spcPct val="20000"/>
              </a:spcBef>
              <a:buFont typeface="Arial"/>
              <a:buNone/>
              <a:defRPr sz="750" b="0" i="0" kern="1200">
                <a:solidFill>
                  <a:schemeClr val="bg1">
                    <a:lumMod val="65000"/>
                  </a:schemeClr>
                </a:solidFill>
                <a:latin typeface="Tahoma"/>
                <a:ea typeface="+mn-ea"/>
                <a:cs typeface="Tahoma"/>
              </a:defRPr>
            </a:lvl5pPr>
            <a:lvl6pPr marL="1714500" indent="0" algn="l" defTabSz="457189" rtl="0" eaLnBrk="1" latinLnBrk="0" hangingPunct="1">
              <a:spcBef>
                <a:spcPct val="20000"/>
              </a:spcBef>
              <a:buFont typeface="Arial"/>
              <a:buNone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l" defTabSz="457189" rtl="0" eaLnBrk="1" latinLnBrk="0" hangingPunct="1">
              <a:spcBef>
                <a:spcPct val="20000"/>
              </a:spcBef>
              <a:buFont typeface="Arial"/>
              <a:buNone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l" defTabSz="457189" rtl="0" eaLnBrk="1" latinLnBrk="0" hangingPunct="1">
              <a:spcBef>
                <a:spcPct val="20000"/>
              </a:spcBef>
              <a:buFont typeface="Arial"/>
              <a:buNone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l" defTabSz="457189" rtl="0" eaLnBrk="1" latinLnBrk="0" hangingPunct="1">
              <a:spcBef>
                <a:spcPct val="20000"/>
              </a:spcBef>
              <a:buFont typeface="Arial"/>
              <a:buNone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3998" b="1">
                <a:solidFill>
                  <a:srgbClr val="717074">
                    <a:lumMod val="75000"/>
                  </a:srgbClr>
                </a:solidFill>
              </a:rPr>
              <a:t>Kyle Ruddy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5B9C449-97D8-FF49-A677-6599747AF2F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5956" y="922404"/>
            <a:ext cx="4302821" cy="5013193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35177751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B8D578C-57D4-9947-BC09-5C4BD29A8D2C}"/>
              </a:ext>
            </a:extLst>
          </p:cNvPr>
          <p:cNvSpPr txBox="1"/>
          <p:nvPr/>
        </p:nvSpPr>
        <p:spPr>
          <a:xfrm>
            <a:off x="139148" y="715617"/>
            <a:ext cx="1158902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/>
              <a:t>Decision Making Logic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62083A0-E41C-1342-B0F8-731DDA83A6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3006" y="2789720"/>
            <a:ext cx="10245987" cy="1278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065780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1149C63-800F-0640-A89B-0E611285172C}"/>
              </a:ext>
            </a:extLst>
          </p:cNvPr>
          <p:cNvSpPr txBox="1"/>
          <p:nvPr/>
        </p:nvSpPr>
        <p:spPr>
          <a:xfrm>
            <a:off x="139148" y="715617"/>
            <a:ext cx="1158902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/>
              <a:t>Decision Making Logic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AFE936-E00F-1A4E-8B60-3FB3BE479305}"/>
              </a:ext>
            </a:extLst>
          </p:cNvPr>
          <p:cNvSpPr txBox="1">
            <a:spLocks/>
          </p:cNvSpPr>
          <p:nvPr/>
        </p:nvSpPr>
        <p:spPr>
          <a:xfrm>
            <a:off x="139148" y="1600201"/>
            <a:ext cx="11453176" cy="4572000"/>
          </a:xfrm>
          <a:prstGeom prst="rect">
            <a:avLst/>
          </a:prstGeom>
        </p:spPr>
        <p:txBody>
          <a:bodyPr/>
          <a:lstStyle>
            <a:lvl1pPr marL="228611" indent="-228611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5325" indent="-190510" algn="l" defTabSz="6096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2038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6853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69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76484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81299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86114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90930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endParaRPr lang="en-US" sz="2400" i="1" dirty="0">
              <a:solidFill>
                <a:srgbClr val="006400"/>
              </a:solidFill>
              <a:latin typeface="Menlo" charset="0"/>
            </a:endParaRPr>
          </a:p>
          <a:p>
            <a:pPr marL="0" indent="0">
              <a:buFont typeface="Arial" pitchFamily="34" charset="0"/>
              <a:buNone/>
            </a:pPr>
            <a:r>
              <a:rPr lang="en-US" sz="2400" i="1" dirty="0">
                <a:solidFill>
                  <a:srgbClr val="006400"/>
                </a:solidFill>
                <a:latin typeface="Menlo" charset="0"/>
              </a:rPr>
              <a:t># Add logic to modify these values</a:t>
            </a:r>
            <a:endParaRPr lang="en-US" sz="2400" dirty="0">
              <a:solidFill>
                <a:srgbClr val="333333"/>
              </a:solidFill>
              <a:latin typeface="Menlo" charset="0"/>
            </a:endParaRPr>
          </a:p>
          <a:p>
            <a:pPr marL="0" indent="0">
              <a:buFont typeface="Arial" pitchFamily="34" charset="0"/>
              <a:buNone/>
            </a:pPr>
            <a:r>
              <a:rPr lang="en-US" sz="2400" dirty="0">
                <a:solidFill>
                  <a:srgbClr val="00008B"/>
                </a:solidFill>
                <a:latin typeface="Menlo" charset="0"/>
              </a:rPr>
              <a:t>if</a:t>
            </a:r>
            <a:r>
              <a:rPr lang="en-US" sz="2400" dirty="0">
                <a:solidFill>
                  <a:srgbClr val="333333"/>
                </a:solidFill>
                <a:latin typeface="Menlo" charset="0"/>
              </a:rPr>
              <a:t> </a:t>
            </a:r>
            <a:r>
              <a:rPr lang="en-US" sz="2400" dirty="0">
                <a:solidFill>
                  <a:srgbClr val="00008B"/>
                </a:solidFill>
                <a:latin typeface="Menlo" charset="0"/>
              </a:rPr>
              <a:t>($</a:t>
            </a:r>
            <a:r>
              <a:rPr lang="en-US" sz="2400" dirty="0" err="1">
                <a:solidFill>
                  <a:srgbClr val="FF4500"/>
                </a:solidFill>
                <a:latin typeface="Menlo" charset="0"/>
              </a:rPr>
              <a:t>clusterConfig</a:t>
            </a:r>
            <a:r>
              <a:rPr lang="en-US" sz="2400" dirty="0" err="1">
                <a:solidFill>
                  <a:srgbClr val="0000FF"/>
                </a:solidFill>
                <a:latin typeface="Menlo" charset="0"/>
              </a:rPr>
              <a:t>.DrsAutomationLevel</a:t>
            </a:r>
            <a:r>
              <a:rPr lang="en-US" sz="2400" dirty="0">
                <a:solidFill>
                  <a:srgbClr val="333333"/>
                </a:solidFill>
                <a:latin typeface="Menlo" charset="0"/>
              </a:rPr>
              <a:t> –ne ‘</a:t>
            </a:r>
            <a:r>
              <a:rPr lang="en-US" sz="2400" dirty="0" err="1">
                <a:solidFill>
                  <a:srgbClr val="333333"/>
                </a:solidFill>
                <a:latin typeface="Menlo" charset="0"/>
              </a:rPr>
              <a:t>FullyAutomated</a:t>
            </a:r>
            <a:r>
              <a:rPr lang="en-US" sz="2400" dirty="0">
                <a:solidFill>
                  <a:srgbClr val="333333"/>
                </a:solidFill>
                <a:latin typeface="Menlo" charset="0"/>
              </a:rPr>
              <a:t>’</a:t>
            </a:r>
            <a:r>
              <a:rPr lang="en-US" sz="2400" dirty="0">
                <a:solidFill>
                  <a:srgbClr val="00008B"/>
                </a:solidFill>
                <a:latin typeface="Menlo" charset="0"/>
              </a:rPr>
              <a:t>)</a:t>
            </a:r>
            <a:r>
              <a:rPr lang="en-US" sz="2400" dirty="0">
                <a:solidFill>
                  <a:srgbClr val="333333"/>
                </a:solidFill>
                <a:latin typeface="Menlo" charset="0"/>
              </a:rPr>
              <a:t> {</a:t>
            </a:r>
          </a:p>
          <a:p>
            <a:pPr marL="274320" lvl="1" indent="0">
              <a:buFont typeface="Arial" pitchFamily="34" charset="0"/>
              <a:buNone/>
            </a:pPr>
            <a:br>
              <a:rPr lang="en-US" sz="2000" dirty="0">
                <a:solidFill>
                  <a:srgbClr val="333333"/>
                </a:solidFill>
                <a:latin typeface="Menlo" charset="0"/>
              </a:rPr>
            </a:br>
            <a:r>
              <a:rPr lang="en-US" sz="2000" i="1" dirty="0">
                <a:solidFill>
                  <a:srgbClr val="006400"/>
                </a:solidFill>
                <a:latin typeface="Menlo" charset="0"/>
              </a:rPr>
              <a:t># Display a warning message that the DRS Automation level is incorrect</a:t>
            </a:r>
            <a:endParaRPr lang="en-US" sz="2000" dirty="0">
              <a:solidFill>
                <a:srgbClr val="333333"/>
              </a:solidFill>
              <a:latin typeface="Menlo" charset="0"/>
            </a:endParaRPr>
          </a:p>
          <a:p>
            <a:pPr marL="274320" lvl="1" indent="0">
              <a:buFont typeface="Arial" pitchFamily="34" charset="0"/>
              <a:buNone/>
            </a:pPr>
            <a:r>
              <a:rPr lang="en-US" sz="2000" dirty="0">
                <a:solidFill>
                  <a:srgbClr val="0000FF"/>
                </a:solidFill>
                <a:latin typeface="Menlo" charset="0"/>
              </a:rPr>
              <a:t>Write-Warning</a:t>
            </a:r>
            <a:r>
              <a:rPr lang="en-US" sz="2000" dirty="0">
                <a:solidFill>
                  <a:srgbClr val="333333"/>
                </a:solidFill>
                <a:latin typeface="Menlo" charset="0"/>
              </a:rPr>
              <a:t> –Message ‘DRS Automation Level is wrong</a:t>
            </a:r>
            <a:r>
              <a:rPr lang="en-US" sz="2000" dirty="0">
                <a:solidFill>
                  <a:srgbClr val="A9A9A9"/>
                </a:solidFill>
                <a:latin typeface="Menlo" charset="0"/>
              </a:rPr>
              <a:t>!</a:t>
            </a:r>
            <a:r>
              <a:rPr lang="en-US" sz="2000" dirty="0">
                <a:solidFill>
                  <a:srgbClr val="333333"/>
                </a:solidFill>
                <a:latin typeface="Menlo" charset="0"/>
              </a:rPr>
              <a:t>’</a:t>
            </a:r>
          </a:p>
          <a:p>
            <a:pPr marL="274320" lvl="1" indent="0">
              <a:buFont typeface="Arial" pitchFamily="34" charset="0"/>
              <a:buNone/>
            </a:pPr>
            <a:r>
              <a:rPr lang="en-US" sz="2000" i="1" dirty="0">
                <a:solidFill>
                  <a:srgbClr val="006400"/>
                </a:solidFill>
                <a:latin typeface="Menlo" charset="0"/>
              </a:rPr>
              <a:t># Change the cluster configuration to be the proper level for DRS</a:t>
            </a:r>
            <a:endParaRPr lang="en-US" sz="2000" dirty="0">
              <a:solidFill>
                <a:srgbClr val="333333"/>
              </a:solidFill>
              <a:latin typeface="Menlo" charset="0"/>
            </a:endParaRPr>
          </a:p>
          <a:p>
            <a:pPr marL="274320" lvl="1" indent="0">
              <a:buFont typeface="Arial" pitchFamily="34" charset="0"/>
              <a:buNone/>
            </a:pPr>
            <a:r>
              <a:rPr lang="en-US" sz="2000" dirty="0">
                <a:solidFill>
                  <a:srgbClr val="0000FF"/>
                </a:solidFill>
                <a:latin typeface="Menlo" charset="0"/>
              </a:rPr>
              <a:t>Set-Cluster</a:t>
            </a:r>
            <a:r>
              <a:rPr lang="en-US" sz="2000" dirty="0">
                <a:solidFill>
                  <a:srgbClr val="333333"/>
                </a:solidFill>
                <a:latin typeface="Menlo" charset="0"/>
              </a:rPr>
              <a:t> –Cluster </a:t>
            </a:r>
            <a:r>
              <a:rPr lang="en-US" sz="2000" dirty="0">
                <a:solidFill>
                  <a:srgbClr val="00008B"/>
                </a:solidFill>
                <a:latin typeface="Menlo" charset="0"/>
              </a:rPr>
              <a:t>$</a:t>
            </a:r>
            <a:r>
              <a:rPr lang="en-US" sz="2000" dirty="0">
                <a:solidFill>
                  <a:srgbClr val="FF4500"/>
                </a:solidFill>
                <a:latin typeface="Menlo" charset="0"/>
              </a:rPr>
              <a:t>cluster</a:t>
            </a:r>
            <a:r>
              <a:rPr lang="en-US" sz="2000" dirty="0">
                <a:solidFill>
                  <a:srgbClr val="333333"/>
                </a:solidFill>
                <a:latin typeface="Menlo" charset="0"/>
              </a:rPr>
              <a:t> –</a:t>
            </a:r>
            <a:r>
              <a:rPr lang="en-US" sz="2000" dirty="0" err="1">
                <a:solidFill>
                  <a:srgbClr val="333333"/>
                </a:solidFill>
                <a:latin typeface="Menlo" charset="0"/>
              </a:rPr>
              <a:t>DrsAutomationlevel</a:t>
            </a:r>
            <a:r>
              <a:rPr lang="en-US" sz="2000" dirty="0">
                <a:solidFill>
                  <a:srgbClr val="333333"/>
                </a:solidFill>
                <a:latin typeface="Menlo" charset="0"/>
              </a:rPr>
              <a:t> </a:t>
            </a:r>
            <a:r>
              <a:rPr lang="en-US" sz="2000" dirty="0" err="1">
                <a:solidFill>
                  <a:srgbClr val="333333"/>
                </a:solidFill>
                <a:latin typeface="Menlo" charset="0"/>
              </a:rPr>
              <a:t>FullyAutomated</a:t>
            </a:r>
            <a:endParaRPr lang="en-US" sz="2000" dirty="0">
              <a:solidFill>
                <a:srgbClr val="333333"/>
              </a:solidFill>
              <a:latin typeface="Menlo" charset="0"/>
            </a:endParaRPr>
          </a:p>
          <a:p>
            <a:pPr marL="0" indent="0">
              <a:buFont typeface="Arial" pitchFamily="34" charset="0"/>
              <a:buNone/>
            </a:pPr>
            <a:br>
              <a:rPr lang="en-US" sz="2400" dirty="0">
                <a:solidFill>
                  <a:srgbClr val="333333"/>
                </a:solidFill>
                <a:latin typeface="Menlo" charset="0"/>
              </a:rPr>
            </a:br>
            <a:r>
              <a:rPr lang="en-US" sz="2400" dirty="0">
                <a:solidFill>
                  <a:srgbClr val="333333"/>
                </a:solidFill>
                <a:latin typeface="Menlo" charset="0"/>
              </a:rPr>
              <a:t>}</a:t>
            </a:r>
          </a:p>
          <a:p>
            <a:pPr marL="0" indent="0">
              <a:buFont typeface="Arial" pitchFamily="34" charset="0"/>
              <a:buNone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62783784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E057CAB-8354-2B4D-B1F3-F378709B9127}"/>
              </a:ext>
            </a:extLst>
          </p:cNvPr>
          <p:cNvSpPr txBox="1"/>
          <p:nvPr/>
        </p:nvSpPr>
        <p:spPr>
          <a:xfrm>
            <a:off x="139148" y="715617"/>
            <a:ext cx="1158902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/>
              <a:t>Gathering Cluster Data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8B927E2-1BC3-DD4B-B54B-D88E2FC461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0340" y="2111321"/>
            <a:ext cx="10311319" cy="3525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36715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B8C190A-AE5D-5D44-ABA5-41EF150A840B}"/>
              </a:ext>
            </a:extLst>
          </p:cNvPr>
          <p:cNvSpPr txBox="1"/>
          <p:nvPr/>
        </p:nvSpPr>
        <p:spPr>
          <a:xfrm>
            <a:off x="1217469" y="2721114"/>
            <a:ext cx="975706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ab Time!</a:t>
            </a:r>
          </a:p>
        </p:txBody>
      </p:sp>
    </p:spTree>
    <p:extLst>
      <p:ext uri="{BB962C8B-B14F-4D97-AF65-F5344CB8AC3E}">
        <p14:creationId xmlns:p14="http://schemas.microsoft.com/office/powerpoint/2010/main" val="304380416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D1A82B1-03AA-D34C-8CA3-C48EF3E9A84D}"/>
              </a:ext>
            </a:extLst>
          </p:cNvPr>
          <p:cNvSpPr txBox="1"/>
          <p:nvPr/>
        </p:nvSpPr>
        <p:spPr>
          <a:xfrm>
            <a:off x="139148" y="715617"/>
            <a:ext cx="1158902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/>
              <a:t>VMware Hands On Lab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AA0280B-6BA0-1C4D-804F-8B7D5FDEA663}"/>
              </a:ext>
            </a:extLst>
          </p:cNvPr>
          <p:cNvSpPr txBox="1"/>
          <p:nvPr/>
        </p:nvSpPr>
        <p:spPr>
          <a:xfrm>
            <a:off x="262467" y="1729409"/>
            <a:ext cx="11404600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The lab for today’s workshop: </a:t>
            </a:r>
            <a:br>
              <a:rPr lang="en-US" sz="2400" dirty="0"/>
            </a:br>
            <a:endParaRPr lang="en-US" sz="2400" dirty="0"/>
          </a:p>
          <a:p>
            <a:pPr algn="ctr"/>
            <a:r>
              <a:rPr lang="en-US" sz="3200" dirty="0"/>
              <a:t>HOL-2012-01-SDC - VMware vSphere Automation – PowerCLI</a:t>
            </a:r>
          </a:p>
          <a:p>
            <a:pPr algn="ctr"/>
            <a:endParaRPr lang="en-US" sz="2400" dirty="0"/>
          </a:p>
          <a:p>
            <a:pPr algn="ctr"/>
            <a:endParaRPr lang="en-US" sz="2400" dirty="0"/>
          </a:p>
          <a:p>
            <a:endParaRPr lang="en-US" sz="2400" dirty="0"/>
          </a:p>
          <a:p>
            <a:r>
              <a:rPr lang="en-US" sz="2400" dirty="0"/>
              <a:t>Link: </a:t>
            </a:r>
            <a:r>
              <a:rPr lang="en-US" sz="2400" dirty="0">
                <a:hlinkClick r:id="rId3"/>
              </a:rPr>
              <a:t>https://labs.hol.vmware.com/HOL/</a:t>
            </a:r>
            <a:endParaRPr lang="en-US" sz="2400" dirty="0"/>
          </a:p>
          <a:p>
            <a:endParaRPr lang="en-US" sz="2400" dirty="0"/>
          </a:p>
          <a:p>
            <a:endParaRPr lang="en-US" sz="2400" dirty="0"/>
          </a:p>
          <a:p>
            <a:endParaRPr lang="en-US" sz="2400" dirty="0"/>
          </a:p>
          <a:p>
            <a:r>
              <a:rPr lang="en-US" sz="2400" dirty="0"/>
              <a:t>Even after today, if you don’t have your own lab - Use ours!</a:t>
            </a:r>
          </a:p>
        </p:txBody>
      </p:sp>
    </p:spTree>
    <p:extLst>
      <p:ext uri="{BB962C8B-B14F-4D97-AF65-F5344CB8AC3E}">
        <p14:creationId xmlns:p14="http://schemas.microsoft.com/office/powerpoint/2010/main" val="287588095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11EEF080-2782-844F-8C94-ABE070C79179}"/>
              </a:ext>
            </a:extLst>
          </p:cNvPr>
          <p:cNvSpPr txBox="1"/>
          <p:nvPr/>
        </p:nvSpPr>
        <p:spPr>
          <a:xfrm>
            <a:off x="1217469" y="2721114"/>
            <a:ext cx="975706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re Advanced Topics</a:t>
            </a:r>
          </a:p>
        </p:txBody>
      </p:sp>
    </p:spTree>
    <p:extLst>
      <p:ext uri="{BB962C8B-B14F-4D97-AF65-F5344CB8AC3E}">
        <p14:creationId xmlns:p14="http://schemas.microsoft.com/office/powerpoint/2010/main" val="376207752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D1A82B1-03AA-D34C-8CA3-C48EF3E9A84D}"/>
              </a:ext>
            </a:extLst>
          </p:cNvPr>
          <p:cNvSpPr txBox="1"/>
          <p:nvPr/>
        </p:nvSpPr>
        <p:spPr>
          <a:xfrm>
            <a:off x="139148" y="715617"/>
            <a:ext cx="1158902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4400" b="1" dirty="0">
                <a:solidFill>
                  <a:prstClr val="black"/>
                </a:solidFill>
              </a:rPr>
              <a:t>Try-Catch-Finally</a:t>
            </a: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350C6136-242D-DA44-929D-92EAD264ED93}"/>
              </a:ext>
            </a:extLst>
          </p:cNvPr>
          <p:cNvSpPr txBox="1">
            <a:spLocks/>
          </p:cNvSpPr>
          <p:nvPr/>
        </p:nvSpPr>
        <p:spPr>
          <a:xfrm>
            <a:off x="616666" y="1600201"/>
            <a:ext cx="10975658" cy="4572000"/>
          </a:xfrm>
          <a:prstGeom prst="rect">
            <a:avLst/>
          </a:prstGeom>
        </p:spPr>
        <p:txBody>
          <a:bodyPr/>
          <a:lstStyle>
            <a:lvl1pPr marL="228611" indent="-228611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5325" indent="-190510" algn="l" defTabSz="6096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2038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6853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69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76484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81299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86114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90930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The “forced” terminating error</a:t>
            </a:r>
          </a:p>
          <a:p>
            <a:r>
              <a:rPr lang="en-US"/>
              <a:t>Use Try-Catch(-Finally)</a:t>
            </a:r>
          </a:p>
          <a:p>
            <a:pPr lvl="1"/>
            <a:r>
              <a:rPr lang="en-US"/>
              <a:t>Part of your repertoire!</a:t>
            </a:r>
          </a:p>
          <a:p>
            <a:pPr lvl="1"/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882237C-5BCA-CC4D-BAC7-91BB8EB449D3}"/>
              </a:ext>
            </a:extLst>
          </p:cNvPr>
          <p:cNvSpPr/>
          <p:nvPr/>
        </p:nvSpPr>
        <p:spPr>
          <a:xfrm>
            <a:off x="301997" y="2984498"/>
            <a:ext cx="11531600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$</a:t>
            </a:r>
            <a:r>
              <a:rPr lang="en-US" sz="2000" dirty="0" err="1">
                <a:solidFill>
                  <a:srgbClr val="FF4500"/>
                </a:solidFill>
                <a:latin typeface="Consolas" panose="020B0609020204030204" pitchFamily="49" charset="0"/>
              </a:rPr>
              <a:t>vNic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A9A9A9"/>
                </a:solidFill>
                <a:latin typeface="Consolas" panose="020B0609020204030204" pitchFamily="49" charset="0"/>
              </a:rPr>
              <a:t>=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0000FF"/>
                </a:solidFill>
                <a:latin typeface="Consolas" panose="020B0609020204030204" pitchFamily="49" charset="0"/>
              </a:rPr>
              <a:t>Get-VM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A9A9A9"/>
                </a:solidFill>
                <a:latin typeface="Consolas" panose="020B0609020204030204" pitchFamily="49" charset="0"/>
              </a:rPr>
              <a:t>-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Name 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$</a:t>
            </a:r>
            <a:r>
              <a:rPr lang="en-US" sz="2000" dirty="0" err="1">
                <a:solidFill>
                  <a:srgbClr val="FF4500"/>
                </a:solidFill>
                <a:latin typeface="Consolas" panose="020B0609020204030204" pitchFamily="49" charset="0"/>
              </a:rPr>
              <a:t>vmName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A9A9A9"/>
                </a:solidFill>
                <a:latin typeface="Consolas" panose="020B0609020204030204" pitchFamily="49" charset="0"/>
              </a:rPr>
              <a:t>|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0000FF"/>
                </a:solidFill>
                <a:latin typeface="Consolas" panose="020B0609020204030204" pitchFamily="49" charset="0"/>
              </a:rPr>
              <a:t>Get-</a:t>
            </a:r>
            <a:r>
              <a:rPr lang="en-US" sz="2000" dirty="0" err="1">
                <a:solidFill>
                  <a:srgbClr val="0000FF"/>
                </a:solidFill>
                <a:latin typeface="Consolas" panose="020B0609020204030204" pitchFamily="49" charset="0"/>
              </a:rPr>
              <a:t>NetworkAdapter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A9A9A9"/>
                </a:solidFill>
                <a:latin typeface="Consolas" panose="020B0609020204030204" pitchFamily="49" charset="0"/>
              </a:rPr>
              <a:t>-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Name 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$</a:t>
            </a:r>
            <a:r>
              <a:rPr lang="en-US" sz="2000" dirty="0" err="1">
                <a:solidFill>
                  <a:srgbClr val="FF4500"/>
                </a:solidFill>
                <a:latin typeface="Consolas" panose="020B0609020204030204" pitchFamily="49" charset="0"/>
              </a:rPr>
              <a:t>nicName</a:t>
            </a:r>
            <a:endParaRPr lang="en-US" sz="2000" dirty="0">
              <a:solidFill>
                <a:srgbClr val="333333"/>
              </a:solidFill>
              <a:latin typeface="Consolas" panose="020B0609020204030204" pitchFamily="49" charset="0"/>
            </a:endParaRPr>
          </a:p>
          <a:p>
            <a:r>
              <a:rPr lang="en-US" sz="2000" dirty="0">
                <a:solidFill>
                  <a:srgbClr val="00008B"/>
                </a:solidFill>
                <a:latin typeface="Consolas" panose="020B0609020204030204" pitchFamily="49" charset="0"/>
              </a:rPr>
              <a:t>if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2000" dirty="0">
                <a:solidFill>
                  <a:srgbClr val="A9A9A9"/>
                </a:solidFill>
                <a:latin typeface="Consolas" panose="020B0609020204030204" pitchFamily="49" charset="0"/>
              </a:rPr>
              <a:t>-not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$</a:t>
            </a:r>
            <a:r>
              <a:rPr lang="en-US" sz="2000" dirty="0" err="1">
                <a:solidFill>
                  <a:srgbClr val="FF4500"/>
                </a:solidFill>
                <a:latin typeface="Consolas" panose="020B0609020204030204" pitchFamily="49" charset="0"/>
              </a:rPr>
              <a:t>vNic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)</a:t>
            </a:r>
            <a:endParaRPr lang="en-US" sz="2000" dirty="0">
              <a:solidFill>
                <a:srgbClr val="333333"/>
              </a:solidFill>
              <a:latin typeface="Consolas" panose="020B0609020204030204" pitchFamily="49" charset="0"/>
            </a:endParaRPr>
          </a:p>
          <a:p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  <a:endParaRPr lang="en-US" sz="2000" dirty="0">
              <a:solidFill>
                <a:srgbClr val="333333"/>
              </a:solidFill>
              <a:latin typeface="Consolas" panose="020B0609020204030204" pitchFamily="49" charset="0"/>
            </a:endParaRPr>
          </a:p>
          <a:p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  $</a:t>
            </a:r>
            <a:r>
              <a:rPr lang="en-US" sz="2000" dirty="0" err="1">
                <a:solidFill>
                  <a:srgbClr val="FF4500"/>
                </a:solidFill>
                <a:latin typeface="Consolas" panose="020B0609020204030204" pitchFamily="49" charset="0"/>
              </a:rPr>
              <a:t>vNic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A9A9A9"/>
                </a:solidFill>
                <a:latin typeface="Consolas" panose="020B0609020204030204" pitchFamily="49" charset="0"/>
              </a:rPr>
              <a:t>=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0000FF"/>
                </a:solidFill>
                <a:latin typeface="Consolas" panose="020B0609020204030204" pitchFamily="49" charset="0"/>
              </a:rPr>
              <a:t>New-</a:t>
            </a:r>
            <a:r>
              <a:rPr lang="en-US" sz="2000" dirty="0" err="1">
                <a:solidFill>
                  <a:srgbClr val="0000FF"/>
                </a:solidFill>
                <a:latin typeface="Consolas" panose="020B0609020204030204" pitchFamily="49" charset="0"/>
              </a:rPr>
              <a:t>NetworkAdapter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A9A9A9"/>
                </a:solidFill>
                <a:latin typeface="Consolas" panose="020B0609020204030204" pitchFamily="49" charset="0"/>
              </a:rPr>
              <a:t>-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VM 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$</a:t>
            </a:r>
            <a:r>
              <a:rPr lang="en-US" sz="2000" dirty="0" err="1">
                <a:solidFill>
                  <a:srgbClr val="FF4500"/>
                </a:solidFill>
                <a:latin typeface="Consolas" panose="020B0609020204030204" pitchFamily="49" charset="0"/>
              </a:rPr>
              <a:t>vmName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A9A9A9"/>
                </a:solidFill>
                <a:latin typeface="Consolas" panose="020B0609020204030204" pitchFamily="49" charset="0"/>
              </a:rPr>
              <a:t>-</a:t>
            </a:r>
            <a:r>
              <a:rPr lang="en-US" sz="2000" dirty="0" err="1">
                <a:solidFill>
                  <a:srgbClr val="333333"/>
                </a:solidFill>
                <a:latin typeface="Consolas" panose="020B0609020204030204" pitchFamily="49" charset="0"/>
              </a:rPr>
              <a:t>NetworkName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$</a:t>
            </a:r>
            <a:r>
              <a:rPr lang="en-US" sz="2000" dirty="0" err="1">
                <a:solidFill>
                  <a:srgbClr val="FF4500"/>
                </a:solidFill>
                <a:latin typeface="Consolas" panose="020B0609020204030204" pitchFamily="49" charset="0"/>
              </a:rPr>
              <a:t>pgName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A9A9A9"/>
                </a:solidFill>
                <a:latin typeface="Consolas" panose="020B0609020204030204" pitchFamily="49" charset="0"/>
              </a:rPr>
              <a:t>-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Type 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$</a:t>
            </a:r>
            <a:r>
              <a:rPr lang="en-US" sz="2000" dirty="0" err="1">
                <a:solidFill>
                  <a:srgbClr val="FF4500"/>
                </a:solidFill>
                <a:latin typeface="Consolas" panose="020B0609020204030204" pitchFamily="49" charset="0"/>
              </a:rPr>
              <a:t>nicType</a:t>
            </a:r>
            <a:endParaRPr lang="en-US" sz="2000" dirty="0">
              <a:solidFill>
                <a:srgbClr val="333333"/>
              </a:solidFill>
              <a:latin typeface="Consolas" panose="020B0609020204030204" pitchFamily="49" charset="0"/>
            </a:endParaRPr>
          </a:p>
          <a:p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  <a:endParaRPr lang="en-US" sz="2000" dirty="0">
              <a:solidFill>
                <a:srgbClr val="333333"/>
              </a:solidFill>
              <a:latin typeface="Consolas" panose="020B0609020204030204" pitchFamily="49" charset="0"/>
            </a:endParaRPr>
          </a:p>
          <a:p>
            <a:r>
              <a:rPr lang="en-US" sz="2000" dirty="0">
                <a:solidFill>
                  <a:srgbClr val="00008B"/>
                </a:solidFill>
                <a:latin typeface="Consolas" panose="020B0609020204030204" pitchFamily="49" charset="0"/>
              </a:rPr>
              <a:t>elseif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($</a:t>
            </a:r>
            <a:r>
              <a:rPr lang="en-US" sz="2000" dirty="0" err="1">
                <a:solidFill>
                  <a:srgbClr val="FF4500"/>
                </a:solidFill>
                <a:latin typeface="Consolas" panose="020B0609020204030204" pitchFamily="49" charset="0"/>
              </a:rPr>
              <a:t>vNic.Type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A9A9A9"/>
                </a:solidFill>
                <a:latin typeface="Consolas" panose="020B0609020204030204" pitchFamily="49" charset="0"/>
              </a:rPr>
              <a:t>-ne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$</a:t>
            </a:r>
            <a:r>
              <a:rPr lang="en-US" sz="2000" dirty="0" err="1">
                <a:solidFill>
                  <a:srgbClr val="FF4500"/>
                </a:solidFill>
                <a:latin typeface="Consolas" panose="020B0609020204030204" pitchFamily="49" charset="0"/>
              </a:rPr>
              <a:t>nicType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)</a:t>
            </a:r>
            <a:endParaRPr lang="en-US" sz="2000" dirty="0">
              <a:solidFill>
                <a:srgbClr val="333333"/>
              </a:solidFill>
              <a:latin typeface="Consolas" panose="020B0609020204030204" pitchFamily="49" charset="0"/>
            </a:endParaRPr>
          </a:p>
          <a:p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  <a:endParaRPr lang="en-US" sz="2000" dirty="0">
              <a:solidFill>
                <a:srgbClr val="333333"/>
              </a:solidFill>
              <a:latin typeface="Consolas" panose="020B0609020204030204" pitchFamily="49" charset="0"/>
            </a:endParaRPr>
          </a:p>
          <a:p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  $</a:t>
            </a:r>
            <a:r>
              <a:rPr lang="en-US" sz="2000" dirty="0" err="1">
                <a:solidFill>
                  <a:srgbClr val="FF4500"/>
                </a:solidFill>
                <a:latin typeface="Consolas" panose="020B0609020204030204" pitchFamily="49" charset="0"/>
              </a:rPr>
              <a:t>vNic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A9A9A9"/>
                </a:solidFill>
                <a:latin typeface="Consolas" panose="020B0609020204030204" pitchFamily="49" charset="0"/>
              </a:rPr>
              <a:t>=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0000FF"/>
                </a:solidFill>
                <a:latin typeface="Consolas" panose="020B0609020204030204" pitchFamily="49" charset="0"/>
              </a:rPr>
              <a:t>Set-</a:t>
            </a:r>
            <a:r>
              <a:rPr lang="en-US" sz="2000" dirty="0" err="1">
                <a:solidFill>
                  <a:srgbClr val="0000FF"/>
                </a:solidFill>
                <a:latin typeface="Consolas" panose="020B0609020204030204" pitchFamily="49" charset="0"/>
              </a:rPr>
              <a:t>NetworkAdapter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A9A9A9"/>
                </a:solidFill>
                <a:latin typeface="Consolas" panose="020B0609020204030204" pitchFamily="49" charset="0"/>
              </a:rPr>
              <a:t>-</a:t>
            </a:r>
            <a:r>
              <a:rPr lang="en-US" sz="2000" dirty="0" err="1">
                <a:solidFill>
                  <a:srgbClr val="333333"/>
                </a:solidFill>
                <a:latin typeface="Consolas" panose="020B0609020204030204" pitchFamily="49" charset="0"/>
              </a:rPr>
              <a:t>NetworkAdapter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$</a:t>
            </a:r>
            <a:r>
              <a:rPr lang="en-US" sz="2000" dirty="0" err="1">
                <a:solidFill>
                  <a:srgbClr val="FF4500"/>
                </a:solidFill>
                <a:latin typeface="Consolas" panose="020B0609020204030204" pitchFamily="49" charset="0"/>
              </a:rPr>
              <a:t>vNic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A9A9A9"/>
                </a:solidFill>
                <a:latin typeface="Consolas" panose="020B0609020204030204" pitchFamily="49" charset="0"/>
              </a:rPr>
              <a:t>-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Type 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$</a:t>
            </a:r>
            <a:r>
              <a:rPr lang="en-US" sz="2000" dirty="0" err="1">
                <a:solidFill>
                  <a:srgbClr val="FF4500"/>
                </a:solidFill>
                <a:latin typeface="Consolas" panose="020B0609020204030204" pitchFamily="49" charset="0"/>
              </a:rPr>
              <a:t>nicType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A9A9A9"/>
                </a:solidFill>
                <a:latin typeface="Consolas" panose="020B0609020204030204" pitchFamily="49" charset="0"/>
              </a:rPr>
              <a:t>-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Confirm: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$</a:t>
            </a:r>
            <a:r>
              <a:rPr lang="en-US" sz="2000" dirty="0">
                <a:solidFill>
                  <a:srgbClr val="008080"/>
                </a:solidFill>
                <a:latin typeface="Consolas" panose="020B0609020204030204" pitchFamily="49" charset="0"/>
              </a:rPr>
              <a:t>false</a:t>
            </a:r>
            <a:endParaRPr lang="en-US" sz="2000" dirty="0">
              <a:solidFill>
                <a:srgbClr val="333333"/>
              </a:solidFill>
              <a:latin typeface="Consolas" panose="020B0609020204030204" pitchFamily="49" charset="0"/>
            </a:endParaRPr>
          </a:p>
          <a:p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  <a:endParaRPr lang="en-US" sz="2000" dirty="0">
              <a:solidFill>
                <a:srgbClr val="333333"/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497761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D1A82B1-03AA-D34C-8CA3-C48EF3E9A84D}"/>
              </a:ext>
            </a:extLst>
          </p:cNvPr>
          <p:cNvSpPr txBox="1"/>
          <p:nvPr/>
        </p:nvSpPr>
        <p:spPr>
          <a:xfrm>
            <a:off x="139148" y="715617"/>
            <a:ext cx="1158902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y-Catch-Finally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1D09EDA-34A7-BD46-AA43-644899379941}"/>
              </a:ext>
            </a:extLst>
          </p:cNvPr>
          <p:cNvSpPr/>
          <p:nvPr/>
        </p:nvSpPr>
        <p:spPr>
          <a:xfrm>
            <a:off x="1445604" y="1690062"/>
            <a:ext cx="9300791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rgbClr val="00008B"/>
                </a:solidFill>
                <a:latin typeface="Consolas" panose="020B0609020204030204" pitchFamily="49" charset="0"/>
              </a:rPr>
              <a:t>try</a:t>
            </a:r>
            <a:endParaRPr lang="en-US" sz="2000" dirty="0">
              <a:solidFill>
                <a:srgbClr val="333333"/>
              </a:solidFill>
              <a:latin typeface="Consolas" panose="020B0609020204030204" pitchFamily="49" charset="0"/>
            </a:endParaRPr>
          </a:p>
          <a:p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  <a:endParaRPr lang="en-US" sz="2000" dirty="0">
              <a:solidFill>
                <a:srgbClr val="333333"/>
              </a:solidFill>
              <a:latin typeface="Consolas" panose="020B0609020204030204" pitchFamily="49" charset="0"/>
            </a:endParaRPr>
          </a:p>
          <a:p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  $</a:t>
            </a:r>
            <a:r>
              <a:rPr lang="en-US" sz="2000" dirty="0" err="1">
                <a:solidFill>
                  <a:srgbClr val="FF4500"/>
                </a:solidFill>
                <a:latin typeface="Consolas" panose="020B0609020204030204" pitchFamily="49" charset="0"/>
              </a:rPr>
              <a:t>vNic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A9A9A9"/>
                </a:solidFill>
                <a:latin typeface="Consolas" panose="020B0609020204030204" pitchFamily="49" charset="0"/>
              </a:rPr>
              <a:t>=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0000FF"/>
                </a:solidFill>
                <a:latin typeface="Consolas" panose="020B0609020204030204" pitchFamily="49" charset="0"/>
              </a:rPr>
              <a:t>Get-VM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A9A9A9"/>
                </a:solidFill>
                <a:latin typeface="Consolas" panose="020B0609020204030204" pitchFamily="49" charset="0"/>
              </a:rPr>
              <a:t>-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Name 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$</a:t>
            </a:r>
            <a:r>
              <a:rPr lang="en-US" sz="2000" dirty="0" err="1">
                <a:solidFill>
                  <a:srgbClr val="FF4500"/>
                </a:solidFill>
                <a:latin typeface="Consolas" panose="020B0609020204030204" pitchFamily="49" charset="0"/>
              </a:rPr>
              <a:t>vmName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A9A9A9"/>
                </a:solidFill>
                <a:latin typeface="Consolas" panose="020B0609020204030204" pitchFamily="49" charset="0"/>
              </a:rPr>
              <a:t>|</a:t>
            </a:r>
            <a:endParaRPr lang="en-US" sz="2000" dirty="0">
              <a:solidFill>
                <a:srgbClr val="333333"/>
              </a:solidFill>
              <a:latin typeface="Consolas" panose="020B0609020204030204" pitchFamily="49" charset="0"/>
            </a:endParaRPr>
          </a:p>
          <a:p>
            <a:r>
              <a:rPr lang="en-US" sz="2000" dirty="0">
                <a:solidFill>
                  <a:srgbClr val="0000FF"/>
                </a:solidFill>
                <a:latin typeface="Consolas" panose="020B0609020204030204" pitchFamily="49" charset="0"/>
              </a:rPr>
              <a:t>  Get-</a:t>
            </a:r>
            <a:r>
              <a:rPr lang="en-US" sz="2000" dirty="0" err="1">
                <a:solidFill>
                  <a:srgbClr val="0000FF"/>
                </a:solidFill>
                <a:latin typeface="Consolas" panose="020B0609020204030204" pitchFamily="49" charset="0"/>
              </a:rPr>
              <a:t>NetworkAdapter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A9A9A9"/>
                </a:solidFill>
                <a:latin typeface="Consolas" panose="020B0609020204030204" pitchFamily="49" charset="0"/>
              </a:rPr>
              <a:t>-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Name 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$</a:t>
            </a:r>
            <a:r>
              <a:rPr lang="en-US" sz="2000" dirty="0" err="1">
                <a:solidFill>
                  <a:srgbClr val="FF4500"/>
                </a:solidFill>
                <a:latin typeface="Consolas" panose="020B0609020204030204" pitchFamily="49" charset="0"/>
              </a:rPr>
              <a:t>nicName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A9A9A9"/>
                </a:solidFill>
                <a:latin typeface="Consolas" panose="020B0609020204030204" pitchFamily="49" charset="0"/>
              </a:rPr>
              <a:t>-</a:t>
            </a:r>
            <a:r>
              <a:rPr lang="en-US" sz="2000" dirty="0" err="1">
                <a:solidFill>
                  <a:srgbClr val="333333"/>
                </a:solidFill>
                <a:latin typeface="Consolas" panose="020B0609020204030204" pitchFamily="49" charset="0"/>
              </a:rPr>
              <a:t>ErrorAction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Stop </a:t>
            </a:r>
            <a:r>
              <a:rPr lang="en-US" sz="2000" dirty="0">
                <a:solidFill>
                  <a:srgbClr val="A9A9A9"/>
                </a:solidFill>
                <a:latin typeface="Consolas" panose="020B0609020204030204" pitchFamily="49" charset="0"/>
              </a:rPr>
              <a:t>|</a:t>
            </a:r>
            <a:endParaRPr lang="en-US" sz="2000" dirty="0">
              <a:solidFill>
                <a:srgbClr val="333333"/>
              </a:solidFill>
              <a:latin typeface="Consolas" panose="020B0609020204030204" pitchFamily="49" charset="0"/>
            </a:endParaRPr>
          </a:p>
          <a:p>
            <a:r>
              <a:rPr lang="en-US" sz="2000" dirty="0">
                <a:solidFill>
                  <a:srgbClr val="0000FF"/>
                </a:solidFill>
                <a:latin typeface="Consolas" panose="020B0609020204030204" pitchFamily="49" charset="0"/>
              </a:rPr>
              <a:t>  Set-</a:t>
            </a:r>
            <a:r>
              <a:rPr lang="en-US" sz="2000" dirty="0" err="1">
                <a:solidFill>
                  <a:srgbClr val="0000FF"/>
                </a:solidFill>
                <a:latin typeface="Consolas" panose="020B0609020204030204" pitchFamily="49" charset="0"/>
              </a:rPr>
              <a:t>NetworkAdapter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A9A9A9"/>
                </a:solidFill>
                <a:latin typeface="Consolas" panose="020B0609020204030204" pitchFamily="49" charset="0"/>
              </a:rPr>
              <a:t>-</a:t>
            </a:r>
            <a:r>
              <a:rPr lang="en-US" sz="2000" dirty="0" err="1">
                <a:solidFill>
                  <a:srgbClr val="333333"/>
                </a:solidFill>
                <a:latin typeface="Consolas" panose="020B0609020204030204" pitchFamily="49" charset="0"/>
              </a:rPr>
              <a:t>NetworkName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$</a:t>
            </a:r>
            <a:r>
              <a:rPr lang="en-US" sz="2000" dirty="0" err="1">
                <a:solidFill>
                  <a:srgbClr val="FF4500"/>
                </a:solidFill>
                <a:latin typeface="Consolas" panose="020B0609020204030204" pitchFamily="49" charset="0"/>
              </a:rPr>
              <a:t>pgName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A9A9A9"/>
                </a:solidFill>
                <a:latin typeface="Consolas" panose="020B0609020204030204" pitchFamily="49" charset="0"/>
              </a:rPr>
              <a:t>-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Type 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$</a:t>
            </a:r>
            <a:r>
              <a:rPr lang="en-US" sz="2000" dirty="0" err="1">
                <a:solidFill>
                  <a:srgbClr val="FF4500"/>
                </a:solidFill>
                <a:latin typeface="Consolas" panose="020B0609020204030204" pitchFamily="49" charset="0"/>
              </a:rPr>
              <a:t>nicType</a:t>
            </a:r>
            <a:endParaRPr lang="en-US" sz="2000" dirty="0">
              <a:solidFill>
                <a:srgbClr val="333333"/>
              </a:solidFill>
              <a:latin typeface="Consolas" panose="020B0609020204030204" pitchFamily="49" charset="0"/>
            </a:endParaRPr>
          </a:p>
          <a:p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  <a:endParaRPr lang="en-US" sz="2000" dirty="0">
              <a:solidFill>
                <a:srgbClr val="333333"/>
              </a:solidFill>
              <a:latin typeface="Consolas" panose="020B0609020204030204" pitchFamily="49" charset="0"/>
            </a:endParaRPr>
          </a:p>
          <a:p>
            <a:r>
              <a:rPr lang="en-US" sz="2000" dirty="0">
                <a:solidFill>
                  <a:srgbClr val="00008B"/>
                </a:solidFill>
                <a:latin typeface="Consolas" panose="020B0609020204030204" pitchFamily="49" charset="0"/>
              </a:rPr>
              <a:t>catch</a:t>
            </a:r>
            <a:endParaRPr lang="en-US" sz="2000" dirty="0">
              <a:solidFill>
                <a:srgbClr val="333333"/>
              </a:solidFill>
              <a:latin typeface="Consolas" panose="020B0609020204030204" pitchFamily="49" charset="0"/>
            </a:endParaRPr>
          </a:p>
          <a:p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  <a:endParaRPr lang="en-US" sz="2000" dirty="0">
              <a:solidFill>
                <a:srgbClr val="333333"/>
              </a:solidFill>
              <a:latin typeface="Consolas" panose="020B0609020204030204" pitchFamily="49" charset="0"/>
            </a:endParaRPr>
          </a:p>
          <a:p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  $</a:t>
            </a:r>
            <a:r>
              <a:rPr lang="en-US" sz="2000" dirty="0" err="1">
                <a:solidFill>
                  <a:srgbClr val="FF4500"/>
                </a:solidFill>
                <a:latin typeface="Consolas" panose="020B0609020204030204" pitchFamily="49" charset="0"/>
              </a:rPr>
              <a:t>vNic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A9A9A9"/>
                </a:solidFill>
                <a:latin typeface="Consolas" panose="020B0609020204030204" pitchFamily="49" charset="0"/>
              </a:rPr>
              <a:t>=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0000FF"/>
                </a:solidFill>
                <a:latin typeface="Consolas" panose="020B0609020204030204" pitchFamily="49" charset="0"/>
              </a:rPr>
              <a:t>Get-VM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A9A9A9"/>
                </a:solidFill>
                <a:latin typeface="Consolas" panose="020B0609020204030204" pitchFamily="49" charset="0"/>
              </a:rPr>
              <a:t>-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Name 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$</a:t>
            </a:r>
            <a:r>
              <a:rPr lang="en-US" sz="2000" dirty="0" err="1">
                <a:solidFill>
                  <a:srgbClr val="FF4500"/>
                </a:solidFill>
                <a:latin typeface="Consolas" panose="020B0609020204030204" pitchFamily="49" charset="0"/>
              </a:rPr>
              <a:t>vmName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A9A9A9"/>
                </a:solidFill>
                <a:latin typeface="Consolas" panose="020B0609020204030204" pitchFamily="49" charset="0"/>
              </a:rPr>
              <a:t>|</a:t>
            </a:r>
            <a:endParaRPr lang="en-US" sz="2000" dirty="0">
              <a:solidFill>
                <a:srgbClr val="333333"/>
              </a:solidFill>
              <a:latin typeface="Consolas" panose="020B0609020204030204" pitchFamily="49" charset="0"/>
            </a:endParaRPr>
          </a:p>
          <a:p>
            <a:r>
              <a:rPr lang="en-US" sz="2000" dirty="0">
                <a:solidFill>
                  <a:srgbClr val="0000FF"/>
                </a:solidFill>
                <a:latin typeface="Consolas" panose="020B0609020204030204" pitchFamily="49" charset="0"/>
              </a:rPr>
              <a:t>  New-</a:t>
            </a:r>
            <a:r>
              <a:rPr lang="en-US" sz="2000" dirty="0" err="1">
                <a:solidFill>
                  <a:srgbClr val="0000FF"/>
                </a:solidFill>
                <a:latin typeface="Consolas" panose="020B0609020204030204" pitchFamily="49" charset="0"/>
              </a:rPr>
              <a:t>NetworkAdapter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A9A9A9"/>
                </a:solidFill>
                <a:latin typeface="Consolas" panose="020B0609020204030204" pitchFamily="49" charset="0"/>
              </a:rPr>
              <a:t>-</a:t>
            </a:r>
            <a:r>
              <a:rPr lang="en-US" sz="2000" dirty="0" err="1">
                <a:solidFill>
                  <a:srgbClr val="333333"/>
                </a:solidFill>
                <a:latin typeface="Consolas" panose="020B0609020204030204" pitchFamily="49" charset="0"/>
              </a:rPr>
              <a:t>NetworkName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$</a:t>
            </a:r>
            <a:r>
              <a:rPr lang="en-US" sz="2000" dirty="0" err="1">
                <a:solidFill>
                  <a:srgbClr val="FF4500"/>
                </a:solidFill>
                <a:latin typeface="Consolas" panose="020B0609020204030204" pitchFamily="49" charset="0"/>
              </a:rPr>
              <a:t>pgName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A9A9A9"/>
                </a:solidFill>
                <a:latin typeface="Consolas" panose="020B0609020204030204" pitchFamily="49" charset="0"/>
              </a:rPr>
              <a:t>-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Type 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$</a:t>
            </a:r>
            <a:r>
              <a:rPr lang="en-US" sz="2000" dirty="0" err="1">
                <a:solidFill>
                  <a:srgbClr val="FF4500"/>
                </a:solidFill>
                <a:latin typeface="Consolas" panose="020B0609020204030204" pitchFamily="49" charset="0"/>
              </a:rPr>
              <a:t>nicType</a:t>
            </a:r>
            <a:endParaRPr lang="en-US" sz="2000" dirty="0">
              <a:solidFill>
                <a:srgbClr val="333333"/>
              </a:solidFill>
              <a:latin typeface="Consolas" panose="020B0609020204030204" pitchFamily="49" charset="0"/>
            </a:endParaRPr>
          </a:p>
          <a:p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  <a:endParaRPr lang="en-US" sz="2000" dirty="0">
              <a:solidFill>
                <a:srgbClr val="333333"/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459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D1A82B1-03AA-D34C-8CA3-C48EF3E9A84D}"/>
              </a:ext>
            </a:extLst>
          </p:cNvPr>
          <p:cNvSpPr txBox="1"/>
          <p:nvPr/>
        </p:nvSpPr>
        <p:spPr>
          <a:xfrm>
            <a:off x="139148" y="715617"/>
            <a:ext cx="1158902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y-Catch-Finally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494A3FF-E685-AD42-89D1-DCED8D2B7689}"/>
              </a:ext>
            </a:extLst>
          </p:cNvPr>
          <p:cNvSpPr/>
          <p:nvPr/>
        </p:nvSpPr>
        <p:spPr>
          <a:xfrm>
            <a:off x="581397" y="1558141"/>
            <a:ext cx="11095014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rgbClr val="00008B"/>
                </a:solidFill>
                <a:latin typeface="Consolas" panose="020B0609020204030204" pitchFamily="49" charset="0"/>
              </a:rPr>
              <a:t>try</a:t>
            </a:r>
            <a:endParaRPr lang="en-US" sz="2000" dirty="0">
              <a:solidFill>
                <a:srgbClr val="333333"/>
              </a:solidFill>
              <a:latin typeface="Consolas" panose="020B0609020204030204" pitchFamily="49" charset="0"/>
            </a:endParaRPr>
          </a:p>
          <a:p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  <a:endParaRPr lang="en-US" sz="2000" dirty="0">
              <a:solidFill>
                <a:srgbClr val="333333"/>
              </a:solidFill>
              <a:latin typeface="Consolas" panose="020B0609020204030204" pitchFamily="49" charset="0"/>
            </a:endParaRPr>
          </a:p>
          <a:p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  $</a:t>
            </a:r>
            <a:r>
              <a:rPr lang="en-US" sz="2000" dirty="0" err="1">
                <a:solidFill>
                  <a:srgbClr val="FF4500"/>
                </a:solidFill>
                <a:latin typeface="Consolas" panose="020B0609020204030204" pitchFamily="49" charset="0"/>
              </a:rPr>
              <a:t>vNic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A9A9A9"/>
                </a:solidFill>
                <a:latin typeface="Consolas" panose="020B0609020204030204" pitchFamily="49" charset="0"/>
              </a:rPr>
              <a:t>=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0000FF"/>
                </a:solidFill>
                <a:latin typeface="Consolas" panose="020B0609020204030204" pitchFamily="49" charset="0"/>
              </a:rPr>
              <a:t>Get-VM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A9A9A9"/>
                </a:solidFill>
                <a:latin typeface="Consolas" panose="020B0609020204030204" pitchFamily="49" charset="0"/>
              </a:rPr>
              <a:t>-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Name 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$</a:t>
            </a:r>
            <a:r>
              <a:rPr lang="en-US" sz="2000" dirty="0" err="1">
                <a:solidFill>
                  <a:srgbClr val="FF4500"/>
                </a:solidFill>
                <a:latin typeface="Consolas" panose="020B0609020204030204" pitchFamily="49" charset="0"/>
              </a:rPr>
              <a:t>vmName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A9A9A9"/>
                </a:solidFill>
                <a:latin typeface="Consolas" panose="020B0609020204030204" pitchFamily="49" charset="0"/>
              </a:rPr>
              <a:t>|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</a:p>
          <a:p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   </a:t>
            </a:r>
            <a:r>
              <a:rPr lang="en-US" sz="2000" dirty="0">
                <a:solidFill>
                  <a:srgbClr val="0000FF"/>
                </a:solidFill>
                <a:latin typeface="Consolas" panose="020B0609020204030204" pitchFamily="49" charset="0"/>
              </a:rPr>
              <a:t>Get-</a:t>
            </a:r>
            <a:r>
              <a:rPr lang="en-US" sz="2000" dirty="0" err="1">
                <a:solidFill>
                  <a:srgbClr val="0000FF"/>
                </a:solidFill>
                <a:latin typeface="Consolas" panose="020B0609020204030204" pitchFamily="49" charset="0"/>
              </a:rPr>
              <a:t>NetworkAdapter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A9A9A9"/>
                </a:solidFill>
                <a:latin typeface="Consolas" panose="020B0609020204030204" pitchFamily="49" charset="0"/>
              </a:rPr>
              <a:t>-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Name 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$</a:t>
            </a:r>
            <a:r>
              <a:rPr lang="en-US" sz="2000" dirty="0" err="1">
                <a:solidFill>
                  <a:srgbClr val="FF4500"/>
                </a:solidFill>
                <a:latin typeface="Consolas" panose="020B0609020204030204" pitchFamily="49" charset="0"/>
              </a:rPr>
              <a:t>nicName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A9A9A9"/>
                </a:solidFill>
                <a:latin typeface="Consolas" panose="020B0609020204030204" pitchFamily="49" charset="0"/>
              </a:rPr>
              <a:t>-</a:t>
            </a:r>
            <a:r>
              <a:rPr lang="en-US" sz="2000" dirty="0" err="1">
                <a:solidFill>
                  <a:srgbClr val="333333"/>
                </a:solidFill>
                <a:latin typeface="Consolas" panose="020B0609020204030204" pitchFamily="49" charset="0"/>
              </a:rPr>
              <a:t>ErrorAction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Stop</a:t>
            </a:r>
          </a:p>
          <a:p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  <a:endParaRPr lang="en-US" sz="2000" dirty="0">
              <a:solidFill>
                <a:srgbClr val="333333"/>
              </a:solidFill>
              <a:latin typeface="Consolas" panose="020B0609020204030204" pitchFamily="49" charset="0"/>
            </a:endParaRPr>
          </a:p>
          <a:p>
            <a:r>
              <a:rPr lang="en-US" sz="2000" dirty="0">
                <a:solidFill>
                  <a:srgbClr val="00008B"/>
                </a:solidFill>
                <a:latin typeface="Consolas" panose="020B0609020204030204" pitchFamily="49" charset="0"/>
              </a:rPr>
              <a:t>catch</a:t>
            </a:r>
            <a:endParaRPr lang="en-US" sz="2000" dirty="0">
              <a:solidFill>
                <a:srgbClr val="333333"/>
              </a:solidFill>
              <a:latin typeface="Consolas" panose="020B0609020204030204" pitchFamily="49" charset="0"/>
            </a:endParaRPr>
          </a:p>
          <a:p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  <a:endParaRPr lang="en-US" sz="2000" dirty="0">
              <a:solidFill>
                <a:srgbClr val="333333"/>
              </a:solidFill>
              <a:latin typeface="Consolas" panose="020B0609020204030204" pitchFamily="49" charset="0"/>
            </a:endParaRPr>
          </a:p>
          <a:p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  $</a:t>
            </a:r>
            <a:r>
              <a:rPr lang="en-US" sz="2000" dirty="0" err="1">
                <a:solidFill>
                  <a:srgbClr val="FF4500"/>
                </a:solidFill>
                <a:latin typeface="Consolas" panose="020B0609020204030204" pitchFamily="49" charset="0"/>
              </a:rPr>
              <a:t>vNic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A9A9A9"/>
                </a:solidFill>
                <a:latin typeface="Consolas" panose="020B0609020204030204" pitchFamily="49" charset="0"/>
              </a:rPr>
              <a:t>=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0000FF"/>
                </a:solidFill>
                <a:latin typeface="Consolas" panose="020B0609020204030204" pitchFamily="49" charset="0"/>
              </a:rPr>
              <a:t>Get-VM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A9A9A9"/>
                </a:solidFill>
                <a:latin typeface="Consolas" panose="020B0609020204030204" pitchFamily="49" charset="0"/>
              </a:rPr>
              <a:t>-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Name 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$</a:t>
            </a:r>
            <a:r>
              <a:rPr lang="en-US" sz="2000" dirty="0" err="1">
                <a:solidFill>
                  <a:srgbClr val="FF4500"/>
                </a:solidFill>
                <a:latin typeface="Consolas" panose="020B0609020204030204" pitchFamily="49" charset="0"/>
              </a:rPr>
              <a:t>vmName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A9A9A9"/>
                </a:solidFill>
                <a:latin typeface="Consolas" panose="020B0609020204030204" pitchFamily="49" charset="0"/>
              </a:rPr>
              <a:t>|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</a:p>
          <a:p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   </a:t>
            </a:r>
            <a:r>
              <a:rPr lang="en-US" sz="2000" dirty="0">
                <a:solidFill>
                  <a:srgbClr val="0000FF"/>
                </a:solidFill>
                <a:latin typeface="Consolas" panose="020B0609020204030204" pitchFamily="49" charset="0"/>
              </a:rPr>
              <a:t>New-</a:t>
            </a:r>
            <a:r>
              <a:rPr lang="en-US" sz="2000" dirty="0" err="1">
                <a:solidFill>
                  <a:srgbClr val="0000FF"/>
                </a:solidFill>
                <a:latin typeface="Consolas" panose="020B0609020204030204" pitchFamily="49" charset="0"/>
              </a:rPr>
              <a:t>NetworkAdapter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A9A9A9"/>
                </a:solidFill>
                <a:latin typeface="Consolas" panose="020B0609020204030204" pitchFamily="49" charset="0"/>
              </a:rPr>
              <a:t>-</a:t>
            </a:r>
            <a:r>
              <a:rPr lang="en-US" sz="2000" dirty="0" err="1">
                <a:solidFill>
                  <a:srgbClr val="333333"/>
                </a:solidFill>
                <a:latin typeface="Consolas" panose="020B0609020204030204" pitchFamily="49" charset="0"/>
              </a:rPr>
              <a:t>NetworkName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$</a:t>
            </a:r>
            <a:r>
              <a:rPr lang="en-US" sz="2000" dirty="0" err="1">
                <a:solidFill>
                  <a:srgbClr val="FF4500"/>
                </a:solidFill>
                <a:latin typeface="Consolas" panose="020B0609020204030204" pitchFamily="49" charset="0"/>
              </a:rPr>
              <a:t>pgName</a:t>
            </a:r>
            <a:endParaRPr lang="en-US" sz="2000" dirty="0">
              <a:solidFill>
                <a:srgbClr val="333333"/>
              </a:solidFill>
              <a:latin typeface="Consolas" panose="020B0609020204030204" pitchFamily="49" charset="0"/>
            </a:endParaRPr>
          </a:p>
          <a:p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  <a:endParaRPr lang="en-US" sz="2000" dirty="0">
              <a:solidFill>
                <a:srgbClr val="333333"/>
              </a:solidFill>
              <a:latin typeface="Consolas" panose="020B0609020204030204" pitchFamily="49" charset="0"/>
            </a:endParaRPr>
          </a:p>
          <a:p>
            <a:r>
              <a:rPr lang="en-US" sz="2000" dirty="0">
                <a:solidFill>
                  <a:srgbClr val="00008B"/>
                </a:solidFill>
                <a:latin typeface="Consolas" panose="020B0609020204030204" pitchFamily="49" charset="0"/>
              </a:rPr>
              <a:t>finally</a:t>
            </a:r>
            <a:endParaRPr lang="en-US" sz="2000" dirty="0">
              <a:solidFill>
                <a:srgbClr val="333333"/>
              </a:solidFill>
              <a:latin typeface="Consolas" panose="020B0609020204030204" pitchFamily="49" charset="0"/>
            </a:endParaRPr>
          </a:p>
          <a:p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  <a:endParaRPr lang="en-US" sz="2000" dirty="0">
              <a:solidFill>
                <a:srgbClr val="333333"/>
              </a:solidFill>
              <a:latin typeface="Consolas" panose="020B0609020204030204" pitchFamily="49" charset="0"/>
            </a:endParaRPr>
          </a:p>
          <a:p>
            <a:r>
              <a:rPr lang="en-US" sz="2000" dirty="0">
                <a:solidFill>
                  <a:srgbClr val="0000FF"/>
                </a:solidFill>
                <a:latin typeface="Consolas" panose="020B0609020204030204" pitchFamily="49" charset="0"/>
              </a:rPr>
              <a:t>  Set-</a:t>
            </a:r>
            <a:r>
              <a:rPr lang="en-US" sz="2000" dirty="0" err="1">
                <a:solidFill>
                  <a:srgbClr val="0000FF"/>
                </a:solidFill>
                <a:latin typeface="Consolas" panose="020B0609020204030204" pitchFamily="49" charset="0"/>
              </a:rPr>
              <a:t>NetworkAdapter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A9A9A9"/>
                </a:solidFill>
                <a:latin typeface="Consolas" panose="020B0609020204030204" pitchFamily="49" charset="0"/>
              </a:rPr>
              <a:t>-</a:t>
            </a:r>
            <a:r>
              <a:rPr lang="en-US" sz="2000" dirty="0" err="1">
                <a:solidFill>
                  <a:srgbClr val="333333"/>
                </a:solidFill>
                <a:latin typeface="Consolas" panose="020B0609020204030204" pitchFamily="49" charset="0"/>
              </a:rPr>
              <a:t>NetworkAdapter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$</a:t>
            </a:r>
            <a:r>
              <a:rPr lang="en-US" sz="2000" dirty="0" err="1">
                <a:solidFill>
                  <a:srgbClr val="FF4500"/>
                </a:solidFill>
                <a:latin typeface="Consolas" panose="020B0609020204030204" pitchFamily="49" charset="0"/>
              </a:rPr>
              <a:t>vNic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A9A9A9"/>
                </a:solidFill>
                <a:latin typeface="Consolas" panose="020B0609020204030204" pitchFamily="49" charset="0"/>
              </a:rPr>
              <a:t>-</a:t>
            </a:r>
            <a:r>
              <a:rPr lang="en-US" sz="2000" dirty="0" err="1">
                <a:solidFill>
                  <a:srgbClr val="333333"/>
                </a:solidFill>
                <a:latin typeface="Consolas" panose="020B0609020204030204" pitchFamily="49" charset="0"/>
              </a:rPr>
              <a:t>WakeOnLan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: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$</a:t>
            </a:r>
            <a:r>
              <a:rPr lang="en-US" sz="2000" dirty="0">
                <a:solidFill>
                  <a:srgbClr val="008080"/>
                </a:solidFill>
                <a:latin typeface="Consolas" panose="020B0609020204030204" pitchFamily="49" charset="0"/>
              </a:rPr>
              <a:t>true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A9A9A9"/>
                </a:solidFill>
                <a:latin typeface="Consolas" panose="020B0609020204030204" pitchFamily="49" charset="0"/>
              </a:rPr>
              <a:t>-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Confirm: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$</a:t>
            </a:r>
            <a:r>
              <a:rPr lang="en-US" sz="2000" dirty="0">
                <a:solidFill>
                  <a:srgbClr val="008080"/>
                </a:solidFill>
                <a:latin typeface="Consolas" panose="020B0609020204030204" pitchFamily="49" charset="0"/>
              </a:rPr>
              <a:t>false</a:t>
            </a:r>
            <a:endParaRPr lang="en-US" sz="2000" dirty="0">
              <a:solidFill>
                <a:srgbClr val="333333"/>
              </a:solidFill>
              <a:latin typeface="Consolas" panose="020B0609020204030204" pitchFamily="49" charset="0"/>
            </a:endParaRPr>
          </a:p>
          <a:p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  <a:endParaRPr lang="en-US" sz="2000" dirty="0">
              <a:solidFill>
                <a:srgbClr val="333333"/>
              </a:solidFill>
              <a:latin typeface="Consolas" panose="020B0609020204030204" pitchFamily="49" charset="0"/>
            </a:endParaRPr>
          </a:p>
          <a:p>
            <a:b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</a:br>
            <a:endParaRPr lang="en-US" sz="2000" dirty="0">
              <a:solidFill>
                <a:srgbClr val="333333"/>
              </a:solidFill>
              <a:latin typeface="Consolas" panose="020B0609020204030204" pitchFamily="49" charset="0"/>
            </a:endParaRPr>
          </a:p>
        </p:txBody>
      </p:sp>
      <p:sp>
        <p:nvSpPr>
          <p:cNvPr id="5" name="Heptagon 4">
            <a:extLst>
              <a:ext uri="{FF2B5EF4-FFF2-40B4-BE49-F238E27FC236}">
                <a16:creationId xmlns:a16="http://schemas.microsoft.com/office/drawing/2014/main" id="{9B62BA58-9C66-1D4A-A32A-A2BE836A0968}"/>
              </a:ext>
            </a:extLst>
          </p:cNvPr>
          <p:cNvSpPr/>
          <p:nvPr/>
        </p:nvSpPr>
        <p:spPr>
          <a:xfrm>
            <a:off x="175826" y="1558141"/>
            <a:ext cx="398187" cy="381000"/>
          </a:xfrm>
          <a:prstGeom prst="heptagon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 dirty="0">
              <a:solidFill>
                <a:prstClr val="white"/>
              </a:solidFill>
              <a:latin typeface="Metropolis"/>
            </a:endParaRPr>
          </a:p>
        </p:txBody>
      </p:sp>
      <p:sp>
        <p:nvSpPr>
          <p:cNvPr id="6" name="Heptagon 5">
            <a:extLst>
              <a:ext uri="{FF2B5EF4-FFF2-40B4-BE49-F238E27FC236}">
                <a16:creationId xmlns:a16="http://schemas.microsoft.com/office/drawing/2014/main" id="{AB1B3557-FB5C-F34F-88A8-121C8FDC3102}"/>
              </a:ext>
            </a:extLst>
          </p:cNvPr>
          <p:cNvSpPr/>
          <p:nvPr/>
        </p:nvSpPr>
        <p:spPr>
          <a:xfrm>
            <a:off x="175826" y="3107596"/>
            <a:ext cx="398187" cy="381000"/>
          </a:xfrm>
          <a:prstGeom prst="heptagon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 dirty="0">
              <a:solidFill>
                <a:prstClr val="white"/>
              </a:solidFill>
              <a:latin typeface="Metropolis"/>
            </a:endParaRPr>
          </a:p>
        </p:txBody>
      </p:sp>
      <p:sp>
        <p:nvSpPr>
          <p:cNvPr id="7" name="Heptagon 6">
            <a:extLst>
              <a:ext uri="{FF2B5EF4-FFF2-40B4-BE49-F238E27FC236}">
                <a16:creationId xmlns:a16="http://schemas.microsoft.com/office/drawing/2014/main" id="{A897B974-C2E1-2F44-AF44-D44391BC6490}"/>
              </a:ext>
            </a:extLst>
          </p:cNvPr>
          <p:cNvSpPr/>
          <p:nvPr/>
        </p:nvSpPr>
        <p:spPr>
          <a:xfrm>
            <a:off x="175826" y="4629348"/>
            <a:ext cx="398187" cy="381000"/>
          </a:xfrm>
          <a:prstGeom prst="heptagon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 dirty="0">
              <a:solidFill>
                <a:prstClr val="white"/>
              </a:solidFill>
              <a:latin typeface="Metropolis"/>
            </a:endParaRPr>
          </a:p>
        </p:txBody>
      </p:sp>
      <p:sp>
        <p:nvSpPr>
          <p:cNvPr id="8" name="Heptagon 7">
            <a:extLst>
              <a:ext uri="{FF2B5EF4-FFF2-40B4-BE49-F238E27FC236}">
                <a16:creationId xmlns:a16="http://schemas.microsoft.com/office/drawing/2014/main" id="{8DC9458B-547D-1149-B0C7-9E7E1FE7D6E8}"/>
              </a:ext>
            </a:extLst>
          </p:cNvPr>
          <p:cNvSpPr/>
          <p:nvPr/>
        </p:nvSpPr>
        <p:spPr>
          <a:xfrm>
            <a:off x="175826" y="5109359"/>
            <a:ext cx="398187" cy="381000"/>
          </a:xfrm>
          <a:prstGeom prst="heptagon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 dirty="0">
              <a:solidFill>
                <a:prstClr val="white"/>
              </a:solidFill>
              <a:latin typeface="Metropoli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1A974A6-7065-B348-8C0C-2F25D6106477}"/>
              </a:ext>
            </a:extLst>
          </p:cNvPr>
          <p:cNvSpPr/>
          <p:nvPr/>
        </p:nvSpPr>
        <p:spPr>
          <a:xfrm>
            <a:off x="872148" y="2198318"/>
            <a:ext cx="870559" cy="369518"/>
          </a:xfrm>
          <a:prstGeom prst="rect">
            <a:avLst/>
          </a:prstGeom>
          <a:noFill/>
          <a:ln w="38100">
            <a:solidFill>
              <a:srgbClr val="FFFF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prstClr val="white"/>
              </a:solidFill>
              <a:latin typeface="Metropoli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9C18084-FBAA-1041-B9FA-37BA5A656E87}"/>
              </a:ext>
            </a:extLst>
          </p:cNvPr>
          <p:cNvSpPr/>
          <p:nvPr/>
        </p:nvSpPr>
        <p:spPr>
          <a:xfrm>
            <a:off x="872148" y="3697002"/>
            <a:ext cx="870559" cy="369518"/>
          </a:xfrm>
          <a:prstGeom prst="rect">
            <a:avLst/>
          </a:prstGeom>
          <a:noFill/>
          <a:ln w="38100">
            <a:solidFill>
              <a:srgbClr val="FFFF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prstClr val="white"/>
              </a:solidFill>
              <a:latin typeface="Metropoli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44A30C0-623A-A148-9FCE-C0E203E1A9EA}"/>
              </a:ext>
            </a:extLst>
          </p:cNvPr>
          <p:cNvSpPr/>
          <p:nvPr/>
        </p:nvSpPr>
        <p:spPr>
          <a:xfrm>
            <a:off x="5803227" y="5244230"/>
            <a:ext cx="870559" cy="369518"/>
          </a:xfrm>
          <a:prstGeom prst="rect">
            <a:avLst/>
          </a:prstGeom>
          <a:noFill/>
          <a:ln w="38100">
            <a:solidFill>
              <a:srgbClr val="FFFF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200">
              <a:solidFill>
                <a:prstClr val="white"/>
              </a:solidFill>
              <a:latin typeface="Metropolis"/>
            </a:endParaRP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EDC39C35-C028-4F4D-BD96-A552C2E1B257}"/>
              </a:ext>
            </a:extLst>
          </p:cNvPr>
          <p:cNvCxnSpPr>
            <a:cxnSpLocks/>
          </p:cNvCxnSpPr>
          <p:nvPr/>
        </p:nvCxnSpPr>
        <p:spPr bwMode="gray">
          <a:xfrm>
            <a:off x="1742706" y="2630467"/>
            <a:ext cx="4152378" cy="2478893"/>
          </a:xfrm>
          <a:prstGeom prst="straightConnector1">
            <a:avLst/>
          </a:prstGeom>
          <a:ln w="25400">
            <a:solidFill>
              <a:srgbClr val="FFFF00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88B1DA80-EB63-9D4D-9BD4-653CF9EC6E9C}"/>
              </a:ext>
            </a:extLst>
          </p:cNvPr>
          <p:cNvCxnSpPr>
            <a:cxnSpLocks/>
          </p:cNvCxnSpPr>
          <p:nvPr/>
        </p:nvCxnSpPr>
        <p:spPr bwMode="gray">
          <a:xfrm>
            <a:off x="1742707" y="4152378"/>
            <a:ext cx="3983277" cy="1091852"/>
          </a:xfrm>
          <a:prstGeom prst="straightConnector1">
            <a:avLst/>
          </a:prstGeom>
          <a:ln w="25400">
            <a:solidFill>
              <a:srgbClr val="FFFF00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81353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D1A82B1-03AA-D34C-8CA3-C48EF3E9A84D}"/>
              </a:ext>
            </a:extLst>
          </p:cNvPr>
          <p:cNvSpPr txBox="1"/>
          <p:nvPr/>
        </p:nvSpPr>
        <p:spPr>
          <a:xfrm>
            <a:off x="139148" y="715617"/>
            <a:ext cx="1158902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heritance</a:t>
            </a:r>
          </a:p>
        </p:txBody>
      </p:sp>
      <p:sp>
        <p:nvSpPr>
          <p:cNvPr id="4" name="Content Placeholder 9">
            <a:extLst>
              <a:ext uri="{FF2B5EF4-FFF2-40B4-BE49-F238E27FC236}">
                <a16:creationId xmlns:a16="http://schemas.microsoft.com/office/drawing/2014/main" id="{36EC1B58-8ADE-0B48-A1CC-55749767A362}"/>
              </a:ext>
            </a:extLst>
          </p:cNvPr>
          <p:cNvSpPr txBox="1">
            <a:spLocks/>
          </p:cNvSpPr>
          <p:nvPr/>
        </p:nvSpPr>
        <p:spPr>
          <a:xfrm>
            <a:off x="616666" y="1600201"/>
            <a:ext cx="10975658" cy="4572000"/>
          </a:xfrm>
          <a:prstGeom prst="rect">
            <a:avLst/>
          </a:prstGeom>
        </p:spPr>
        <p:txBody>
          <a:bodyPr/>
          <a:lstStyle>
            <a:lvl1pPr marL="228611" indent="-228611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5325" indent="-190510" algn="l" defTabSz="6096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2038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6853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69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76484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81299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86114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90930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No, not that kind!</a:t>
            </a:r>
          </a:p>
          <a:p>
            <a:r>
              <a:rPr lang="en-US"/>
              <a:t>Most objects use an inheritance scheme</a:t>
            </a:r>
          </a:p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945E56A-4630-EA4E-8A08-FB4A230AC3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20897" y="2825686"/>
            <a:ext cx="8350206" cy="328485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10228BD7-7FF9-434E-8FF2-71E306F4453A}"/>
              </a:ext>
            </a:extLst>
          </p:cNvPr>
          <p:cNvSpPr/>
          <p:nvPr/>
        </p:nvSpPr>
        <p:spPr>
          <a:xfrm>
            <a:off x="1983620" y="2825686"/>
            <a:ext cx="1294388" cy="45032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 dirty="0">
              <a:solidFill>
                <a:prstClr val="white"/>
              </a:solidFill>
              <a:latin typeface="Metropolis" panose="00000500000000000000" pitchFamily="2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29B9CA0-C30D-2744-A84A-6059E0052E75}"/>
              </a:ext>
            </a:extLst>
          </p:cNvPr>
          <p:cNvSpPr/>
          <p:nvPr/>
        </p:nvSpPr>
        <p:spPr>
          <a:xfrm>
            <a:off x="1983620" y="5007253"/>
            <a:ext cx="1982032" cy="55011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 dirty="0">
              <a:solidFill>
                <a:prstClr val="white"/>
              </a:solidFill>
              <a:latin typeface="Metropolis" panose="00000500000000000000" pitchFamily="2" charset="0"/>
            </a:endParaRPr>
          </a:p>
        </p:txBody>
      </p:sp>
      <p:sp>
        <p:nvSpPr>
          <p:cNvPr id="8" name="Arrow: Down 6">
            <a:extLst>
              <a:ext uri="{FF2B5EF4-FFF2-40B4-BE49-F238E27FC236}">
                <a16:creationId xmlns:a16="http://schemas.microsoft.com/office/drawing/2014/main" id="{6AA5C779-AB96-5748-9B09-02DFF55D52E6}"/>
              </a:ext>
            </a:extLst>
          </p:cNvPr>
          <p:cNvSpPr/>
          <p:nvPr/>
        </p:nvSpPr>
        <p:spPr>
          <a:xfrm rot="5400000">
            <a:off x="1921674" y="4000648"/>
            <a:ext cx="1560443" cy="281964"/>
          </a:xfrm>
          <a:prstGeom prst="homePlat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 dirty="0">
              <a:solidFill>
                <a:prstClr val="white"/>
              </a:solidFill>
              <a:latin typeface="Metropolis" panose="00000500000000000000" pitchFamily="2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72859A0-ACD3-3D4D-8387-E4CE9905D956}"/>
              </a:ext>
            </a:extLst>
          </p:cNvPr>
          <p:cNvSpPr/>
          <p:nvPr/>
        </p:nvSpPr>
        <p:spPr>
          <a:xfrm>
            <a:off x="1983620" y="5622087"/>
            <a:ext cx="1982032" cy="550115"/>
          </a:xfrm>
          <a:prstGeom prst="rect">
            <a:avLst/>
          </a:prstGeom>
          <a:noFill/>
          <a:ln w="381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 dirty="0">
              <a:solidFill>
                <a:prstClr val="white"/>
              </a:solidFill>
              <a:latin typeface="Metropoli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39090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ов контейнер 1">
            <a:extLst>
              <a:ext uri="{FF2B5EF4-FFF2-40B4-BE49-F238E27FC236}">
                <a16:creationId xmlns:a16="http://schemas.microsoft.com/office/drawing/2014/main" id="{FF7C9732-1B7E-8C4E-9FFF-1095BE38241A}"/>
              </a:ext>
            </a:extLst>
          </p:cNvPr>
          <p:cNvSpPr txBox="1">
            <a:spLocks/>
          </p:cNvSpPr>
          <p:nvPr/>
        </p:nvSpPr>
        <p:spPr>
          <a:xfrm>
            <a:off x="604261" y="883228"/>
            <a:ext cx="10671463" cy="4799463"/>
          </a:xfrm>
          <a:prstGeom prst="rect">
            <a:avLst/>
          </a:prstGeom>
        </p:spPr>
        <p:txBody>
          <a:bodyPr/>
          <a:lstStyle>
            <a:lvl1pPr marL="228543" indent="-228543" algn="l" defTabSz="60944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5176" indent="-190452" algn="l" defTabSz="60944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810" indent="-152362" algn="l" defTabSz="60944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6533" indent="-152362" algn="l" defTabSz="60944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57" indent="-152362" algn="l" defTabSz="609448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75981" indent="-152362" algn="l" defTabSz="60944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80705" indent="-152362" algn="l" defTabSz="60944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85429" indent="-152362" algn="l" defTabSz="60944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90152" indent="-152362" algn="l" defTabSz="60944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600" b="1" dirty="0">
                <a:solidFill>
                  <a:prstClr val="black"/>
                </a:solidFill>
                <a:latin typeface="Calibri"/>
              </a:rPr>
              <a:t>Agenda</a:t>
            </a:r>
            <a:endParaRPr lang="en-US" sz="2800" b="1" dirty="0">
              <a:solidFill>
                <a:prstClr val="black"/>
              </a:solidFill>
              <a:latin typeface="Calibri"/>
            </a:endParaRPr>
          </a:p>
          <a:p>
            <a:endParaRPr lang="en-US" sz="2800" dirty="0">
              <a:solidFill>
                <a:prstClr val="black"/>
              </a:solidFill>
              <a:latin typeface="Calibri"/>
            </a:endParaRPr>
          </a:p>
          <a:p>
            <a:r>
              <a:rPr lang="en-US" sz="3200" dirty="0">
                <a:solidFill>
                  <a:prstClr val="black"/>
                </a:solidFill>
              </a:rPr>
              <a:t>What are PowerShell and PowerCLI?</a:t>
            </a:r>
          </a:p>
          <a:p>
            <a:r>
              <a:rPr lang="en-US" sz="3200" dirty="0">
                <a:solidFill>
                  <a:prstClr val="black"/>
                </a:solidFill>
              </a:rPr>
              <a:t>The Lingo Dictionary</a:t>
            </a:r>
          </a:p>
          <a:p>
            <a:r>
              <a:rPr lang="en-US" sz="3200" dirty="0">
                <a:solidFill>
                  <a:prstClr val="black"/>
                </a:solidFill>
              </a:rPr>
              <a:t>Setup and Configuration</a:t>
            </a:r>
          </a:p>
          <a:p>
            <a:r>
              <a:rPr lang="en-US" sz="3200" dirty="0">
                <a:solidFill>
                  <a:prstClr val="black"/>
                </a:solidFill>
              </a:rPr>
              <a:t>Starting to Code</a:t>
            </a:r>
          </a:p>
          <a:p>
            <a:r>
              <a:rPr lang="en-US" sz="3200" dirty="0">
                <a:solidFill>
                  <a:prstClr val="black"/>
                </a:solidFill>
              </a:rPr>
              <a:t>Writing Logic Statements</a:t>
            </a:r>
          </a:p>
          <a:p>
            <a:r>
              <a:rPr lang="en-US" sz="3200" dirty="0">
                <a:solidFill>
                  <a:prstClr val="black"/>
                </a:solidFill>
              </a:rPr>
              <a:t>Lab Time</a:t>
            </a:r>
            <a:endParaRPr lang="en-US" sz="2800" dirty="0">
              <a:solidFill>
                <a:prstClr val="black"/>
              </a:solidFill>
            </a:endParaRPr>
          </a:p>
          <a:p>
            <a:endParaRPr lang="en-US" sz="2800" dirty="0">
              <a:solidFill>
                <a:prstClr val="black"/>
              </a:solidFill>
            </a:endParaRPr>
          </a:p>
          <a:p>
            <a:pPr>
              <a:buNone/>
            </a:pPr>
            <a:endParaRPr lang="en-US" sz="2800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0963043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D1A82B1-03AA-D34C-8CA3-C48EF3E9A84D}"/>
              </a:ext>
            </a:extLst>
          </p:cNvPr>
          <p:cNvSpPr txBox="1"/>
          <p:nvPr/>
        </p:nvSpPr>
        <p:spPr>
          <a:xfrm>
            <a:off x="139148" y="715617"/>
            <a:ext cx="1158902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eritance</a:t>
            </a: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Content Placeholder 18">
            <a:extLst>
              <a:ext uri="{FF2B5EF4-FFF2-40B4-BE49-F238E27FC236}">
                <a16:creationId xmlns:a16="http://schemas.microsoft.com/office/drawing/2014/main" id="{568B56CA-2154-1B4F-AF8F-381EFDC574FB}"/>
              </a:ext>
            </a:extLst>
          </p:cNvPr>
          <p:cNvSpPr txBox="1">
            <a:spLocks/>
          </p:cNvSpPr>
          <p:nvPr/>
        </p:nvSpPr>
        <p:spPr>
          <a:xfrm>
            <a:off x="618092" y="1600202"/>
            <a:ext cx="12137835" cy="510369"/>
          </a:xfrm>
          <a:prstGeom prst="rect">
            <a:avLst/>
          </a:prstGeom>
        </p:spPr>
        <p:txBody>
          <a:bodyPr/>
          <a:lstStyle>
            <a:lvl1pPr marL="228611" indent="-228611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5325" indent="-190510" algn="l" defTabSz="6096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2038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6853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69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76484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81299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86114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90930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hain of objects, sum of properties</a:t>
            </a:r>
          </a:p>
          <a:p>
            <a:pPr>
              <a:buFont typeface="Arial" pitchFamily="34" charset="0"/>
              <a:buNone/>
            </a:pP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DBA9488-342F-BF40-8485-A0B62CFE4AD2}"/>
              </a:ext>
            </a:extLst>
          </p:cNvPr>
          <p:cNvSpPr/>
          <p:nvPr/>
        </p:nvSpPr>
        <p:spPr>
          <a:xfrm>
            <a:off x="1489789" y="2128666"/>
            <a:ext cx="3352424" cy="395529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 dirty="0">
              <a:solidFill>
                <a:prstClr val="white"/>
              </a:solidFill>
              <a:latin typeface="Metropolis" panose="00000500000000000000" pitchFamily="2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66FE350-A56C-044A-9435-E587FEA3D802}"/>
              </a:ext>
            </a:extLst>
          </p:cNvPr>
          <p:cNvSpPr/>
          <p:nvPr/>
        </p:nvSpPr>
        <p:spPr>
          <a:xfrm>
            <a:off x="4520436" y="2127066"/>
            <a:ext cx="2572022" cy="257988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 dirty="0">
              <a:solidFill>
                <a:prstClr val="white"/>
              </a:solidFill>
              <a:latin typeface="Metropolis" panose="00000500000000000000" pitchFamily="2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491EDEF-FDE2-0F44-93D9-75183950E4D5}"/>
              </a:ext>
            </a:extLst>
          </p:cNvPr>
          <p:cNvSpPr/>
          <p:nvPr/>
        </p:nvSpPr>
        <p:spPr>
          <a:xfrm>
            <a:off x="6845586" y="2127065"/>
            <a:ext cx="3313354" cy="123373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Ins="0" rtlCol="0" anchor="ctr"/>
          <a:lstStyle/>
          <a:p>
            <a:pPr algn="ctr" defTabSz="914126"/>
            <a:endParaRPr lang="en-US" sz="1799" dirty="0">
              <a:solidFill>
                <a:prstClr val="white"/>
              </a:solidFill>
              <a:latin typeface="Metropolis" panose="00000500000000000000" pitchFamily="2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9280568-DD7D-D84D-A983-6C0349BBFD21}"/>
              </a:ext>
            </a:extLst>
          </p:cNvPr>
          <p:cNvSpPr/>
          <p:nvPr/>
        </p:nvSpPr>
        <p:spPr>
          <a:xfrm>
            <a:off x="6845586" y="3358238"/>
            <a:ext cx="3313355" cy="13487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 dirty="0">
              <a:solidFill>
                <a:prstClr val="white"/>
              </a:solidFill>
              <a:latin typeface="Metropolis" panose="00000500000000000000" pitchFamily="2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47DCB03-E836-D041-93B3-9D13C0599C90}"/>
              </a:ext>
            </a:extLst>
          </p:cNvPr>
          <p:cNvSpPr txBox="1"/>
          <p:nvPr/>
        </p:nvSpPr>
        <p:spPr>
          <a:xfrm>
            <a:off x="1489790" y="2172014"/>
            <a:ext cx="2000463" cy="4000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999" b="1" dirty="0" err="1">
                <a:solidFill>
                  <a:prstClr val="black"/>
                </a:solidFill>
                <a:latin typeface="Metropolis" panose="00000500000000000000" pitchFamily="2" charset="0"/>
              </a:rPr>
              <a:t>VirtualDevice</a:t>
            </a:r>
            <a:endParaRPr lang="en-US" sz="1999" b="1" dirty="0">
              <a:solidFill>
                <a:prstClr val="black"/>
              </a:solidFill>
              <a:latin typeface="Metropolis" panose="00000500000000000000" pitchFamily="2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7115B3F-6185-0049-853C-C2F4AA228441}"/>
              </a:ext>
            </a:extLst>
          </p:cNvPr>
          <p:cNvSpPr txBox="1"/>
          <p:nvPr/>
        </p:nvSpPr>
        <p:spPr>
          <a:xfrm>
            <a:off x="4553557" y="2148841"/>
            <a:ext cx="2000463" cy="4000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999" b="1" dirty="0" err="1">
                <a:solidFill>
                  <a:prstClr val="black"/>
                </a:solidFill>
                <a:latin typeface="Metropolis" panose="00000500000000000000" pitchFamily="2" charset="0"/>
              </a:rPr>
              <a:t>HardDisk</a:t>
            </a:r>
            <a:endParaRPr lang="en-US" sz="1999" b="1" dirty="0">
              <a:solidFill>
                <a:prstClr val="black"/>
              </a:solidFill>
              <a:latin typeface="Metropolis" panose="00000500000000000000" pitchFamily="2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1EFC80D-1396-3645-97E7-CF78C18FF76B}"/>
              </a:ext>
            </a:extLst>
          </p:cNvPr>
          <p:cNvSpPr txBox="1"/>
          <p:nvPr/>
        </p:nvSpPr>
        <p:spPr>
          <a:xfrm>
            <a:off x="6845585" y="2110571"/>
            <a:ext cx="1965062" cy="399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999" b="1" dirty="0" err="1">
                <a:solidFill>
                  <a:prstClr val="black"/>
                </a:solidFill>
                <a:latin typeface="Metropolis" panose="00000500000000000000" pitchFamily="2" charset="0"/>
              </a:rPr>
              <a:t>FlatHardDisk</a:t>
            </a:r>
            <a:endParaRPr lang="en-US" sz="1999" b="1" dirty="0">
              <a:solidFill>
                <a:prstClr val="black"/>
              </a:solidFill>
              <a:latin typeface="Metropolis" panose="00000500000000000000" pitchFamily="2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E352B50-9758-BB41-ADF6-4DC8AF514C3B}"/>
              </a:ext>
            </a:extLst>
          </p:cNvPr>
          <p:cNvSpPr txBox="1"/>
          <p:nvPr/>
        </p:nvSpPr>
        <p:spPr>
          <a:xfrm>
            <a:off x="6845586" y="3322314"/>
            <a:ext cx="2000463" cy="399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999" b="1" dirty="0" err="1">
                <a:solidFill>
                  <a:prstClr val="black"/>
                </a:solidFill>
                <a:latin typeface="Metropolis" panose="00000500000000000000" pitchFamily="2" charset="0"/>
              </a:rPr>
              <a:t>RawHardDisk</a:t>
            </a:r>
            <a:endParaRPr lang="en-US" sz="1999" b="1" dirty="0">
              <a:solidFill>
                <a:prstClr val="black"/>
              </a:solidFill>
              <a:latin typeface="Metropolis" panose="00000500000000000000" pitchFamily="2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873AAE6-DEED-B443-9528-4D15D7AABEFA}"/>
              </a:ext>
            </a:extLst>
          </p:cNvPr>
          <p:cNvSpPr txBox="1"/>
          <p:nvPr/>
        </p:nvSpPr>
        <p:spPr>
          <a:xfrm>
            <a:off x="2065280" y="2676152"/>
            <a:ext cx="2297235" cy="20307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799" dirty="0" err="1">
                <a:solidFill>
                  <a:prstClr val="black"/>
                </a:solidFill>
                <a:latin typeface="Metropolis" panose="00000500000000000000" pitchFamily="2" charset="0"/>
              </a:rPr>
              <a:t>ParentId</a:t>
            </a:r>
            <a:endParaRPr lang="en-US" sz="1799" dirty="0">
              <a:solidFill>
                <a:prstClr val="black"/>
              </a:solidFill>
              <a:latin typeface="Metropolis" panose="00000500000000000000" pitchFamily="2" charset="0"/>
            </a:endParaRPr>
          </a:p>
          <a:p>
            <a:pPr defTabSz="914126"/>
            <a:r>
              <a:rPr lang="en-US" sz="1799" dirty="0">
                <a:solidFill>
                  <a:prstClr val="black"/>
                </a:solidFill>
                <a:latin typeface="Metropolis" panose="00000500000000000000" pitchFamily="2" charset="0"/>
              </a:rPr>
              <a:t>Name</a:t>
            </a:r>
          </a:p>
          <a:p>
            <a:pPr defTabSz="914126"/>
            <a:r>
              <a:rPr lang="en-US" sz="1799" dirty="0" err="1">
                <a:solidFill>
                  <a:prstClr val="black"/>
                </a:solidFill>
                <a:latin typeface="Metropolis" panose="00000500000000000000" pitchFamily="2" charset="0"/>
              </a:rPr>
              <a:t>Uid</a:t>
            </a:r>
            <a:endParaRPr lang="en-US" sz="1799" dirty="0">
              <a:solidFill>
                <a:prstClr val="black"/>
              </a:solidFill>
              <a:latin typeface="Metropolis" panose="00000500000000000000" pitchFamily="2" charset="0"/>
            </a:endParaRPr>
          </a:p>
          <a:p>
            <a:pPr defTabSz="914126"/>
            <a:r>
              <a:rPr lang="en-US" sz="1799" dirty="0">
                <a:solidFill>
                  <a:prstClr val="black"/>
                </a:solidFill>
                <a:latin typeface="Metropolis" panose="00000500000000000000" pitchFamily="2" charset="0"/>
              </a:rPr>
              <a:t>Client</a:t>
            </a:r>
          </a:p>
          <a:p>
            <a:pPr defTabSz="914126"/>
            <a:r>
              <a:rPr lang="en-US" sz="1799" dirty="0">
                <a:solidFill>
                  <a:prstClr val="black"/>
                </a:solidFill>
                <a:latin typeface="Metropolis" panose="00000500000000000000" pitchFamily="2" charset="0"/>
              </a:rPr>
              <a:t>Id</a:t>
            </a:r>
          </a:p>
          <a:p>
            <a:pPr defTabSz="914126"/>
            <a:r>
              <a:rPr lang="en-US" sz="1799" dirty="0" err="1">
                <a:solidFill>
                  <a:prstClr val="black"/>
                </a:solidFill>
                <a:latin typeface="Metropolis" panose="00000500000000000000" pitchFamily="2" charset="0"/>
              </a:rPr>
              <a:t>ConnectionState</a:t>
            </a:r>
            <a:endParaRPr lang="en-US" sz="1799" dirty="0">
              <a:solidFill>
                <a:prstClr val="black"/>
              </a:solidFill>
              <a:latin typeface="Metropolis" panose="00000500000000000000" pitchFamily="2" charset="0"/>
            </a:endParaRPr>
          </a:p>
          <a:p>
            <a:pPr defTabSz="914126"/>
            <a:r>
              <a:rPr lang="en-US" sz="1799" dirty="0">
                <a:solidFill>
                  <a:prstClr val="black"/>
                </a:solidFill>
                <a:latin typeface="Metropolis" panose="00000500000000000000" pitchFamily="2" charset="0"/>
              </a:rPr>
              <a:t>Paren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A40C101-29EC-7947-ACAC-E3A701186125}"/>
              </a:ext>
            </a:extLst>
          </p:cNvPr>
          <p:cNvSpPr txBox="1"/>
          <p:nvPr/>
        </p:nvSpPr>
        <p:spPr>
          <a:xfrm>
            <a:off x="7155273" y="2676152"/>
            <a:ext cx="2297235" cy="3692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799" dirty="0" err="1">
                <a:solidFill>
                  <a:prstClr val="black"/>
                </a:solidFill>
                <a:latin typeface="Metropolis" panose="00000500000000000000" pitchFamily="2" charset="0"/>
              </a:rPr>
              <a:t>StorageFormat</a:t>
            </a:r>
            <a:endParaRPr lang="en-US" sz="1799" dirty="0">
              <a:solidFill>
                <a:prstClr val="black"/>
              </a:solidFill>
              <a:latin typeface="Metropolis" panose="00000500000000000000" pitchFamily="2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111854F-1807-3346-B45D-F55D627B10F8}"/>
              </a:ext>
            </a:extLst>
          </p:cNvPr>
          <p:cNvSpPr txBox="1"/>
          <p:nvPr/>
        </p:nvSpPr>
        <p:spPr>
          <a:xfrm>
            <a:off x="7155274" y="3742756"/>
            <a:ext cx="2823278" cy="646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799" dirty="0" err="1">
                <a:solidFill>
                  <a:prstClr val="black"/>
                </a:solidFill>
                <a:latin typeface="Metropolis" panose="00000500000000000000" pitchFamily="2" charset="0"/>
              </a:rPr>
              <a:t>DeviceName</a:t>
            </a:r>
            <a:endParaRPr lang="en-US" sz="1799" dirty="0">
              <a:solidFill>
                <a:prstClr val="black"/>
              </a:solidFill>
              <a:latin typeface="Metropolis" panose="00000500000000000000" pitchFamily="2" charset="0"/>
            </a:endParaRPr>
          </a:p>
          <a:p>
            <a:pPr defTabSz="914126"/>
            <a:r>
              <a:rPr lang="en-US" sz="1799" dirty="0" err="1">
                <a:solidFill>
                  <a:prstClr val="black"/>
                </a:solidFill>
                <a:latin typeface="Metropolis" panose="00000500000000000000" pitchFamily="2" charset="0"/>
              </a:rPr>
              <a:t>ScsiCanonicalName</a:t>
            </a:r>
            <a:endParaRPr lang="en-US" sz="1799" dirty="0">
              <a:solidFill>
                <a:prstClr val="black"/>
              </a:solidFill>
              <a:latin typeface="Metropolis" panose="00000500000000000000" pitchFamily="2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9F1A0F9-FEDC-A743-8E04-62E37F0AAACB}"/>
              </a:ext>
            </a:extLst>
          </p:cNvPr>
          <p:cNvSpPr txBox="1"/>
          <p:nvPr/>
        </p:nvSpPr>
        <p:spPr>
          <a:xfrm>
            <a:off x="4902992" y="2700730"/>
            <a:ext cx="2297235" cy="1476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799" dirty="0">
                <a:solidFill>
                  <a:prstClr val="black"/>
                </a:solidFill>
                <a:latin typeface="Metropolis" panose="00000500000000000000" pitchFamily="2" charset="0"/>
              </a:rPr>
              <a:t>Persistence</a:t>
            </a:r>
          </a:p>
          <a:p>
            <a:pPr defTabSz="914126"/>
            <a:r>
              <a:rPr lang="en-US" sz="1799" dirty="0" err="1">
                <a:solidFill>
                  <a:prstClr val="black"/>
                </a:solidFill>
                <a:latin typeface="Metropolis" panose="00000500000000000000" pitchFamily="2" charset="0"/>
              </a:rPr>
              <a:t>DiskType</a:t>
            </a:r>
            <a:endParaRPr lang="en-US" sz="1799" dirty="0">
              <a:solidFill>
                <a:prstClr val="black"/>
              </a:solidFill>
              <a:latin typeface="Metropolis" panose="00000500000000000000" pitchFamily="2" charset="0"/>
            </a:endParaRPr>
          </a:p>
          <a:p>
            <a:pPr defTabSz="914126"/>
            <a:r>
              <a:rPr lang="en-US" sz="1799" dirty="0" err="1">
                <a:solidFill>
                  <a:prstClr val="black"/>
                </a:solidFill>
                <a:latin typeface="Metropolis" panose="00000500000000000000" pitchFamily="2" charset="0"/>
              </a:rPr>
              <a:t>FileName</a:t>
            </a:r>
            <a:endParaRPr lang="en-US" sz="1799" dirty="0">
              <a:solidFill>
                <a:prstClr val="black"/>
              </a:solidFill>
              <a:latin typeface="Metropolis" panose="00000500000000000000" pitchFamily="2" charset="0"/>
            </a:endParaRPr>
          </a:p>
          <a:p>
            <a:pPr defTabSz="914126"/>
            <a:r>
              <a:rPr lang="en-US" sz="1799" dirty="0" err="1">
                <a:solidFill>
                  <a:prstClr val="black"/>
                </a:solidFill>
                <a:latin typeface="Metropolis" panose="00000500000000000000" pitchFamily="2" charset="0"/>
              </a:rPr>
              <a:t>CapacityKB</a:t>
            </a:r>
            <a:endParaRPr lang="en-US" sz="1799" dirty="0">
              <a:solidFill>
                <a:prstClr val="black"/>
              </a:solidFill>
              <a:latin typeface="Metropolis" panose="00000500000000000000" pitchFamily="2" charset="0"/>
            </a:endParaRPr>
          </a:p>
          <a:p>
            <a:pPr defTabSz="914126"/>
            <a:r>
              <a:rPr lang="en-US" sz="1799" dirty="0" err="1">
                <a:solidFill>
                  <a:prstClr val="black"/>
                </a:solidFill>
                <a:latin typeface="Metropolis" panose="00000500000000000000" pitchFamily="2" charset="0"/>
              </a:rPr>
              <a:t>CapacityGB</a:t>
            </a:r>
            <a:endParaRPr lang="en-US" sz="1799" dirty="0">
              <a:solidFill>
                <a:prstClr val="black"/>
              </a:solidFill>
              <a:latin typeface="Metropolis" panose="00000500000000000000" pitchFamily="2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7F66C24-4C17-6145-918A-6AFAC51D4487}"/>
              </a:ext>
            </a:extLst>
          </p:cNvPr>
          <p:cNvSpPr/>
          <p:nvPr/>
        </p:nvSpPr>
        <p:spPr>
          <a:xfrm>
            <a:off x="4520435" y="4723442"/>
            <a:ext cx="2325150" cy="136051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 dirty="0">
              <a:solidFill>
                <a:prstClr val="white"/>
              </a:solidFill>
              <a:latin typeface="Metropolis" panose="00000500000000000000" pitchFamily="2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C327653-1A71-064C-9211-2F669DE98AE2}"/>
              </a:ext>
            </a:extLst>
          </p:cNvPr>
          <p:cNvSpPr txBox="1"/>
          <p:nvPr/>
        </p:nvSpPr>
        <p:spPr>
          <a:xfrm>
            <a:off x="4590818" y="4706946"/>
            <a:ext cx="2000463" cy="399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999" b="1" dirty="0">
                <a:solidFill>
                  <a:prstClr val="black"/>
                </a:solidFill>
                <a:latin typeface="Metropolis" panose="00000500000000000000" pitchFamily="2" charset="0"/>
              </a:rPr>
              <a:t>Other devices</a:t>
            </a:r>
          </a:p>
        </p:txBody>
      </p:sp>
    </p:spTree>
    <p:extLst>
      <p:ext uri="{BB962C8B-B14F-4D97-AF65-F5344CB8AC3E}">
        <p14:creationId xmlns:p14="http://schemas.microsoft.com/office/powerpoint/2010/main" val="2826664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/>
      <p:bldP spid="10" grpId="0"/>
      <p:bldP spid="11" grpId="0"/>
      <p:bldP spid="12" grpId="0"/>
      <p:bldP spid="13" grpId="0"/>
      <p:bldP spid="14" grpId="0"/>
      <p:bldP spid="15" grpId="0"/>
      <p:bldP spid="16" grpId="0"/>
      <p:bldP spid="17" grpId="0" animBg="1"/>
      <p:bldP spid="18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D1A82B1-03AA-D34C-8CA3-C48EF3E9A84D}"/>
              </a:ext>
            </a:extLst>
          </p:cNvPr>
          <p:cNvSpPr txBox="1"/>
          <p:nvPr/>
        </p:nvSpPr>
        <p:spPr>
          <a:xfrm>
            <a:off x="139148" y="715617"/>
            <a:ext cx="1158902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heritance </a:t>
            </a:r>
          </a:p>
        </p:txBody>
      </p:sp>
      <p:sp>
        <p:nvSpPr>
          <p:cNvPr id="4" name="Content Placeholder 4">
            <a:extLst>
              <a:ext uri="{FF2B5EF4-FFF2-40B4-BE49-F238E27FC236}">
                <a16:creationId xmlns:a16="http://schemas.microsoft.com/office/drawing/2014/main" id="{389653F1-3C19-944D-8D4E-C80DA493F372}"/>
              </a:ext>
            </a:extLst>
          </p:cNvPr>
          <p:cNvSpPr txBox="1">
            <a:spLocks/>
          </p:cNvSpPr>
          <p:nvPr/>
        </p:nvSpPr>
        <p:spPr>
          <a:xfrm>
            <a:off x="616666" y="1600201"/>
            <a:ext cx="10975658" cy="4572000"/>
          </a:xfrm>
          <a:prstGeom prst="rect">
            <a:avLst/>
          </a:prstGeom>
        </p:spPr>
        <p:txBody>
          <a:bodyPr/>
          <a:lstStyle>
            <a:lvl1pPr marL="228611" indent="-228611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5325" indent="-190510" algn="l" defTabSz="6096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2038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6853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69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76484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81299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86114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90930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/>
              <a:t>What is in it for me?</a:t>
            </a:r>
          </a:p>
          <a:p>
            <a:r>
              <a:rPr lang="en-US" sz="2800"/>
              <a:t>Simplify your code</a:t>
            </a:r>
          </a:p>
          <a:p>
            <a:r>
              <a:rPr lang="en-US" sz="2800"/>
              <a:t>Understand why some code will not work</a:t>
            </a:r>
          </a:p>
          <a:p>
            <a:pPr lvl="1"/>
            <a:r>
              <a:rPr lang="en-US" sz="2400"/>
              <a:t>… and how to fix it</a:t>
            </a:r>
          </a:p>
          <a:p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51269315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D1A82B1-03AA-D34C-8CA3-C48EF3E9A84D}"/>
              </a:ext>
            </a:extLst>
          </p:cNvPr>
          <p:cNvSpPr txBox="1"/>
          <p:nvPr/>
        </p:nvSpPr>
        <p:spPr>
          <a:xfrm>
            <a:off x="139148" y="715617"/>
            <a:ext cx="1158902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heritanc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D0EB1A-6673-6743-99A3-43B87C02DBE0}"/>
              </a:ext>
            </a:extLst>
          </p:cNvPr>
          <p:cNvSpPr txBox="1"/>
          <p:nvPr/>
        </p:nvSpPr>
        <p:spPr>
          <a:xfrm>
            <a:off x="581397" y="1348747"/>
            <a:ext cx="10972800" cy="24622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en-US" sz="2000" dirty="0">
                <a:solidFill>
                  <a:srgbClr val="0000FF"/>
                </a:solidFill>
                <a:latin typeface="Consolas" panose="020B0609020204030204" pitchFamily="49" charset="0"/>
              </a:rPr>
              <a:t>Get-VM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A9A9A9"/>
                </a:solidFill>
                <a:latin typeface="Consolas" panose="020B0609020204030204" pitchFamily="49" charset="0"/>
              </a:rPr>
              <a:t>-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Name VM1 </a:t>
            </a:r>
            <a:r>
              <a:rPr lang="en-US" sz="2000" dirty="0">
                <a:solidFill>
                  <a:srgbClr val="A9A9A9"/>
                </a:solidFill>
                <a:latin typeface="Consolas" panose="020B0609020204030204" pitchFamily="49" charset="0"/>
              </a:rPr>
              <a:t>|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0000FF"/>
                </a:solidFill>
                <a:latin typeface="Consolas" panose="020B0609020204030204" pitchFamily="49" charset="0"/>
              </a:rPr>
              <a:t>Get-</a:t>
            </a:r>
            <a:r>
              <a:rPr lang="en-US" sz="2000" dirty="0" err="1">
                <a:solidFill>
                  <a:srgbClr val="0000FF"/>
                </a:solidFill>
                <a:latin typeface="Consolas" panose="020B0609020204030204" pitchFamily="49" charset="0"/>
              </a:rPr>
              <a:t>HardDisk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A9A9A9"/>
                </a:solidFill>
                <a:latin typeface="Consolas" panose="020B0609020204030204" pitchFamily="49" charset="0"/>
              </a:rPr>
              <a:t>|</a:t>
            </a:r>
            <a:endParaRPr lang="en-US" sz="2000" dirty="0">
              <a:solidFill>
                <a:srgbClr val="333333"/>
              </a:solidFill>
              <a:latin typeface="Consolas" panose="020B0609020204030204" pitchFamily="49" charset="0"/>
            </a:endParaRPr>
          </a:p>
          <a:p>
            <a:r>
              <a:rPr lang="en-US" sz="2000" dirty="0">
                <a:solidFill>
                  <a:srgbClr val="0000FF"/>
                </a:solidFill>
                <a:latin typeface="Consolas" panose="020B0609020204030204" pitchFamily="49" charset="0"/>
              </a:rPr>
              <a:t>Where-Object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</a:p>
          <a:p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  $</a:t>
            </a:r>
            <a:r>
              <a:rPr lang="en-US" sz="2000" dirty="0">
                <a:solidFill>
                  <a:srgbClr val="FF4500"/>
                </a:solidFill>
                <a:latin typeface="Consolas" panose="020B0609020204030204" pitchFamily="49" charset="0"/>
              </a:rPr>
              <a:t>_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A9A9A9"/>
                </a:solidFill>
                <a:latin typeface="Consolas" panose="020B0609020204030204" pitchFamily="49" charset="0"/>
              </a:rPr>
              <a:t>-is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</a:p>
          <a:p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   [</a:t>
            </a:r>
            <a:r>
              <a:rPr lang="en-US" sz="2000" dirty="0">
                <a:solidFill>
                  <a:srgbClr val="00008B"/>
                </a:solidFill>
                <a:latin typeface="Consolas" panose="020B0609020204030204" pitchFamily="49" charset="0"/>
              </a:rPr>
              <a:t>VMware.VimAutomation.ViCore.Types.V1.VirtualDevice.FlatHardDisk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A9A9A9"/>
                </a:solidFill>
                <a:latin typeface="Consolas" panose="020B0609020204030204" pitchFamily="49" charset="0"/>
              </a:rPr>
              <a:t>-or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</a:p>
          <a:p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  $</a:t>
            </a:r>
            <a:r>
              <a:rPr lang="en-US" sz="2000" dirty="0">
                <a:solidFill>
                  <a:srgbClr val="FF4500"/>
                </a:solidFill>
                <a:latin typeface="Consolas" panose="020B0609020204030204" pitchFamily="49" charset="0"/>
              </a:rPr>
              <a:t>_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>
                <a:solidFill>
                  <a:srgbClr val="A9A9A9"/>
                </a:solidFill>
                <a:latin typeface="Consolas" panose="020B0609020204030204" pitchFamily="49" charset="0"/>
              </a:rPr>
              <a:t>-is</a:t>
            </a:r>
            <a:r>
              <a:rPr lang="en-US" sz="2000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</a:p>
          <a:p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   [</a:t>
            </a:r>
            <a:r>
              <a:rPr lang="en-US" sz="2000" dirty="0">
                <a:solidFill>
                  <a:srgbClr val="00008B"/>
                </a:solidFill>
                <a:latin typeface="Consolas" panose="020B0609020204030204" pitchFamily="49" charset="0"/>
              </a:rPr>
              <a:t>VMware.VimAutomation.ViCore.Types.V1.VirtualDevice.RawHardDisk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endParaRPr lang="en-US" sz="2000" dirty="0">
              <a:solidFill>
                <a:srgbClr val="333333"/>
              </a:solidFill>
              <a:latin typeface="Consolas" panose="020B0609020204030204" pitchFamily="49" charset="0"/>
            </a:endParaRPr>
          </a:p>
          <a:p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  <a:endParaRPr lang="en-US" sz="2000" dirty="0">
              <a:solidFill>
                <a:srgbClr val="333333"/>
              </a:solidFill>
              <a:latin typeface="Consolas" panose="020B0609020204030204" pitchFamily="49" charset="0"/>
            </a:endParaRPr>
          </a:p>
          <a:p>
            <a:pPr>
              <a:spcAft>
                <a:spcPts val="600"/>
              </a:spcAft>
            </a:pPr>
            <a:endParaRPr lang="en-US" sz="2000" dirty="0">
              <a:solidFill>
                <a:srgbClr val="717074"/>
              </a:solidFill>
              <a:latin typeface="Metropolis"/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2FC283B4-B73E-E447-A383-BB972041D495}"/>
              </a:ext>
            </a:extLst>
          </p:cNvPr>
          <p:cNvSpPr txBox="1">
            <a:spLocks/>
          </p:cNvSpPr>
          <p:nvPr/>
        </p:nvSpPr>
        <p:spPr>
          <a:xfrm>
            <a:off x="581398" y="4413431"/>
            <a:ext cx="11423769" cy="1985722"/>
          </a:xfrm>
          <a:prstGeom prst="rect">
            <a:avLst/>
          </a:prstGeom>
        </p:spPr>
        <p:txBody>
          <a:bodyPr vert="horz" lIns="91416" tIns="45708" rIns="91416" bIns="45708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126">
              <a:buNone/>
            </a:pPr>
            <a:r>
              <a:rPr lang="en-US" sz="1999" dirty="0">
                <a:solidFill>
                  <a:srgbClr val="0000FF"/>
                </a:solidFill>
                <a:latin typeface="Consolas" panose="020B0609020204030204" pitchFamily="49" charset="0"/>
              </a:rPr>
              <a:t>Get-VM</a:t>
            </a:r>
            <a:r>
              <a:rPr lang="en-US" sz="19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 dirty="0">
                <a:solidFill>
                  <a:srgbClr val="A9A9A9"/>
                </a:solidFill>
                <a:latin typeface="Consolas" panose="020B0609020204030204" pitchFamily="49" charset="0"/>
              </a:rPr>
              <a:t>-</a:t>
            </a:r>
            <a:r>
              <a:rPr lang="en-US" sz="1999" dirty="0">
                <a:solidFill>
                  <a:srgbClr val="333333"/>
                </a:solidFill>
                <a:latin typeface="Consolas" panose="020B0609020204030204" pitchFamily="49" charset="0"/>
              </a:rPr>
              <a:t>Name VM1 </a:t>
            </a:r>
            <a:r>
              <a:rPr lang="en-US" sz="1999" dirty="0">
                <a:solidFill>
                  <a:srgbClr val="A9A9A9"/>
                </a:solidFill>
                <a:latin typeface="Consolas" panose="020B0609020204030204" pitchFamily="49" charset="0"/>
              </a:rPr>
              <a:t>|</a:t>
            </a:r>
            <a:r>
              <a:rPr lang="en-US" sz="19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 dirty="0">
                <a:solidFill>
                  <a:srgbClr val="0000FF"/>
                </a:solidFill>
                <a:latin typeface="Consolas" panose="020B0609020204030204" pitchFamily="49" charset="0"/>
              </a:rPr>
              <a:t>Get-</a:t>
            </a:r>
            <a:r>
              <a:rPr lang="en-US" sz="1999" dirty="0" err="1">
                <a:solidFill>
                  <a:srgbClr val="0000FF"/>
                </a:solidFill>
                <a:latin typeface="Consolas" panose="020B0609020204030204" pitchFamily="49" charset="0"/>
              </a:rPr>
              <a:t>HardDisk</a:t>
            </a:r>
            <a:r>
              <a:rPr lang="en-US" sz="19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 dirty="0">
                <a:solidFill>
                  <a:srgbClr val="A9A9A9"/>
                </a:solidFill>
                <a:latin typeface="Consolas" panose="020B0609020204030204" pitchFamily="49" charset="0"/>
              </a:rPr>
              <a:t>|</a:t>
            </a:r>
            <a:endParaRPr lang="en-US" sz="1999" dirty="0">
              <a:solidFill>
                <a:srgbClr val="333333"/>
              </a:solidFill>
              <a:latin typeface="Consolas" panose="020B0609020204030204" pitchFamily="49" charset="0"/>
            </a:endParaRPr>
          </a:p>
          <a:p>
            <a:pPr marL="0" indent="0" defTabSz="914126">
              <a:buNone/>
            </a:pPr>
            <a:r>
              <a:rPr lang="en-US" sz="1999" dirty="0">
                <a:solidFill>
                  <a:srgbClr val="0000FF"/>
                </a:solidFill>
                <a:latin typeface="Consolas" panose="020B0609020204030204" pitchFamily="49" charset="0"/>
              </a:rPr>
              <a:t>Where-Object</a:t>
            </a:r>
            <a:r>
              <a:rPr lang="en-US" sz="19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  <a:r>
              <a:rPr lang="en-US" sz="19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</a:p>
          <a:p>
            <a:pPr marL="0" indent="0" defTabSz="914126">
              <a:buNone/>
            </a:pPr>
            <a:r>
              <a:rPr lang="en-US" sz="1999" dirty="0">
                <a:solidFill>
                  <a:srgbClr val="000000"/>
                </a:solidFill>
                <a:latin typeface="Consolas" panose="020B0609020204030204" pitchFamily="49" charset="0"/>
              </a:rPr>
              <a:t>  $</a:t>
            </a:r>
            <a:r>
              <a:rPr lang="en-US" sz="1999" dirty="0">
                <a:solidFill>
                  <a:srgbClr val="FF4500"/>
                </a:solidFill>
                <a:latin typeface="Consolas" panose="020B0609020204030204" pitchFamily="49" charset="0"/>
              </a:rPr>
              <a:t>_</a:t>
            </a:r>
            <a:r>
              <a:rPr lang="en-US" sz="19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 dirty="0">
                <a:solidFill>
                  <a:srgbClr val="A9A9A9"/>
                </a:solidFill>
                <a:latin typeface="Consolas" panose="020B0609020204030204" pitchFamily="49" charset="0"/>
              </a:rPr>
              <a:t>-is</a:t>
            </a:r>
            <a:r>
              <a:rPr lang="en-US" sz="19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</a:p>
          <a:p>
            <a:pPr marL="0" indent="0" defTabSz="914126">
              <a:buNone/>
            </a:pPr>
            <a:r>
              <a:rPr lang="en-US" sz="1999" dirty="0">
                <a:solidFill>
                  <a:srgbClr val="000000"/>
                </a:solidFill>
                <a:latin typeface="Consolas" panose="020B0609020204030204" pitchFamily="49" charset="0"/>
              </a:rPr>
              <a:t>   [</a:t>
            </a:r>
            <a:r>
              <a:rPr lang="en-US" sz="1999" dirty="0">
                <a:solidFill>
                  <a:srgbClr val="00008B"/>
                </a:solidFill>
                <a:latin typeface="Consolas" panose="020B0609020204030204" pitchFamily="49" charset="0"/>
              </a:rPr>
              <a:t>VMware.VimAutomation.ViCore.Types.V1.VirtualDevice.VirtualDisk</a:t>
            </a:r>
            <a:r>
              <a:rPr lang="en-US" sz="1999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</a:p>
          <a:p>
            <a:pPr marL="0" indent="0" defTabSz="914126">
              <a:buNone/>
            </a:pPr>
            <a:r>
              <a:rPr lang="en-US" sz="1999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  <a:endParaRPr lang="en-US" sz="1999" dirty="0">
              <a:solidFill>
                <a:srgbClr val="333333"/>
              </a:solidFill>
              <a:latin typeface="Consolas" panose="020B0609020204030204" pitchFamily="49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0814BDF-B704-5841-8492-EE752FBBBA42}"/>
              </a:ext>
            </a:extLst>
          </p:cNvPr>
          <p:cNvSpPr/>
          <p:nvPr/>
        </p:nvSpPr>
        <p:spPr>
          <a:xfrm>
            <a:off x="8099644" y="2170182"/>
            <a:ext cx="1974461" cy="457081"/>
          </a:xfrm>
          <a:prstGeom prst="rect">
            <a:avLst/>
          </a:prstGeom>
          <a:solidFill>
            <a:schemeClr val="accent2">
              <a:lumMod val="40000"/>
              <a:lumOff val="60000"/>
              <a:alpha val="25098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 dirty="0">
              <a:solidFill>
                <a:prstClr val="white"/>
              </a:solidFill>
              <a:latin typeface="Metropolis" panose="00000500000000000000" pitchFamily="2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1D2B30B-EAF4-4741-A333-E66786941F62}"/>
              </a:ext>
            </a:extLst>
          </p:cNvPr>
          <p:cNvSpPr/>
          <p:nvPr/>
        </p:nvSpPr>
        <p:spPr>
          <a:xfrm>
            <a:off x="8099643" y="2807997"/>
            <a:ext cx="1917754" cy="457081"/>
          </a:xfrm>
          <a:prstGeom prst="rect">
            <a:avLst/>
          </a:prstGeom>
          <a:solidFill>
            <a:schemeClr val="accent2">
              <a:lumMod val="40000"/>
              <a:lumOff val="60000"/>
              <a:alpha val="25098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 dirty="0">
              <a:solidFill>
                <a:prstClr val="white"/>
              </a:solidFill>
              <a:latin typeface="Metropolis" panose="00000500000000000000" pitchFamily="2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E03E039-FB39-744E-A273-93AB3D1956D6}"/>
              </a:ext>
            </a:extLst>
          </p:cNvPr>
          <p:cNvSpPr/>
          <p:nvPr/>
        </p:nvSpPr>
        <p:spPr>
          <a:xfrm>
            <a:off x="8229828" y="5565174"/>
            <a:ext cx="1844277" cy="457081"/>
          </a:xfrm>
          <a:prstGeom prst="rect">
            <a:avLst/>
          </a:prstGeom>
          <a:solidFill>
            <a:schemeClr val="accent6">
              <a:lumMod val="40000"/>
              <a:lumOff val="60000"/>
              <a:alpha val="25098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 dirty="0">
              <a:solidFill>
                <a:prstClr val="white"/>
              </a:solidFill>
              <a:latin typeface="Metropolis" panose="00000500000000000000" pitchFamily="2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593CA9C-FEF9-2445-AB40-2350B065CC1C}"/>
              </a:ext>
            </a:extLst>
          </p:cNvPr>
          <p:cNvCxnSpPr/>
          <p:nvPr/>
        </p:nvCxnSpPr>
        <p:spPr>
          <a:xfrm>
            <a:off x="463586" y="4051963"/>
            <a:ext cx="1139390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207745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D1A82B1-03AA-D34C-8CA3-C48EF3E9A84D}"/>
              </a:ext>
            </a:extLst>
          </p:cNvPr>
          <p:cNvSpPr txBox="1"/>
          <p:nvPr/>
        </p:nvSpPr>
        <p:spPr>
          <a:xfrm>
            <a:off x="139148" y="715617"/>
            <a:ext cx="1158902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heritanc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6714D9B-83FF-FD4A-BE12-5231F118D361}"/>
              </a:ext>
            </a:extLst>
          </p:cNvPr>
          <p:cNvSpPr txBox="1">
            <a:spLocks/>
          </p:cNvSpPr>
          <p:nvPr/>
        </p:nvSpPr>
        <p:spPr>
          <a:xfrm>
            <a:off x="379175" y="3887094"/>
            <a:ext cx="10973255" cy="1327888"/>
          </a:xfrm>
          <a:prstGeom prst="rect">
            <a:avLst/>
          </a:prstGeom>
        </p:spPr>
        <p:txBody>
          <a:bodyPr vert="horz" lIns="91416" tIns="45708" rIns="91416" bIns="45708" rtlCol="0">
            <a:normAutofit fontScale="850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126">
              <a:buNone/>
            </a:pPr>
            <a:r>
              <a:rPr lang="en-US" sz="2799" dirty="0">
                <a:solidFill>
                  <a:srgbClr val="0000FF"/>
                </a:solidFill>
                <a:latin typeface="Consolas" panose="020B0609020204030204" pitchFamily="49" charset="0"/>
              </a:rPr>
              <a:t>Get-VM</a:t>
            </a:r>
            <a:r>
              <a:rPr lang="en-US" sz="27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799" dirty="0">
                <a:solidFill>
                  <a:srgbClr val="A9A9A9"/>
                </a:solidFill>
                <a:latin typeface="Consolas" panose="020B0609020204030204" pitchFamily="49" charset="0"/>
              </a:rPr>
              <a:t>-</a:t>
            </a:r>
            <a:r>
              <a:rPr lang="en-US" sz="2799" dirty="0">
                <a:solidFill>
                  <a:srgbClr val="333333"/>
                </a:solidFill>
                <a:latin typeface="Consolas" panose="020B0609020204030204" pitchFamily="49" charset="0"/>
              </a:rPr>
              <a:t>Name VM1 </a:t>
            </a:r>
            <a:r>
              <a:rPr lang="en-US" sz="2799" dirty="0">
                <a:solidFill>
                  <a:srgbClr val="A9A9A9"/>
                </a:solidFill>
                <a:latin typeface="Consolas" panose="020B0609020204030204" pitchFamily="49" charset="0"/>
              </a:rPr>
              <a:t>|</a:t>
            </a:r>
            <a:r>
              <a:rPr lang="en-US" sz="27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799" dirty="0">
                <a:solidFill>
                  <a:srgbClr val="0000FF"/>
                </a:solidFill>
                <a:latin typeface="Consolas" panose="020B0609020204030204" pitchFamily="49" charset="0"/>
              </a:rPr>
              <a:t>Get-</a:t>
            </a:r>
            <a:r>
              <a:rPr lang="en-US" sz="2799" dirty="0" err="1">
                <a:solidFill>
                  <a:srgbClr val="0000FF"/>
                </a:solidFill>
                <a:latin typeface="Consolas" panose="020B0609020204030204" pitchFamily="49" charset="0"/>
              </a:rPr>
              <a:t>HardDisk</a:t>
            </a:r>
            <a:r>
              <a:rPr lang="en-US" sz="27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799" dirty="0">
                <a:solidFill>
                  <a:srgbClr val="A9A9A9"/>
                </a:solidFill>
                <a:latin typeface="Consolas" panose="020B0609020204030204" pitchFamily="49" charset="0"/>
              </a:rPr>
              <a:t>|</a:t>
            </a:r>
            <a:r>
              <a:rPr lang="en-US" sz="27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799" dirty="0">
                <a:solidFill>
                  <a:srgbClr val="0000FF"/>
                </a:solidFill>
                <a:latin typeface="Consolas" panose="020B0609020204030204" pitchFamily="49" charset="0"/>
              </a:rPr>
              <a:t>Export-Csv</a:t>
            </a:r>
            <a:r>
              <a:rPr lang="en-US" sz="27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799" dirty="0">
                <a:solidFill>
                  <a:srgbClr val="A9A9A9"/>
                </a:solidFill>
                <a:latin typeface="Consolas" panose="020B0609020204030204" pitchFamily="49" charset="0"/>
              </a:rPr>
              <a:t>-</a:t>
            </a:r>
            <a:r>
              <a:rPr lang="en-US" sz="2799" dirty="0">
                <a:solidFill>
                  <a:srgbClr val="333333"/>
                </a:solidFill>
                <a:latin typeface="Consolas" panose="020B0609020204030204" pitchFamily="49" charset="0"/>
              </a:rPr>
              <a:t>Path .\report.csv</a:t>
            </a:r>
            <a:endParaRPr lang="en-US" sz="2799" dirty="0">
              <a:solidFill>
                <a:srgbClr val="0000FF"/>
              </a:solidFill>
              <a:latin typeface="Consolas" panose="020B0609020204030204" pitchFamily="49" charset="0"/>
            </a:endParaRPr>
          </a:p>
          <a:p>
            <a:pPr marL="0" indent="0" defTabSz="914126">
              <a:buNone/>
            </a:pPr>
            <a:r>
              <a:rPr lang="en-US" sz="2799" dirty="0">
                <a:solidFill>
                  <a:srgbClr val="0000FF"/>
                </a:solidFill>
                <a:latin typeface="Consolas" panose="020B0609020204030204" pitchFamily="49" charset="0"/>
              </a:rPr>
              <a:t>Import-csv</a:t>
            </a:r>
            <a:r>
              <a:rPr lang="en-US" sz="27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799" dirty="0">
                <a:solidFill>
                  <a:srgbClr val="A9A9A9"/>
                </a:solidFill>
                <a:latin typeface="Consolas" panose="020B0609020204030204" pitchFamily="49" charset="0"/>
              </a:rPr>
              <a:t>-</a:t>
            </a:r>
            <a:r>
              <a:rPr lang="en-US" sz="2799" dirty="0">
                <a:solidFill>
                  <a:srgbClr val="333333"/>
                </a:solidFill>
                <a:latin typeface="Consolas" panose="020B0609020204030204" pitchFamily="49" charset="0"/>
              </a:rPr>
              <a:t>Path .\</a:t>
            </a:r>
            <a:r>
              <a:rPr lang="en-US" sz="2799" dirty="0" err="1">
                <a:solidFill>
                  <a:srgbClr val="333333"/>
                </a:solidFill>
                <a:latin typeface="Consolas" panose="020B0609020204030204" pitchFamily="49" charset="0"/>
              </a:rPr>
              <a:t>report.csv</a:t>
            </a:r>
            <a:r>
              <a:rPr lang="en-US" sz="27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799" dirty="0">
                <a:solidFill>
                  <a:srgbClr val="A9A9A9"/>
                </a:solidFill>
                <a:latin typeface="Consolas" panose="020B0609020204030204" pitchFamily="49" charset="0"/>
              </a:rPr>
              <a:t>| `</a:t>
            </a:r>
            <a:endParaRPr lang="en-US" sz="2799" dirty="0">
              <a:solidFill>
                <a:srgbClr val="333333"/>
              </a:solidFill>
              <a:latin typeface="Consolas" panose="020B0609020204030204" pitchFamily="49" charset="0"/>
            </a:endParaRPr>
          </a:p>
          <a:p>
            <a:pPr marL="0" indent="0" defTabSz="914126">
              <a:buNone/>
            </a:pPr>
            <a:r>
              <a:rPr lang="en-US" sz="2799" dirty="0">
                <a:solidFill>
                  <a:srgbClr val="0000FF"/>
                </a:solidFill>
                <a:latin typeface="Consolas" panose="020B0609020204030204" pitchFamily="49" charset="0"/>
              </a:rPr>
              <a:t>		Select-Object</a:t>
            </a:r>
            <a:r>
              <a:rPr lang="en-US" sz="27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799" dirty="0">
                <a:solidFill>
                  <a:srgbClr val="A9A9A9"/>
                </a:solidFill>
                <a:latin typeface="Consolas" panose="020B0609020204030204" pitchFamily="49" charset="0"/>
              </a:rPr>
              <a:t>-</a:t>
            </a:r>
            <a:r>
              <a:rPr lang="en-US" sz="2799" dirty="0">
                <a:solidFill>
                  <a:srgbClr val="333333"/>
                </a:solidFill>
                <a:latin typeface="Consolas" panose="020B0609020204030204" pitchFamily="49" charset="0"/>
              </a:rPr>
              <a:t>Property Name</a:t>
            </a:r>
            <a:r>
              <a:rPr lang="en-US" sz="2799" dirty="0">
                <a:solidFill>
                  <a:srgbClr val="A9A9A9"/>
                </a:solidFill>
                <a:latin typeface="Consolas" panose="020B0609020204030204" pitchFamily="49" charset="0"/>
              </a:rPr>
              <a:t>,</a:t>
            </a:r>
            <a:r>
              <a:rPr lang="en-US" sz="27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799" dirty="0" err="1">
                <a:solidFill>
                  <a:srgbClr val="333333"/>
                </a:solidFill>
                <a:latin typeface="Consolas" panose="020B0609020204030204" pitchFamily="49" charset="0"/>
              </a:rPr>
              <a:t>FileName</a:t>
            </a:r>
            <a:r>
              <a:rPr lang="en-US" sz="2799" dirty="0">
                <a:solidFill>
                  <a:srgbClr val="A9A9A9"/>
                </a:solidFill>
                <a:latin typeface="Consolas" panose="020B0609020204030204" pitchFamily="49" charset="0"/>
              </a:rPr>
              <a:t>,</a:t>
            </a:r>
            <a:r>
              <a:rPr lang="en-US" sz="27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799" dirty="0" err="1">
                <a:solidFill>
                  <a:srgbClr val="333333"/>
                </a:solidFill>
                <a:latin typeface="Consolas" panose="020B0609020204030204" pitchFamily="49" charset="0"/>
              </a:rPr>
              <a:t>CanonicalName</a:t>
            </a:r>
            <a:endParaRPr lang="en-US" sz="2799" dirty="0">
              <a:solidFill>
                <a:srgbClr val="333333"/>
              </a:solidFill>
              <a:latin typeface="Consolas" panose="020B0609020204030204" pitchFamily="49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7E94894-41F1-8546-8CFF-36354141F1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9173" y="5285854"/>
            <a:ext cx="10973256" cy="108319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C8A0334-0324-F148-9BF1-EDE00FBA8CC1}"/>
              </a:ext>
            </a:extLst>
          </p:cNvPr>
          <p:cNvSpPr txBox="1"/>
          <p:nvPr/>
        </p:nvSpPr>
        <p:spPr>
          <a:xfrm>
            <a:off x="10192369" y="5708511"/>
            <a:ext cx="417335" cy="5846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3199" b="1" dirty="0">
                <a:solidFill>
                  <a:srgbClr val="FFFF00"/>
                </a:solidFill>
                <a:latin typeface="Metropolis" panose="00000500000000000000" pitchFamily="2" charset="0"/>
              </a:rPr>
              <a:t>?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40412E3-C237-034C-B521-1CAD71925CD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9176" y="2446420"/>
            <a:ext cx="11768797" cy="947146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38E4B38-7EB1-334C-8A5E-1A18DC39F41B}"/>
              </a:ext>
            </a:extLst>
          </p:cNvPr>
          <p:cNvSpPr txBox="1">
            <a:spLocks/>
          </p:cNvSpPr>
          <p:nvPr/>
        </p:nvSpPr>
        <p:spPr>
          <a:xfrm>
            <a:off x="211602" y="1405138"/>
            <a:ext cx="11768797" cy="1327888"/>
          </a:xfrm>
          <a:prstGeom prst="rect">
            <a:avLst/>
          </a:prstGeom>
        </p:spPr>
        <p:txBody>
          <a:bodyPr vert="horz" lIns="91416" tIns="45708" rIns="91416" bIns="45708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rgbClr val="0000FF"/>
                </a:solidFill>
                <a:latin typeface="Lucida Console" panose="020B0609040504020204" pitchFamily="49" charset="0"/>
              </a:rPr>
              <a:t>Get-VM</a:t>
            </a:r>
            <a:r>
              <a:rPr lang="en-US" sz="2400" dirty="0">
                <a:solidFill>
                  <a:prstClr val="black"/>
                </a:solidFill>
                <a:latin typeface="Lucida Console" panose="020B0609040504020204" pitchFamily="49" charset="0"/>
              </a:rPr>
              <a:t> </a:t>
            </a:r>
            <a:r>
              <a:rPr lang="en-US" sz="2400" dirty="0">
                <a:solidFill>
                  <a:srgbClr val="000080"/>
                </a:solidFill>
                <a:latin typeface="Lucida Console" panose="020B0609040504020204" pitchFamily="49" charset="0"/>
              </a:rPr>
              <a:t>-Name</a:t>
            </a:r>
            <a:r>
              <a:rPr lang="en-US" sz="2400" dirty="0">
                <a:solidFill>
                  <a:prstClr val="black"/>
                </a:solidFill>
                <a:latin typeface="Lucida Console" panose="020B0609040504020204" pitchFamily="49" charset="0"/>
              </a:rPr>
              <a:t> </a:t>
            </a:r>
            <a:r>
              <a:rPr lang="en-US" sz="2400" dirty="0">
                <a:solidFill>
                  <a:srgbClr val="8A2BE2"/>
                </a:solidFill>
                <a:latin typeface="Lucida Console" panose="020B0609040504020204" pitchFamily="49" charset="0"/>
              </a:rPr>
              <a:t>VM1</a:t>
            </a:r>
            <a:r>
              <a:rPr lang="en-US" sz="2400" dirty="0">
                <a:solidFill>
                  <a:prstClr val="black"/>
                </a:solidFill>
                <a:latin typeface="Lucida Console" panose="020B0609040504020204" pitchFamily="49" charset="0"/>
              </a:rPr>
              <a:t> </a:t>
            </a:r>
            <a:r>
              <a:rPr lang="en-US" sz="2400" dirty="0">
                <a:solidFill>
                  <a:srgbClr val="A9A9A9"/>
                </a:solidFill>
                <a:latin typeface="Lucida Console" panose="020B0609040504020204" pitchFamily="49" charset="0"/>
              </a:rPr>
              <a:t>|</a:t>
            </a:r>
            <a:r>
              <a:rPr lang="en-US" sz="2400" dirty="0">
                <a:solidFill>
                  <a:prstClr val="black"/>
                </a:solidFill>
                <a:latin typeface="Lucida Console" panose="020B0609040504020204" pitchFamily="49" charset="0"/>
              </a:rPr>
              <a:t> </a:t>
            </a:r>
            <a:r>
              <a:rPr lang="en-US" sz="2400" dirty="0">
                <a:solidFill>
                  <a:srgbClr val="0000FF"/>
                </a:solidFill>
                <a:latin typeface="Lucida Console" panose="020B0609040504020204" pitchFamily="49" charset="0"/>
              </a:rPr>
              <a:t>Get-</a:t>
            </a:r>
            <a:r>
              <a:rPr lang="en-US" sz="2400" dirty="0" err="1">
                <a:solidFill>
                  <a:srgbClr val="0000FF"/>
                </a:solidFill>
                <a:latin typeface="Lucida Console" panose="020B0609040504020204" pitchFamily="49" charset="0"/>
              </a:rPr>
              <a:t>HardDisk</a:t>
            </a:r>
            <a:r>
              <a:rPr lang="en-US" sz="2400" dirty="0">
                <a:solidFill>
                  <a:prstClr val="black"/>
                </a:solidFill>
                <a:latin typeface="Lucida Console" panose="020B0609040504020204" pitchFamily="49" charset="0"/>
              </a:rPr>
              <a:t> </a:t>
            </a:r>
            <a:r>
              <a:rPr lang="en-US" sz="2400" dirty="0">
                <a:solidFill>
                  <a:srgbClr val="A9A9A9"/>
                </a:solidFill>
                <a:latin typeface="Lucida Console" panose="020B0609040504020204" pitchFamily="49" charset="0"/>
              </a:rPr>
              <a:t>| `</a:t>
            </a:r>
            <a:endParaRPr lang="en-US" sz="2400" dirty="0">
              <a:solidFill>
                <a:prstClr val="black"/>
              </a:solidFill>
              <a:latin typeface="Lucida Console" panose="020B0609040504020204" pitchFamily="49" charset="0"/>
            </a:endParaRPr>
          </a:p>
          <a:p>
            <a:pPr marL="0" indent="0">
              <a:buNone/>
            </a:pPr>
            <a:r>
              <a:rPr lang="en-US" sz="2400" dirty="0">
                <a:solidFill>
                  <a:srgbClr val="0000FF"/>
                </a:solidFill>
                <a:latin typeface="Lucida Console" panose="020B0609040504020204" pitchFamily="49" charset="0"/>
              </a:rPr>
              <a:t>	Select-Object</a:t>
            </a:r>
            <a:r>
              <a:rPr lang="en-US" sz="2400" dirty="0">
                <a:solidFill>
                  <a:prstClr val="black"/>
                </a:solidFill>
                <a:latin typeface="Lucida Console" panose="020B0609040504020204" pitchFamily="49" charset="0"/>
              </a:rPr>
              <a:t> </a:t>
            </a:r>
            <a:r>
              <a:rPr lang="en-US" sz="2400" dirty="0">
                <a:solidFill>
                  <a:srgbClr val="000080"/>
                </a:solidFill>
                <a:latin typeface="Lucida Console" panose="020B0609040504020204" pitchFamily="49" charset="0"/>
              </a:rPr>
              <a:t>-Property</a:t>
            </a:r>
            <a:r>
              <a:rPr lang="en-US" sz="2400" dirty="0">
                <a:solidFill>
                  <a:prstClr val="black"/>
                </a:solidFill>
                <a:latin typeface="Lucida Console" panose="020B0609040504020204" pitchFamily="49" charset="0"/>
              </a:rPr>
              <a:t> </a:t>
            </a:r>
            <a:r>
              <a:rPr lang="en-US" sz="2400" dirty="0">
                <a:solidFill>
                  <a:srgbClr val="8A2BE2"/>
                </a:solidFill>
                <a:latin typeface="Lucida Console" panose="020B0609040504020204" pitchFamily="49" charset="0"/>
              </a:rPr>
              <a:t>Name</a:t>
            </a:r>
            <a:r>
              <a:rPr lang="en-US" sz="2400" dirty="0">
                <a:solidFill>
                  <a:srgbClr val="A9A9A9"/>
                </a:solidFill>
                <a:latin typeface="Lucida Console" panose="020B0609040504020204" pitchFamily="49" charset="0"/>
              </a:rPr>
              <a:t>,</a:t>
            </a:r>
            <a:r>
              <a:rPr lang="en-US" sz="2400" dirty="0">
                <a:solidFill>
                  <a:prstClr val="black"/>
                </a:solidFill>
                <a:latin typeface="Lucida Console" panose="020B0609040504020204" pitchFamily="49" charset="0"/>
              </a:rPr>
              <a:t> </a:t>
            </a:r>
            <a:r>
              <a:rPr lang="en-US" sz="2400" dirty="0" err="1">
                <a:solidFill>
                  <a:srgbClr val="8A2BE2"/>
                </a:solidFill>
                <a:latin typeface="Lucida Console" panose="020B0609040504020204" pitchFamily="49" charset="0"/>
              </a:rPr>
              <a:t>FileName</a:t>
            </a:r>
            <a:r>
              <a:rPr lang="en-US" sz="2400" dirty="0">
                <a:solidFill>
                  <a:srgbClr val="A9A9A9"/>
                </a:solidFill>
                <a:latin typeface="Lucida Console" panose="020B0609040504020204" pitchFamily="49" charset="0"/>
              </a:rPr>
              <a:t>,</a:t>
            </a:r>
            <a:r>
              <a:rPr lang="en-US" sz="2400" dirty="0">
                <a:solidFill>
                  <a:prstClr val="black"/>
                </a:solidFill>
                <a:latin typeface="Lucida Console" panose="020B0609040504020204" pitchFamily="49" charset="0"/>
              </a:rPr>
              <a:t> </a:t>
            </a:r>
            <a:r>
              <a:rPr lang="en-US" sz="2400" dirty="0" err="1">
                <a:solidFill>
                  <a:srgbClr val="8A2BE2"/>
                </a:solidFill>
                <a:latin typeface="Lucida Console" panose="020B0609040504020204" pitchFamily="49" charset="0"/>
              </a:rPr>
              <a:t>ScsiCanonicalName</a:t>
            </a:r>
            <a:r>
              <a:rPr lang="en-US" sz="2400" dirty="0">
                <a:solidFill>
                  <a:srgbClr val="8A2BE2"/>
                </a:solidFill>
                <a:latin typeface="Lucida Console" panose="020B0609040504020204" pitchFamily="49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876895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6" grpId="0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D1A82B1-03AA-D34C-8CA3-C48EF3E9A84D}"/>
              </a:ext>
            </a:extLst>
          </p:cNvPr>
          <p:cNvSpPr txBox="1"/>
          <p:nvPr/>
        </p:nvSpPr>
        <p:spPr>
          <a:xfrm>
            <a:off x="139148" y="715617"/>
            <a:ext cx="1158902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heritance</a:t>
            </a:r>
          </a:p>
        </p:txBody>
      </p:sp>
      <p:sp>
        <p:nvSpPr>
          <p:cNvPr id="9" name="Content Placeholder 12">
            <a:extLst>
              <a:ext uri="{FF2B5EF4-FFF2-40B4-BE49-F238E27FC236}">
                <a16:creationId xmlns:a16="http://schemas.microsoft.com/office/drawing/2014/main" id="{0CD50F90-88B0-2A43-BAE2-500E4673183B}"/>
              </a:ext>
            </a:extLst>
          </p:cNvPr>
          <p:cNvSpPr txBox="1">
            <a:spLocks/>
          </p:cNvSpPr>
          <p:nvPr/>
        </p:nvSpPr>
        <p:spPr>
          <a:xfrm>
            <a:off x="291107" y="1487135"/>
            <a:ext cx="10972800" cy="378228"/>
          </a:xfrm>
          <a:prstGeom prst="rect">
            <a:avLst/>
          </a:prstGeom>
        </p:spPr>
        <p:txBody>
          <a:bodyPr/>
          <a:lstStyle>
            <a:lvl1pPr marL="228611" indent="-228611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5325" indent="-190510" algn="l" defTabSz="6096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2038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6853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69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76484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81299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86114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90930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/>
              <a:t>Export-Csv takes the 1</a:t>
            </a:r>
            <a:r>
              <a:rPr lang="en-US" sz="2400" baseline="30000"/>
              <a:t>st</a:t>
            </a:r>
            <a:r>
              <a:rPr lang="en-US" sz="2400"/>
              <a:t> object as template, if no explicit properties given</a:t>
            </a:r>
          </a:p>
          <a:p>
            <a:endParaRPr lang="en-US" sz="2400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07C62B8-CE38-8949-B7EE-34B3CEF6FDB0}"/>
              </a:ext>
            </a:extLst>
          </p:cNvPr>
          <p:cNvSpPr txBox="1">
            <a:spLocks/>
          </p:cNvSpPr>
          <p:nvPr/>
        </p:nvSpPr>
        <p:spPr>
          <a:xfrm>
            <a:off x="137351" y="2418389"/>
            <a:ext cx="10973255" cy="2649575"/>
          </a:xfrm>
          <a:prstGeom prst="rect">
            <a:avLst/>
          </a:prstGeom>
        </p:spPr>
        <p:txBody>
          <a:bodyPr vert="horz" lIns="91416" tIns="45708" rIns="91416" bIns="45708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126">
              <a:buNone/>
            </a:pPr>
            <a:r>
              <a:rPr lang="en-US" sz="2199" dirty="0">
                <a:solidFill>
                  <a:srgbClr val="000000"/>
                </a:solidFill>
                <a:latin typeface="Consolas" panose="020B0609020204030204" pitchFamily="49" charset="0"/>
              </a:rPr>
              <a:t>$</a:t>
            </a:r>
            <a:r>
              <a:rPr lang="en-US" sz="2199" dirty="0" err="1">
                <a:solidFill>
                  <a:srgbClr val="FF4500"/>
                </a:solidFill>
                <a:latin typeface="Consolas" panose="020B0609020204030204" pitchFamily="49" charset="0"/>
              </a:rPr>
              <a:t>hd</a:t>
            </a:r>
            <a:r>
              <a:rPr lang="en-US" sz="21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199" dirty="0">
                <a:solidFill>
                  <a:srgbClr val="A9A9A9"/>
                </a:solidFill>
                <a:latin typeface="Consolas" panose="020B0609020204030204" pitchFamily="49" charset="0"/>
              </a:rPr>
              <a:t>=</a:t>
            </a:r>
            <a:r>
              <a:rPr lang="en-US" sz="21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199" dirty="0">
                <a:solidFill>
                  <a:srgbClr val="0000FF"/>
                </a:solidFill>
                <a:latin typeface="Consolas" panose="020B0609020204030204" pitchFamily="49" charset="0"/>
              </a:rPr>
              <a:t>Get-VM</a:t>
            </a:r>
            <a:r>
              <a:rPr lang="en-US" sz="21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199" dirty="0">
                <a:solidFill>
                  <a:srgbClr val="A9A9A9"/>
                </a:solidFill>
                <a:latin typeface="Consolas" panose="020B0609020204030204" pitchFamily="49" charset="0"/>
              </a:rPr>
              <a:t>-</a:t>
            </a:r>
            <a:r>
              <a:rPr lang="en-US" sz="2199" dirty="0">
                <a:solidFill>
                  <a:srgbClr val="333333"/>
                </a:solidFill>
                <a:latin typeface="Consolas" panose="020B0609020204030204" pitchFamily="49" charset="0"/>
              </a:rPr>
              <a:t>Name VM1 </a:t>
            </a:r>
            <a:r>
              <a:rPr lang="en-US" sz="2199" dirty="0">
                <a:solidFill>
                  <a:srgbClr val="A9A9A9"/>
                </a:solidFill>
                <a:latin typeface="Consolas" panose="020B0609020204030204" pitchFamily="49" charset="0"/>
              </a:rPr>
              <a:t>|</a:t>
            </a:r>
            <a:r>
              <a:rPr lang="en-US" sz="21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199" dirty="0">
                <a:solidFill>
                  <a:srgbClr val="0000FF"/>
                </a:solidFill>
                <a:latin typeface="Consolas" panose="020B0609020204030204" pitchFamily="49" charset="0"/>
              </a:rPr>
              <a:t>Get-</a:t>
            </a:r>
            <a:r>
              <a:rPr lang="en-US" sz="2199" dirty="0" err="1">
                <a:solidFill>
                  <a:srgbClr val="0000FF"/>
                </a:solidFill>
                <a:latin typeface="Consolas" panose="020B0609020204030204" pitchFamily="49" charset="0"/>
              </a:rPr>
              <a:t>HardDisk</a:t>
            </a:r>
            <a:endParaRPr lang="en-US" sz="2199" dirty="0">
              <a:solidFill>
                <a:srgbClr val="333333"/>
              </a:solidFill>
              <a:latin typeface="Consolas" panose="020B0609020204030204" pitchFamily="49" charset="0"/>
            </a:endParaRPr>
          </a:p>
          <a:p>
            <a:pPr marL="0" indent="0" defTabSz="914126">
              <a:buNone/>
            </a:pPr>
            <a:r>
              <a:rPr lang="en-US" sz="2199" dirty="0">
                <a:solidFill>
                  <a:srgbClr val="000000"/>
                </a:solidFill>
                <a:latin typeface="Consolas" panose="020B0609020204030204" pitchFamily="49" charset="0"/>
              </a:rPr>
              <a:t>$</a:t>
            </a:r>
            <a:r>
              <a:rPr lang="en-US" sz="2199" dirty="0">
                <a:solidFill>
                  <a:srgbClr val="FF4500"/>
                </a:solidFill>
                <a:latin typeface="Consolas" panose="020B0609020204030204" pitchFamily="49" charset="0"/>
              </a:rPr>
              <a:t>props</a:t>
            </a:r>
            <a:r>
              <a:rPr lang="en-US" sz="21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199" dirty="0">
                <a:solidFill>
                  <a:srgbClr val="A9A9A9"/>
                </a:solidFill>
                <a:latin typeface="Consolas" panose="020B0609020204030204" pitchFamily="49" charset="0"/>
              </a:rPr>
              <a:t>=</a:t>
            </a:r>
            <a:r>
              <a:rPr lang="en-US" sz="21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199" dirty="0">
                <a:solidFill>
                  <a:srgbClr val="000000"/>
                </a:solidFill>
                <a:latin typeface="Consolas" panose="020B0609020204030204" pitchFamily="49" charset="0"/>
              </a:rPr>
              <a:t>$</a:t>
            </a:r>
            <a:r>
              <a:rPr lang="en-US" sz="2199" dirty="0" err="1">
                <a:solidFill>
                  <a:srgbClr val="FF4500"/>
                </a:solidFill>
                <a:latin typeface="Consolas" panose="020B0609020204030204" pitchFamily="49" charset="0"/>
              </a:rPr>
              <a:t>hd</a:t>
            </a:r>
            <a:r>
              <a:rPr lang="en-US" sz="21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199" dirty="0">
                <a:solidFill>
                  <a:srgbClr val="A9A9A9"/>
                </a:solidFill>
                <a:latin typeface="Consolas" panose="020B0609020204030204" pitchFamily="49" charset="0"/>
              </a:rPr>
              <a:t>|</a:t>
            </a:r>
            <a:r>
              <a:rPr lang="en-US" sz="21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199" dirty="0">
                <a:solidFill>
                  <a:srgbClr val="00008B"/>
                </a:solidFill>
                <a:latin typeface="Consolas" panose="020B0609020204030204" pitchFamily="49" charset="0"/>
              </a:rPr>
              <a:t>%</a:t>
            </a:r>
            <a:r>
              <a:rPr lang="en-US" sz="21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199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  <a:r>
              <a:rPr lang="en-US" sz="21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199" dirty="0">
                <a:solidFill>
                  <a:srgbClr val="000000"/>
                </a:solidFill>
                <a:latin typeface="Consolas" panose="020B0609020204030204" pitchFamily="49" charset="0"/>
              </a:rPr>
              <a:t>$</a:t>
            </a:r>
            <a:r>
              <a:rPr lang="en-US" sz="2199" dirty="0">
                <a:solidFill>
                  <a:srgbClr val="FF4500"/>
                </a:solidFill>
                <a:latin typeface="Consolas" panose="020B0609020204030204" pitchFamily="49" charset="0"/>
              </a:rPr>
              <a:t>_.psobject.properties.name</a:t>
            </a:r>
            <a:r>
              <a:rPr lang="en-US" sz="21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199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  <a:r>
              <a:rPr lang="en-US" sz="21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199" dirty="0">
                <a:solidFill>
                  <a:srgbClr val="A9A9A9"/>
                </a:solidFill>
                <a:latin typeface="Consolas" panose="020B0609020204030204" pitchFamily="49" charset="0"/>
              </a:rPr>
              <a:t>|</a:t>
            </a:r>
            <a:r>
              <a:rPr lang="en-US" sz="21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199" dirty="0">
                <a:solidFill>
                  <a:srgbClr val="0000FF"/>
                </a:solidFill>
                <a:latin typeface="Consolas" panose="020B0609020204030204" pitchFamily="49" charset="0"/>
              </a:rPr>
              <a:t>Sort-Object</a:t>
            </a:r>
            <a:r>
              <a:rPr lang="en-US" sz="21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199" dirty="0">
                <a:solidFill>
                  <a:srgbClr val="A9A9A9"/>
                </a:solidFill>
                <a:latin typeface="Consolas" panose="020B0609020204030204" pitchFamily="49" charset="0"/>
              </a:rPr>
              <a:t>-</a:t>
            </a:r>
            <a:r>
              <a:rPr lang="en-US" sz="2199" dirty="0">
                <a:solidFill>
                  <a:srgbClr val="333333"/>
                </a:solidFill>
                <a:latin typeface="Consolas" panose="020B0609020204030204" pitchFamily="49" charset="0"/>
              </a:rPr>
              <a:t>Unique</a:t>
            </a:r>
          </a:p>
          <a:p>
            <a:pPr marL="0" indent="0" defTabSz="914126">
              <a:buNone/>
            </a:pPr>
            <a:r>
              <a:rPr lang="en-US" sz="2199" dirty="0">
                <a:solidFill>
                  <a:srgbClr val="000000"/>
                </a:solidFill>
                <a:latin typeface="Consolas" panose="020B0609020204030204" pitchFamily="49" charset="0"/>
              </a:rPr>
              <a:t>$</a:t>
            </a:r>
            <a:r>
              <a:rPr lang="en-US" sz="2199" dirty="0" err="1">
                <a:solidFill>
                  <a:srgbClr val="FF4500"/>
                </a:solidFill>
                <a:latin typeface="Consolas" panose="020B0609020204030204" pitchFamily="49" charset="0"/>
              </a:rPr>
              <a:t>hd</a:t>
            </a:r>
            <a:r>
              <a:rPr lang="en-US" sz="21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199" dirty="0">
                <a:solidFill>
                  <a:srgbClr val="A9A9A9"/>
                </a:solidFill>
                <a:latin typeface="Consolas" panose="020B0609020204030204" pitchFamily="49" charset="0"/>
              </a:rPr>
              <a:t>|</a:t>
            </a:r>
            <a:r>
              <a:rPr lang="en-US" sz="21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199" dirty="0">
                <a:solidFill>
                  <a:srgbClr val="0000FF"/>
                </a:solidFill>
                <a:latin typeface="Consolas" panose="020B0609020204030204" pitchFamily="49" charset="0"/>
              </a:rPr>
              <a:t>Select-Object</a:t>
            </a:r>
            <a:r>
              <a:rPr lang="en-US" sz="21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199" dirty="0">
                <a:solidFill>
                  <a:srgbClr val="A9A9A9"/>
                </a:solidFill>
                <a:latin typeface="Consolas" panose="020B0609020204030204" pitchFamily="49" charset="0"/>
              </a:rPr>
              <a:t>-</a:t>
            </a:r>
            <a:r>
              <a:rPr lang="en-US" sz="2199" dirty="0">
                <a:solidFill>
                  <a:srgbClr val="333333"/>
                </a:solidFill>
                <a:latin typeface="Consolas" panose="020B0609020204030204" pitchFamily="49" charset="0"/>
              </a:rPr>
              <a:t>Property </a:t>
            </a:r>
            <a:r>
              <a:rPr lang="en-US" sz="2199" dirty="0">
                <a:solidFill>
                  <a:srgbClr val="000000"/>
                </a:solidFill>
                <a:latin typeface="Consolas" panose="020B0609020204030204" pitchFamily="49" charset="0"/>
              </a:rPr>
              <a:t>$</a:t>
            </a:r>
            <a:r>
              <a:rPr lang="en-US" sz="2199" dirty="0">
                <a:solidFill>
                  <a:srgbClr val="FF4500"/>
                </a:solidFill>
                <a:latin typeface="Consolas" panose="020B0609020204030204" pitchFamily="49" charset="0"/>
              </a:rPr>
              <a:t>props</a:t>
            </a:r>
            <a:r>
              <a:rPr lang="en-US" sz="21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199" dirty="0">
                <a:solidFill>
                  <a:srgbClr val="A9A9A9"/>
                </a:solidFill>
                <a:latin typeface="Consolas" panose="020B0609020204030204" pitchFamily="49" charset="0"/>
              </a:rPr>
              <a:t>|</a:t>
            </a:r>
            <a:r>
              <a:rPr lang="en-US" sz="21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199" dirty="0">
                <a:solidFill>
                  <a:srgbClr val="0000FF"/>
                </a:solidFill>
                <a:latin typeface="Consolas" panose="020B0609020204030204" pitchFamily="49" charset="0"/>
              </a:rPr>
              <a:t>Export-Csv</a:t>
            </a:r>
            <a:r>
              <a:rPr lang="en-US" sz="21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199" dirty="0">
                <a:solidFill>
                  <a:srgbClr val="A9A9A9"/>
                </a:solidFill>
                <a:latin typeface="Consolas" panose="020B0609020204030204" pitchFamily="49" charset="0"/>
              </a:rPr>
              <a:t>-</a:t>
            </a:r>
            <a:r>
              <a:rPr lang="en-US" sz="2199" dirty="0">
                <a:solidFill>
                  <a:srgbClr val="333333"/>
                </a:solidFill>
                <a:latin typeface="Consolas" panose="020B0609020204030204" pitchFamily="49" charset="0"/>
              </a:rPr>
              <a:t>Path .\report.csv</a:t>
            </a:r>
          </a:p>
          <a:p>
            <a:pPr marL="0" indent="0" defTabSz="914126">
              <a:buNone/>
            </a:pPr>
            <a:br>
              <a:rPr lang="en-US" sz="2199" dirty="0">
                <a:solidFill>
                  <a:srgbClr val="333333"/>
                </a:solidFill>
                <a:latin typeface="Consolas" panose="020B0609020204030204" pitchFamily="49" charset="0"/>
              </a:rPr>
            </a:br>
            <a:r>
              <a:rPr lang="en-US" sz="2199" dirty="0">
                <a:solidFill>
                  <a:srgbClr val="0000FF"/>
                </a:solidFill>
                <a:latin typeface="Consolas" panose="020B0609020204030204" pitchFamily="49" charset="0"/>
              </a:rPr>
              <a:t>Import-csv</a:t>
            </a:r>
            <a:r>
              <a:rPr lang="en-US" sz="21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199" dirty="0">
                <a:solidFill>
                  <a:srgbClr val="A9A9A9"/>
                </a:solidFill>
                <a:latin typeface="Consolas" panose="020B0609020204030204" pitchFamily="49" charset="0"/>
              </a:rPr>
              <a:t>-</a:t>
            </a:r>
            <a:r>
              <a:rPr lang="en-US" sz="2199" dirty="0">
                <a:solidFill>
                  <a:srgbClr val="333333"/>
                </a:solidFill>
                <a:latin typeface="Consolas" panose="020B0609020204030204" pitchFamily="49" charset="0"/>
              </a:rPr>
              <a:t>Path .\</a:t>
            </a:r>
            <a:r>
              <a:rPr lang="en-US" sz="2199" dirty="0" err="1">
                <a:solidFill>
                  <a:srgbClr val="333333"/>
                </a:solidFill>
                <a:latin typeface="Consolas" panose="020B0609020204030204" pitchFamily="49" charset="0"/>
              </a:rPr>
              <a:t>report.csv</a:t>
            </a:r>
            <a:r>
              <a:rPr lang="en-US" sz="21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199" dirty="0">
                <a:solidFill>
                  <a:srgbClr val="A9A9A9"/>
                </a:solidFill>
                <a:latin typeface="Consolas" panose="020B0609020204030204" pitchFamily="49" charset="0"/>
              </a:rPr>
              <a:t>| `</a:t>
            </a:r>
            <a:endParaRPr lang="en-US" sz="2199" dirty="0">
              <a:solidFill>
                <a:srgbClr val="333333"/>
              </a:solidFill>
              <a:latin typeface="Consolas" panose="020B0609020204030204" pitchFamily="49" charset="0"/>
            </a:endParaRPr>
          </a:p>
          <a:p>
            <a:pPr marL="0" indent="0" defTabSz="914126">
              <a:buNone/>
            </a:pPr>
            <a:r>
              <a:rPr lang="en-US" sz="2199" dirty="0">
                <a:solidFill>
                  <a:srgbClr val="0000FF"/>
                </a:solidFill>
                <a:latin typeface="Consolas" panose="020B0609020204030204" pitchFamily="49" charset="0"/>
              </a:rPr>
              <a:t>	Select-Object</a:t>
            </a:r>
            <a:r>
              <a:rPr lang="en-US" sz="21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199" dirty="0">
                <a:solidFill>
                  <a:srgbClr val="A9A9A9"/>
                </a:solidFill>
                <a:latin typeface="Consolas" panose="020B0609020204030204" pitchFamily="49" charset="0"/>
              </a:rPr>
              <a:t>-</a:t>
            </a:r>
            <a:r>
              <a:rPr lang="en-US" sz="2199" dirty="0">
                <a:solidFill>
                  <a:srgbClr val="333333"/>
                </a:solidFill>
                <a:latin typeface="Consolas" panose="020B0609020204030204" pitchFamily="49" charset="0"/>
              </a:rPr>
              <a:t>Property Name</a:t>
            </a:r>
            <a:r>
              <a:rPr lang="en-US" sz="2199" dirty="0">
                <a:solidFill>
                  <a:srgbClr val="A9A9A9"/>
                </a:solidFill>
                <a:latin typeface="Consolas" panose="020B0609020204030204" pitchFamily="49" charset="0"/>
              </a:rPr>
              <a:t>,</a:t>
            </a:r>
            <a:r>
              <a:rPr lang="en-US" sz="21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199" dirty="0" err="1">
                <a:solidFill>
                  <a:srgbClr val="333333"/>
                </a:solidFill>
                <a:latin typeface="Consolas" panose="020B0609020204030204" pitchFamily="49" charset="0"/>
              </a:rPr>
              <a:t>FileName</a:t>
            </a:r>
            <a:r>
              <a:rPr lang="en-US" sz="2199" dirty="0">
                <a:solidFill>
                  <a:srgbClr val="A9A9A9"/>
                </a:solidFill>
                <a:latin typeface="Consolas" panose="020B0609020204030204" pitchFamily="49" charset="0"/>
              </a:rPr>
              <a:t>,</a:t>
            </a:r>
            <a:r>
              <a:rPr lang="en-US" sz="21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199" dirty="0" err="1">
                <a:solidFill>
                  <a:srgbClr val="333333"/>
                </a:solidFill>
                <a:latin typeface="Consolas" panose="020B0609020204030204" pitchFamily="49" charset="0"/>
              </a:rPr>
              <a:t>ScsiCanonicalName</a:t>
            </a:r>
            <a:endParaRPr lang="en-US" sz="2199" dirty="0">
              <a:solidFill>
                <a:srgbClr val="333333"/>
              </a:solidFill>
              <a:latin typeface="Consolas" panose="020B0609020204030204" pitchFamily="49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D79F80-6280-204D-8362-2510599692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7353" y="5170674"/>
            <a:ext cx="11593131" cy="924235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5C1565F0-9ED0-8E43-A1C5-F830075D6EFC}"/>
              </a:ext>
            </a:extLst>
          </p:cNvPr>
          <p:cNvSpPr/>
          <p:nvPr/>
        </p:nvSpPr>
        <p:spPr>
          <a:xfrm>
            <a:off x="3535899" y="2875469"/>
            <a:ext cx="3795758" cy="367652"/>
          </a:xfrm>
          <a:prstGeom prst="rect">
            <a:avLst/>
          </a:prstGeom>
          <a:solidFill>
            <a:srgbClr val="FFFF00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 dirty="0">
              <a:solidFill>
                <a:prstClr val="white"/>
              </a:solidFill>
              <a:latin typeface="Metropolis" panose="00000500000000000000" pitchFamily="2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1E07378-3095-874F-8F19-A811F331DD39}"/>
              </a:ext>
            </a:extLst>
          </p:cNvPr>
          <p:cNvSpPr/>
          <p:nvPr/>
        </p:nvSpPr>
        <p:spPr>
          <a:xfrm>
            <a:off x="9855540" y="2875469"/>
            <a:ext cx="1334809" cy="367652"/>
          </a:xfrm>
          <a:prstGeom prst="rect">
            <a:avLst/>
          </a:prstGeom>
          <a:solidFill>
            <a:srgbClr val="FFFF00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 dirty="0">
              <a:solidFill>
                <a:prstClr val="white"/>
              </a:solidFill>
              <a:latin typeface="Metropoli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70401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/>
      <p:bldP spid="10" grpId="0" uiExpand="1" build="p"/>
      <p:bldP spid="12" grpId="0" animBg="1"/>
      <p:bldP spid="13" grpId="0" animBg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D1A82B1-03AA-D34C-8CA3-C48EF3E9A84D}"/>
              </a:ext>
            </a:extLst>
          </p:cNvPr>
          <p:cNvSpPr txBox="1"/>
          <p:nvPr/>
        </p:nvSpPr>
        <p:spPr>
          <a:xfrm>
            <a:off x="139148" y="715617"/>
            <a:ext cx="1158902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ait For It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8AD8951A-F0C8-704E-9E30-3BE6D429E90F}"/>
              </a:ext>
            </a:extLst>
          </p:cNvPr>
          <p:cNvSpPr txBox="1">
            <a:spLocks/>
          </p:cNvSpPr>
          <p:nvPr/>
        </p:nvSpPr>
        <p:spPr>
          <a:xfrm>
            <a:off x="616666" y="1600201"/>
            <a:ext cx="10975658" cy="4572000"/>
          </a:xfrm>
          <a:prstGeom prst="rect">
            <a:avLst/>
          </a:prstGeom>
        </p:spPr>
        <p:txBody>
          <a:bodyPr/>
          <a:lstStyle>
            <a:lvl1pPr marL="228611" indent="-228611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5325" indent="-190510" algn="l" defTabSz="6096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2038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6853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69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76484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81299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86114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90930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999"/>
              <a:t>Template + OSCustomizationSpec </a:t>
            </a:r>
            <a:r>
              <a:rPr lang="en-US" sz="1999">
                <a:sym typeface="Wingdings" panose="05000000000000000000" pitchFamily="2" charset="2"/>
              </a:rPr>
              <a:t> VM</a:t>
            </a:r>
          </a:p>
          <a:p>
            <a:r>
              <a:rPr lang="en-US" sz="1999">
                <a:sym typeface="Wingdings" panose="05000000000000000000" pitchFamily="2" charset="2"/>
              </a:rPr>
              <a:t>But when is it really available?</a:t>
            </a:r>
          </a:p>
          <a:p>
            <a:pPr lvl="1"/>
            <a:r>
              <a:rPr lang="en-US" sz="1999">
                <a:sym typeface="Wingdings" panose="05000000000000000000" pitchFamily="2" charset="2"/>
              </a:rPr>
              <a:t>Use the Events (Luke)!</a:t>
            </a:r>
          </a:p>
          <a:p>
            <a:r>
              <a:rPr lang="en-US" sz="1999">
                <a:sym typeface="Wingdings" panose="05000000000000000000" pitchFamily="2" charset="2"/>
              </a:rPr>
              <a:t>Simple VM deployment</a:t>
            </a:r>
            <a:endParaRPr lang="en-US" sz="1999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D1C3360-35E6-544B-89FE-8B4E3928E8F8}"/>
              </a:ext>
            </a:extLst>
          </p:cNvPr>
          <p:cNvSpPr txBox="1"/>
          <p:nvPr/>
        </p:nvSpPr>
        <p:spPr>
          <a:xfrm>
            <a:off x="848062" y="3492290"/>
            <a:ext cx="10512862" cy="2553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999" dirty="0">
                <a:solidFill>
                  <a:srgbClr val="000000"/>
                </a:solidFill>
                <a:latin typeface="Consolas" panose="020B0609020204030204" pitchFamily="49" charset="0"/>
              </a:rPr>
              <a:t>$</a:t>
            </a:r>
            <a:r>
              <a:rPr lang="en-US" sz="1999" dirty="0" err="1">
                <a:solidFill>
                  <a:srgbClr val="FF4500"/>
                </a:solidFill>
                <a:latin typeface="Consolas" panose="020B0609020204030204" pitchFamily="49" charset="0"/>
              </a:rPr>
              <a:t>sVM</a:t>
            </a:r>
            <a:r>
              <a:rPr lang="en-US" sz="19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 dirty="0">
                <a:solidFill>
                  <a:srgbClr val="A9A9A9"/>
                </a:solidFill>
                <a:latin typeface="Consolas" panose="020B0609020204030204" pitchFamily="49" charset="0"/>
              </a:rPr>
              <a:t>=</a:t>
            </a:r>
            <a:r>
              <a:rPr lang="en-US" sz="19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 dirty="0">
                <a:solidFill>
                  <a:srgbClr val="00008B"/>
                </a:solidFill>
                <a:latin typeface="Consolas" panose="020B0609020204030204" pitchFamily="49" charset="0"/>
              </a:rPr>
              <a:t>@</a:t>
            </a:r>
            <a:r>
              <a:rPr lang="en-US" sz="1999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  <a:endParaRPr lang="en-US" sz="1999" dirty="0">
              <a:solidFill>
                <a:srgbClr val="333333"/>
              </a:solidFill>
              <a:latin typeface="Consolas" panose="020B0609020204030204" pitchFamily="49" charset="0"/>
            </a:endParaRPr>
          </a:p>
          <a:p>
            <a:r>
              <a:rPr lang="en-US" sz="1999" dirty="0">
                <a:solidFill>
                  <a:srgbClr val="FF4500"/>
                </a:solidFill>
                <a:latin typeface="Consolas" panose="020B0609020204030204" pitchFamily="49" charset="0"/>
              </a:rPr>
              <a:t>  Name</a:t>
            </a:r>
            <a:r>
              <a:rPr lang="en-US" sz="19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 dirty="0">
                <a:solidFill>
                  <a:srgbClr val="A9A9A9"/>
                </a:solidFill>
                <a:latin typeface="Consolas" panose="020B0609020204030204" pitchFamily="49" charset="0"/>
              </a:rPr>
              <a:t>=</a:t>
            </a:r>
            <a:r>
              <a:rPr lang="en-US" sz="19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 dirty="0">
                <a:solidFill>
                  <a:srgbClr val="000000"/>
                </a:solidFill>
                <a:latin typeface="Consolas" panose="020B0609020204030204" pitchFamily="49" charset="0"/>
              </a:rPr>
              <a:t>$</a:t>
            </a:r>
            <a:r>
              <a:rPr lang="en-US" sz="1999" dirty="0" err="1">
                <a:solidFill>
                  <a:srgbClr val="FF4500"/>
                </a:solidFill>
                <a:latin typeface="Consolas" panose="020B0609020204030204" pitchFamily="49" charset="0"/>
              </a:rPr>
              <a:t>vmName</a:t>
            </a:r>
            <a:r>
              <a:rPr lang="en-US" sz="19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</a:p>
          <a:p>
            <a:r>
              <a:rPr lang="en-US" sz="1999" dirty="0">
                <a:solidFill>
                  <a:srgbClr val="FF4500"/>
                </a:solidFill>
                <a:latin typeface="Consolas" panose="020B0609020204030204" pitchFamily="49" charset="0"/>
              </a:rPr>
              <a:t>  Template</a:t>
            </a:r>
            <a:r>
              <a:rPr lang="en-US" sz="19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 dirty="0">
                <a:solidFill>
                  <a:srgbClr val="A9A9A9"/>
                </a:solidFill>
                <a:latin typeface="Consolas" panose="020B0609020204030204" pitchFamily="49" charset="0"/>
              </a:rPr>
              <a:t>=</a:t>
            </a:r>
            <a:r>
              <a:rPr lang="en-US" sz="19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 dirty="0">
                <a:solidFill>
                  <a:srgbClr val="0000FF"/>
                </a:solidFill>
                <a:latin typeface="Consolas" panose="020B0609020204030204" pitchFamily="49" charset="0"/>
              </a:rPr>
              <a:t>Get-Template</a:t>
            </a:r>
            <a:r>
              <a:rPr lang="en-US" sz="19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 dirty="0">
                <a:solidFill>
                  <a:srgbClr val="A9A9A9"/>
                </a:solidFill>
                <a:latin typeface="Consolas" panose="020B0609020204030204" pitchFamily="49" charset="0"/>
              </a:rPr>
              <a:t>-</a:t>
            </a:r>
            <a:r>
              <a:rPr lang="en-US" sz="1999" dirty="0">
                <a:solidFill>
                  <a:srgbClr val="333333"/>
                </a:solidFill>
                <a:latin typeface="Consolas" panose="020B0609020204030204" pitchFamily="49" charset="0"/>
              </a:rPr>
              <a:t>Name </a:t>
            </a:r>
            <a:r>
              <a:rPr lang="en-US" sz="1999" dirty="0">
                <a:solidFill>
                  <a:srgbClr val="000000"/>
                </a:solidFill>
                <a:latin typeface="Consolas" panose="020B0609020204030204" pitchFamily="49" charset="0"/>
              </a:rPr>
              <a:t>$</a:t>
            </a:r>
            <a:r>
              <a:rPr lang="en-US" sz="1999" dirty="0" err="1">
                <a:solidFill>
                  <a:srgbClr val="FF4500"/>
                </a:solidFill>
                <a:latin typeface="Consolas" panose="020B0609020204030204" pitchFamily="49" charset="0"/>
              </a:rPr>
              <a:t>templateName</a:t>
            </a:r>
            <a:endParaRPr lang="en-US" sz="1999" dirty="0">
              <a:solidFill>
                <a:srgbClr val="333333"/>
              </a:solidFill>
              <a:latin typeface="Consolas" panose="020B0609020204030204" pitchFamily="49" charset="0"/>
            </a:endParaRPr>
          </a:p>
          <a:p>
            <a:r>
              <a:rPr lang="en-US" sz="1999" dirty="0">
                <a:solidFill>
                  <a:srgbClr val="FF4500"/>
                </a:solidFill>
                <a:latin typeface="Consolas" panose="020B0609020204030204" pitchFamily="49" charset="0"/>
              </a:rPr>
              <a:t>  </a:t>
            </a:r>
            <a:r>
              <a:rPr lang="en-US" sz="1999" dirty="0" err="1">
                <a:solidFill>
                  <a:srgbClr val="FF4500"/>
                </a:solidFill>
                <a:latin typeface="Consolas" panose="020B0609020204030204" pitchFamily="49" charset="0"/>
              </a:rPr>
              <a:t>ResourcePool</a:t>
            </a:r>
            <a:r>
              <a:rPr lang="en-US" sz="19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 dirty="0">
                <a:solidFill>
                  <a:srgbClr val="A9A9A9"/>
                </a:solidFill>
                <a:latin typeface="Consolas" panose="020B0609020204030204" pitchFamily="49" charset="0"/>
              </a:rPr>
              <a:t>=</a:t>
            </a:r>
            <a:r>
              <a:rPr lang="en-US" sz="19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 dirty="0">
                <a:solidFill>
                  <a:srgbClr val="0000FF"/>
                </a:solidFill>
                <a:latin typeface="Consolas" panose="020B0609020204030204" pitchFamily="49" charset="0"/>
              </a:rPr>
              <a:t>Get-Cluster</a:t>
            </a:r>
            <a:r>
              <a:rPr lang="en-US" sz="19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 dirty="0">
                <a:solidFill>
                  <a:srgbClr val="A9A9A9"/>
                </a:solidFill>
                <a:latin typeface="Consolas" panose="020B0609020204030204" pitchFamily="49" charset="0"/>
              </a:rPr>
              <a:t>-</a:t>
            </a:r>
            <a:r>
              <a:rPr lang="en-US" sz="1999" dirty="0">
                <a:solidFill>
                  <a:srgbClr val="333333"/>
                </a:solidFill>
                <a:latin typeface="Consolas" panose="020B0609020204030204" pitchFamily="49" charset="0"/>
              </a:rPr>
              <a:t>Name </a:t>
            </a:r>
            <a:r>
              <a:rPr lang="en-US" sz="1999" dirty="0">
                <a:solidFill>
                  <a:srgbClr val="000000"/>
                </a:solidFill>
                <a:latin typeface="Consolas" panose="020B0609020204030204" pitchFamily="49" charset="0"/>
              </a:rPr>
              <a:t>$</a:t>
            </a:r>
            <a:r>
              <a:rPr lang="en-US" sz="1999" dirty="0" err="1">
                <a:solidFill>
                  <a:srgbClr val="FF4500"/>
                </a:solidFill>
                <a:latin typeface="Consolas" panose="020B0609020204030204" pitchFamily="49" charset="0"/>
              </a:rPr>
              <a:t>clusterName</a:t>
            </a:r>
            <a:endParaRPr lang="en-US" sz="1999" dirty="0">
              <a:solidFill>
                <a:srgbClr val="333333"/>
              </a:solidFill>
              <a:latin typeface="Consolas" panose="020B0609020204030204" pitchFamily="49" charset="0"/>
            </a:endParaRPr>
          </a:p>
          <a:p>
            <a:r>
              <a:rPr lang="en-US" sz="1999" dirty="0">
                <a:solidFill>
                  <a:srgbClr val="FF4500"/>
                </a:solidFill>
                <a:latin typeface="Consolas" panose="020B0609020204030204" pitchFamily="49" charset="0"/>
              </a:rPr>
              <a:t>  Datastore</a:t>
            </a:r>
            <a:r>
              <a:rPr lang="en-US" sz="19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 dirty="0">
                <a:solidFill>
                  <a:srgbClr val="A9A9A9"/>
                </a:solidFill>
                <a:latin typeface="Consolas" panose="020B0609020204030204" pitchFamily="49" charset="0"/>
              </a:rPr>
              <a:t>=</a:t>
            </a:r>
            <a:r>
              <a:rPr lang="en-US" sz="19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 dirty="0">
                <a:solidFill>
                  <a:srgbClr val="0000FF"/>
                </a:solidFill>
                <a:latin typeface="Consolas" panose="020B0609020204030204" pitchFamily="49" charset="0"/>
              </a:rPr>
              <a:t>Get-Datastore</a:t>
            </a:r>
            <a:r>
              <a:rPr lang="en-US" sz="19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 dirty="0">
                <a:solidFill>
                  <a:srgbClr val="A9A9A9"/>
                </a:solidFill>
                <a:latin typeface="Consolas" panose="020B0609020204030204" pitchFamily="49" charset="0"/>
              </a:rPr>
              <a:t>-</a:t>
            </a:r>
            <a:r>
              <a:rPr lang="en-US" sz="1999" dirty="0">
                <a:solidFill>
                  <a:srgbClr val="333333"/>
                </a:solidFill>
                <a:latin typeface="Consolas" panose="020B0609020204030204" pitchFamily="49" charset="0"/>
              </a:rPr>
              <a:t>Name </a:t>
            </a:r>
            <a:r>
              <a:rPr lang="en-US" sz="1999" dirty="0">
                <a:solidFill>
                  <a:srgbClr val="000000"/>
                </a:solidFill>
                <a:latin typeface="Consolas" panose="020B0609020204030204" pitchFamily="49" charset="0"/>
              </a:rPr>
              <a:t>$</a:t>
            </a:r>
            <a:r>
              <a:rPr lang="en-US" sz="1999" dirty="0" err="1">
                <a:solidFill>
                  <a:srgbClr val="FF4500"/>
                </a:solidFill>
                <a:latin typeface="Consolas" panose="020B0609020204030204" pitchFamily="49" charset="0"/>
              </a:rPr>
              <a:t>dsName</a:t>
            </a:r>
            <a:endParaRPr lang="en-US" sz="1999" dirty="0">
              <a:solidFill>
                <a:srgbClr val="333333"/>
              </a:solidFill>
              <a:latin typeface="Consolas" panose="020B0609020204030204" pitchFamily="49" charset="0"/>
            </a:endParaRPr>
          </a:p>
          <a:p>
            <a:r>
              <a:rPr lang="en-US" sz="1999" dirty="0">
                <a:solidFill>
                  <a:srgbClr val="FF4500"/>
                </a:solidFill>
                <a:latin typeface="Consolas" panose="020B0609020204030204" pitchFamily="49" charset="0"/>
              </a:rPr>
              <a:t>  </a:t>
            </a:r>
            <a:r>
              <a:rPr lang="en-US" sz="1999" dirty="0" err="1">
                <a:solidFill>
                  <a:srgbClr val="FF4500"/>
                </a:solidFill>
                <a:latin typeface="Consolas" panose="020B0609020204030204" pitchFamily="49" charset="0"/>
              </a:rPr>
              <a:t>OSCustomizationSpec</a:t>
            </a:r>
            <a:r>
              <a:rPr lang="en-US" sz="19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 dirty="0">
                <a:solidFill>
                  <a:srgbClr val="A9A9A9"/>
                </a:solidFill>
                <a:latin typeface="Consolas" panose="020B0609020204030204" pitchFamily="49" charset="0"/>
              </a:rPr>
              <a:t>=</a:t>
            </a:r>
            <a:r>
              <a:rPr lang="en-US" sz="19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 dirty="0">
                <a:solidFill>
                  <a:srgbClr val="0000FF"/>
                </a:solidFill>
                <a:latin typeface="Consolas" panose="020B0609020204030204" pitchFamily="49" charset="0"/>
              </a:rPr>
              <a:t>Get-</a:t>
            </a:r>
            <a:r>
              <a:rPr lang="en-US" sz="1999" dirty="0" err="1">
                <a:solidFill>
                  <a:srgbClr val="0000FF"/>
                </a:solidFill>
                <a:latin typeface="Consolas" panose="020B0609020204030204" pitchFamily="49" charset="0"/>
              </a:rPr>
              <a:t>OSCustomizationSpec</a:t>
            </a:r>
            <a:r>
              <a:rPr lang="en-US" sz="19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 dirty="0">
                <a:solidFill>
                  <a:srgbClr val="A9A9A9"/>
                </a:solidFill>
                <a:latin typeface="Consolas" panose="020B0609020204030204" pitchFamily="49" charset="0"/>
              </a:rPr>
              <a:t>-</a:t>
            </a:r>
            <a:r>
              <a:rPr lang="en-US" sz="1999" dirty="0">
                <a:solidFill>
                  <a:srgbClr val="333333"/>
                </a:solidFill>
                <a:latin typeface="Consolas" panose="020B0609020204030204" pitchFamily="49" charset="0"/>
              </a:rPr>
              <a:t>Name </a:t>
            </a:r>
            <a:r>
              <a:rPr lang="en-US" sz="1999" dirty="0">
                <a:solidFill>
                  <a:srgbClr val="000000"/>
                </a:solidFill>
                <a:latin typeface="Consolas" panose="020B0609020204030204" pitchFamily="49" charset="0"/>
              </a:rPr>
              <a:t>$</a:t>
            </a:r>
            <a:r>
              <a:rPr lang="en-US" sz="1999" dirty="0" err="1">
                <a:solidFill>
                  <a:srgbClr val="FF4500"/>
                </a:solidFill>
                <a:latin typeface="Consolas" panose="020B0609020204030204" pitchFamily="49" charset="0"/>
              </a:rPr>
              <a:t>custName</a:t>
            </a:r>
            <a:endParaRPr lang="en-US" sz="1999" dirty="0">
              <a:solidFill>
                <a:srgbClr val="333333"/>
              </a:solidFill>
              <a:latin typeface="Consolas" panose="020B0609020204030204" pitchFamily="49" charset="0"/>
            </a:endParaRPr>
          </a:p>
          <a:p>
            <a:r>
              <a:rPr lang="en-US" sz="1999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  <a:endParaRPr lang="en-US" sz="1999" dirty="0">
              <a:solidFill>
                <a:srgbClr val="333333"/>
              </a:solidFill>
              <a:latin typeface="Consolas" panose="020B0609020204030204" pitchFamily="49" charset="0"/>
            </a:endParaRPr>
          </a:p>
          <a:p>
            <a:r>
              <a:rPr lang="en-US" sz="1999" dirty="0">
                <a:solidFill>
                  <a:srgbClr val="0000FF"/>
                </a:solidFill>
                <a:latin typeface="Consolas" panose="020B0609020204030204" pitchFamily="49" charset="0"/>
              </a:rPr>
              <a:t>New-VM</a:t>
            </a:r>
            <a:r>
              <a:rPr lang="en-US" sz="19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 dirty="0">
                <a:solidFill>
                  <a:srgbClr val="000000"/>
                </a:solidFill>
                <a:latin typeface="Consolas" panose="020B0609020204030204" pitchFamily="49" charset="0"/>
              </a:rPr>
              <a:t>@</a:t>
            </a:r>
            <a:r>
              <a:rPr lang="en-US" sz="1999" dirty="0" err="1">
                <a:solidFill>
                  <a:srgbClr val="FF4500"/>
                </a:solidFill>
                <a:latin typeface="Consolas" panose="020B0609020204030204" pitchFamily="49" charset="0"/>
              </a:rPr>
              <a:t>sVM</a:t>
            </a:r>
            <a:r>
              <a:rPr lang="en-US" sz="19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 dirty="0">
                <a:solidFill>
                  <a:srgbClr val="A9A9A9"/>
                </a:solidFill>
                <a:latin typeface="Consolas" panose="020B0609020204030204" pitchFamily="49" charset="0"/>
              </a:rPr>
              <a:t>|</a:t>
            </a:r>
            <a:r>
              <a:rPr lang="en-US" sz="19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 dirty="0">
                <a:solidFill>
                  <a:srgbClr val="0000FF"/>
                </a:solidFill>
                <a:latin typeface="Consolas" panose="020B0609020204030204" pitchFamily="49" charset="0"/>
              </a:rPr>
              <a:t>Start-VM</a:t>
            </a:r>
            <a:r>
              <a:rPr lang="en-US" sz="19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 dirty="0">
                <a:solidFill>
                  <a:srgbClr val="A9A9A9"/>
                </a:solidFill>
                <a:latin typeface="Consolas" panose="020B0609020204030204" pitchFamily="49" charset="0"/>
              </a:rPr>
              <a:t>-</a:t>
            </a:r>
            <a:r>
              <a:rPr lang="en-US" sz="1999" dirty="0">
                <a:solidFill>
                  <a:srgbClr val="333333"/>
                </a:solidFill>
                <a:latin typeface="Consolas" panose="020B0609020204030204" pitchFamily="49" charset="0"/>
              </a:rPr>
              <a:t>Confirm:</a:t>
            </a:r>
            <a:r>
              <a:rPr lang="en-US" sz="1999" dirty="0">
                <a:solidFill>
                  <a:srgbClr val="000000"/>
                </a:solidFill>
                <a:latin typeface="Consolas" panose="020B0609020204030204" pitchFamily="49" charset="0"/>
              </a:rPr>
              <a:t>$</a:t>
            </a:r>
            <a:r>
              <a:rPr lang="en-US" sz="1999" dirty="0">
                <a:solidFill>
                  <a:srgbClr val="008080"/>
                </a:solidFill>
                <a:latin typeface="Consolas" panose="020B0609020204030204" pitchFamily="49" charset="0"/>
              </a:rPr>
              <a:t>false</a:t>
            </a:r>
            <a:endParaRPr lang="en-US" sz="1999" dirty="0">
              <a:solidFill>
                <a:srgbClr val="333333"/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86295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D1A82B1-03AA-D34C-8CA3-C48EF3E9A84D}"/>
              </a:ext>
            </a:extLst>
          </p:cNvPr>
          <p:cNvSpPr txBox="1"/>
          <p:nvPr/>
        </p:nvSpPr>
        <p:spPr>
          <a:xfrm>
            <a:off x="139148" y="715617"/>
            <a:ext cx="1158902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ait For It</a:t>
            </a:r>
          </a:p>
        </p:txBody>
      </p:sp>
      <p:sp>
        <p:nvSpPr>
          <p:cNvPr id="3" name="Content Placeholder 4">
            <a:extLst>
              <a:ext uri="{FF2B5EF4-FFF2-40B4-BE49-F238E27FC236}">
                <a16:creationId xmlns:a16="http://schemas.microsoft.com/office/drawing/2014/main" id="{4CF0CAE7-562E-FD48-BFEF-77E63DB1756A}"/>
              </a:ext>
            </a:extLst>
          </p:cNvPr>
          <p:cNvSpPr txBox="1">
            <a:spLocks/>
          </p:cNvSpPr>
          <p:nvPr/>
        </p:nvSpPr>
        <p:spPr>
          <a:xfrm>
            <a:off x="616666" y="1600201"/>
            <a:ext cx="10975658" cy="4572000"/>
          </a:xfrm>
          <a:prstGeom prst="rect">
            <a:avLst/>
          </a:prstGeom>
        </p:spPr>
        <p:txBody>
          <a:bodyPr/>
          <a:lstStyle>
            <a:lvl1pPr marL="228611" indent="-228611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5325" indent="-190510" algn="l" defTabSz="6096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2038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6853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69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76484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81299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86114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90930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999"/>
              <a:t>Analyze the timeline</a:t>
            </a:r>
            <a:endParaRPr lang="en-US" sz="1999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ACDD482-F2D2-9841-A7F8-0FCEE840A131}"/>
              </a:ext>
            </a:extLst>
          </p:cNvPr>
          <p:cNvSpPr txBox="1"/>
          <p:nvPr/>
        </p:nvSpPr>
        <p:spPr>
          <a:xfrm>
            <a:off x="605637" y="2491588"/>
            <a:ext cx="11584777" cy="3169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999" dirty="0">
                <a:solidFill>
                  <a:srgbClr val="000000"/>
                </a:solidFill>
                <a:latin typeface="Consolas" panose="020B0609020204030204" pitchFamily="49" charset="0"/>
              </a:rPr>
              <a:t>$</a:t>
            </a:r>
            <a:r>
              <a:rPr lang="en-US" sz="1999" dirty="0" err="1">
                <a:solidFill>
                  <a:srgbClr val="FF4500"/>
                </a:solidFill>
                <a:latin typeface="Consolas" panose="020B0609020204030204" pitchFamily="49" charset="0"/>
              </a:rPr>
              <a:t>sEvent</a:t>
            </a:r>
            <a:r>
              <a:rPr lang="en-US" sz="19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 dirty="0">
                <a:solidFill>
                  <a:srgbClr val="A9A9A9"/>
                </a:solidFill>
                <a:latin typeface="Consolas" panose="020B0609020204030204" pitchFamily="49" charset="0"/>
              </a:rPr>
              <a:t>=</a:t>
            </a:r>
            <a:r>
              <a:rPr lang="en-US" sz="19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 dirty="0">
                <a:solidFill>
                  <a:srgbClr val="00008B"/>
                </a:solidFill>
                <a:latin typeface="Consolas" panose="020B0609020204030204" pitchFamily="49" charset="0"/>
              </a:rPr>
              <a:t>@</a:t>
            </a:r>
            <a:r>
              <a:rPr lang="en-US" sz="1999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  <a:endParaRPr lang="en-US" sz="1999" dirty="0">
              <a:solidFill>
                <a:srgbClr val="333333"/>
              </a:solidFill>
              <a:latin typeface="Consolas" panose="020B0609020204030204" pitchFamily="49" charset="0"/>
            </a:endParaRPr>
          </a:p>
          <a:p>
            <a:r>
              <a:rPr lang="en-US" sz="1999" dirty="0">
                <a:solidFill>
                  <a:srgbClr val="FF4500"/>
                </a:solidFill>
                <a:latin typeface="Consolas" panose="020B0609020204030204" pitchFamily="49" charset="0"/>
              </a:rPr>
              <a:t>  Entity</a:t>
            </a:r>
            <a:r>
              <a:rPr lang="en-US" sz="19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 dirty="0">
                <a:solidFill>
                  <a:srgbClr val="A9A9A9"/>
                </a:solidFill>
                <a:latin typeface="Consolas" panose="020B0609020204030204" pitchFamily="49" charset="0"/>
              </a:rPr>
              <a:t>=</a:t>
            </a:r>
            <a:r>
              <a:rPr lang="en-US" sz="19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 dirty="0">
                <a:solidFill>
                  <a:srgbClr val="0000FF"/>
                </a:solidFill>
                <a:latin typeface="Consolas" panose="020B0609020204030204" pitchFamily="49" charset="0"/>
              </a:rPr>
              <a:t>Get-VM</a:t>
            </a:r>
            <a:r>
              <a:rPr lang="en-US" sz="19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 dirty="0">
                <a:solidFill>
                  <a:srgbClr val="A9A9A9"/>
                </a:solidFill>
                <a:latin typeface="Consolas" panose="020B0609020204030204" pitchFamily="49" charset="0"/>
              </a:rPr>
              <a:t>-</a:t>
            </a:r>
            <a:r>
              <a:rPr lang="en-US" sz="1999" dirty="0">
                <a:solidFill>
                  <a:srgbClr val="333333"/>
                </a:solidFill>
                <a:latin typeface="Consolas" panose="020B0609020204030204" pitchFamily="49" charset="0"/>
              </a:rPr>
              <a:t>Name </a:t>
            </a:r>
            <a:r>
              <a:rPr lang="en-US" sz="1999" dirty="0">
                <a:solidFill>
                  <a:srgbClr val="000000"/>
                </a:solidFill>
                <a:latin typeface="Consolas" panose="020B0609020204030204" pitchFamily="49" charset="0"/>
              </a:rPr>
              <a:t>$</a:t>
            </a:r>
            <a:r>
              <a:rPr lang="en-US" sz="1999" dirty="0" err="1">
                <a:solidFill>
                  <a:srgbClr val="FF4500"/>
                </a:solidFill>
                <a:latin typeface="Consolas" panose="020B0609020204030204" pitchFamily="49" charset="0"/>
              </a:rPr>
              <a:t>vmName</a:t>
            </a:r>
            <a:r>
              <a:rPr lang="en-US" sz="19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</a:p>
          <a:p>
            <a:r>
              <a:rPr lang="en-US" sz="1999" dirty="0">
                <a:solidFill>
                  <a:srgbClr val="FF4500"/>
                </a:solidFill>
                <a:latin typeface="Consolas" panose="020B0609020204030204" pitchFamily="49" charset="0"/>
              </a:rPr>
              <a:t>  </a:t>
            </a:r>
            <a:r>
              <a:rPr lang="en-US" sz="1999" dirty="0" err="1">
                <a:solidFill>
                  <a:srgbClr val="FF4500"/>
                </a:solidFill>
                <a:latin typeface="Consolas" panose="020B0609020204030204" pitchFamily="49" charset="0"/>
              </a:rPr>
              <a:t>MaxSamples</a:t>
            </a:r>
            <a:r>
              <a:rPr lang="en-US" sz="19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 dirty="0">
                <a:solidFill>
                  <a:srgbClr val="A9A9A9"/>
                </a:solidFill>
                <a:latin typeface="Consolas" panose="020B0609020204030204" pitchFamily="49" charset="0"/>
              </a:rPr>
              <a:t>=</a:t>
            </a:r>
            <a:r>
              <a:rPr lang="en-US" sz="19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en-US" sz="1999" dirty="0">
                <a:solidFill>
                  <a:srgbClr val="00008B"/>
                </a:solidFill>
                <a:latin typeface="Consolas" panose="020B0609020204030204" pitchFamily="49" charset="0"/>
              </a:rPr>
              <a:t>int</a:t>
            </a:r>
            <a:r>
              <a:rPr lang="en-US" sz="1999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r>
              <a:rPr lang="en-US" sz="1999" dirty="0">
                <a:solidFill>
                  <a:srgbClr val="333333"/>
                </a:solidFill>
                <a:latin typeface="Consolas" panose="020B0609020204030204" pitchFamily="49" charset="0"/>
              </a:rPr>
              <a:t>::</a:t>
            </a:r>
            <a:r>
              <a:rPr lang="en-US" sz="1999" dirty="0" err="1">
                <a:solidFill>
                  <a:srgbClr val="333333"/>
                </a:solidFill>
                <a:latin typeface="Consolas" panose="020B0609020204030204" pitchFamily="49" charset="0"/>
              </a:rPr>
              <a:t>MaxValue</a:t>
            </a:r>
            <a:endParaRPr lang="en-US" sz="1999" dirty="0">
              <a:solidFill>
                <a:srgbClr val="333333"/>
              </a:solidFill>
              <a:latin typeface="Consolas" panose="020B0609020204030204" pitchFamily="49" charset="0"/>
            </a:endParaRPr>
          </a:p>
          <a:p>
            <a:r>
              <a:rPr lang="en-US" sz="1999" dirty="0">
                <a:solidFill>
                  <a:srgbClr val="FF4500"/>
                </a:solidFill>
                <a:latin typeface="Consolas" panose="020B0609020204030204" pitchFamily="49" charset="0"/>
              </a:rPr>
              <a:t>  Start</a:t>
            </a:r>
            <a:r>
              <a:rPr lang="en-US" sz="19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 dirty="0">
                <a:solidFill>
                  <a:srgbClr val="A9A9A9"/>
                </a:solidFill>
                <a:latin typeface="Consolas" panose="020B0609020204030204" pitchFamily="49" charset="0"/>
              </a:rPr>
              <a:t>=</a:t>
            </a:r>
            <a:r>
              <a:rPr lang="en-US" sz="19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999" dirty="0">
                <a:solidFill>
                  <a:srgbClr val="0000FF"/>
                </a:solidFill>
                <a:latin typeface="Consolas" panose="020B0609020204030204" pitchFamily="49" charset="0"/>
              </a:rPr>
              <a:t>Get-Date</a:t>
            </a:r>
            <a:r>
              <a:rPr lang="en-US" sz="1999" dirty="0">
                <a:solidFill>
                  <a:srgbClr val="000000"/>
                </a:solidFill>
                <a:latin typeface="Consolas" panose="020B0609020204030204" pitchFamily="49" charset="0"/>
              </a:rPr>
              <a:t>)</a:t>
            </a:r>
            <a:r>
              <a:rPr lang="en-US" sz="1999" dirty="0">
                <a:solidFill>
                  <a:srgbClr val="333333"/>
                </a:solidFill>
                <a:latin typeface="Consolas" panose="020B0609020204030204" pitchFamily="49" charset="0"/>
              </a:rPr>
              <a:t>.</a:t>
            </a:r>
            <a:r>
              <a:rPr lang="en-US" sz="1999" dirty="0" err="1">
                <a:solidFill>
                  <a:srgbClr val="333333"/>
                </a:solidFill>
                <a:latin typeface="Consolas" panose="020B0609020204030204" pitchFamily="49" charset="0"/>
              </a:rPr>
              <a:t>AddMinutes</a:t>
            </a:r>
            <a:r>
              <a:rPr lang="en-US" sz="1999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999" dirty="0">
                <a:solidFill>
                  <a:srgbClr val="800080"/>
                </a:solidFill>
                <a:latin typeface="Consolas" panose="020B0609020204030204" pitchFamily="49" charset="0"/>
              </a:rPr>
              <a:t>-30</a:t>
            </a:r>
            <a:r>
              <a:rPr lang="en-US" sz="1999" dirty="0">
                <a:solidFill>
                  <a:srgbClr val="000000"/>
                </a:solidFill>
                <a:latin typeface="Consolas" panose="020B0609020204030204" pitchFamily="49" charset="0"/>
              </a:rPr>
              <a:t>)</a:t>
            </a:r>
            <a:endParaRPr lang="en-US" sz="1999" dirty="0">
              <a:solidFill>
                <a:srgbClr val="333333"/>
              </a:solidFill>
              <a:latin typeface="Consolas" panose="020B0609020204030204" pitchFamily="49" charset="0"/>
            </a:endParaRPr>
          </a:p>
          <a:p>
            <a:r>
              <a:rPr lang="en-US" sz="1999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</a:p>
          <a:p>
            <a:endParaRPr lang="en-US" sz="1999" dirty="0">
              <a:solidFill>
                <a:srgbClr val="333333"/>
              </a:solidFill>
              <a:latin typeface="Consolas" panose="020B0609020204030204" pitchFamily="49" charset="0"/>
            </a:endParaRPr>
          </a:p>
          <a:p>
            <a:r>
              <a:rPr lang="en-US" sz="1999" dirty="0">
                <a:solidFill>
                  <a:srgbClr val="0000FF"/>
                </a:solidFill>
                <a:latin typeface="Consolas" panose="020B0609020204030204" pitchFamily="49" charset="0"/>
              </a:rPr>
              <a:t>Get-</a:t>
            </a:r>
            <a:r>
              <a:rPr lang="en-US" sz="1999" dirty="0" err="1">
                <a:solidFill>
                  <a:srgbClr val="0000FF"/>
                </a:solidFill>
                <a:latin typeface="Consolas" panose="020B0609020204030204" pitchFamily="49" charset="0"/>
              </a:rPr>
              <a:t>VIEvent</a:t>
            </a:r>
            <a:r>
              <a:rPr lang="en-US" sz="19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 dirty="0">
                <a:solidFill>
                  <a:srgbClr val="000000"/>
                </a:solidFill>
                <a:latin typeface="Consolas" panose="020B0609020204030204" pitchFamily="49" charset="0"/>
              </a:rPr>
              <a:t>@</a:t>
            </a:r>
            <a:r>
              <a:rPr lang="en-US" sz="1999" dirty="0" err="1">
                <a:solidFill>
                  <a:srgbClr val="FF4500"/>
                </a:solidFill>
                <a:latin typeface="Consolas" panose="020B0609020204030204" pitchFamily="49" charset="0"/>
              </a:rPr>
              <a:t>sEvent</a:t>
            </a:r>
            <a:r>
              <a:rPr lang="en-US" sz="19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 dirty="0">
                <a:solidFill>
                  <a:srgbClr val="A9A9A9"/>
                </a:solidFill>
                <a:latin typeface="Consolas" panose="020B0609020204030204" pitchFamily="49" charset="0"/>
              </a:rPr>
              <a:t>|</a:t>
            </a:r>
            <a:endParaRPr lang="en-US" sz="1999" dirty="0">
              <a:solidFill>
                <a:srgbClr val="333333"/>
              </a:solidFill>
              <a:latin typeface="Consolas" panose="020B0609020204030204" pitchFamily="49" charset="0"/>
            </a:endParaRPr>
          </a:p>
          <a:p>
            <a:r>
              <a:rPr lang="en-US" sz="1999" dirty="0">
                <a:solidFill>
                  <a:srgbClr val="00008B"/>
                </a:solidFill>
                <a:latin typeface="Consolas" panose="020B0609020204030204" pitchFamily="49" charset="0"/>
              </a:rPr>
              <a:t>where</a:t>
            </a:r>
            <a:r>
              <a:rPr lang="en-US" sz="1999" dirty="0">
                <a:solidFill>
                  <a:srgbClr val="000000"/>
                </a:solidFill>
                <a:latin typeface="Consolas" panose="020B0609020204030204" pitchFamily="49" charset="0"/>
              </a:rPr>
              <a:t>{$</a:t>
            </a:r>
            <a:r>
              <a:rPr lang="en-US" sz="1999" dirty="0">
                <a:solidFill>
                  <a:srgbClr val="FF4500"/>
                </a:solidFill>
                <a:latin typeface="Consolas" panose="020B0609020204030204" pitchFamily="49" charset="0"/>
              </a:rPr>
              <a:t>_</a:t>
            </a:r>
            <a:r>
              <a:rPr lang="en-US" sz="19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 dirty="0">
                <a:solidFill>
                  <a:srgbClr val="A9A9A9"/>
                </a:solidFill>
                <a:latin typeface="Consolas" panose="020B0609020204030204" pitchFamily="49" charset="0"/>
              </a:rPr>
              <a:t>-is</a:t>
            </a:r>
            <a:r>
              <a:rPr lang="en-US" sz="19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en-US" sz="1999" dirty="0" err="1">
                <a:solidFill>
                  <a:srgbClr val="00008B"/>
                </a:solidFill>
                <a:latin typeface="Consolas" panose="020B0609020204030204" pitchFamily="49" charset="0"/>
              </a:rPr>
              <a:t>VMware.Vim.VmEvent</a:t>
            </a:r>
            <a:r>
              <a:rPr lang="en-US" sz="1999" dirty="0">
                <a:solidFill>
                  <a:srgbClr val="000000"/>
                </a:solidFill>
                <a:latin typeface="Consolas" panose="020B0609020204030204" pitchFamily="49" charset="0"/>
              </a:rPr>
              <a:t>]}</a:t>
            </a:r>
            <a:r>
              <a:rPr lang="en-US" sz="19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 dirty="0">
                <a:solidFill>
                  <a:srgbClr val="A9A9A9"/>
                </a:solidFill>
                <a:latin typeface="Consolas" panose="020B0609020204030204" pitchFamily="49" charset="0"/>
              </a:rPr>
              <a:t>|</a:t>
            </a:r>
            <a:endParaRPr lang="en-US" sz="1999" dirty="0">
              <a:solidFill>
                <a:srgbClr val="333333"/>
              </a:solidFill>
              <a:latin typeface="Consolas" panose="020B0609020204030204" pitchFamily="49" charset="0"/>
            </a:endParaRPr>
          </a:p>
          <a:p>
            <a:r>
              <a:rPr lang="en-US" sz="1999" dirty="0">
                <a:solidFill>
                  <a:srgbClr val="0000FF"/>
                </a:solidFill>
                <a:latin typeface="Consolas" panose="020B0609020204030204" pitchFamily="49" charset="0"/>
              </a:rPr>
              <a:t>Sort-Object</a:t>
            </a:r>
            <a:r>
              <a:rPr lang="en-US" sz="19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 dirty="0">
                <a:solidFill>
                  <a:srgbClr val="A9A9A9"/>
                </a:solidFill>
                <a:latin typeface="Consolas" panose="020B0609020204030204" pitchFamily="49" charset="0"/>
              </a:rPr>
              <a:t>-</a:t>
            </a:r>
            <a:r>
              <a:rPr lang="en-US" sz="1999" dirty="0">
                <a:solidFill>
                  <a:srgbClr val="333333"/>
                </a:solidFill>
                <a:latin typeface="Consolas" panose="020B0609020204030204" pitchFamily="49" charset="0"/>
              </a:rPr>
              <a:t>Property </a:t>
            </a:r>
            <a:r>
              <a:rPr lang="en-US" sz="1999" dirty="0" err="1">
                <a:solidFill>
                  <a:srgbClr val="333333"/>
                </a:solidFill>
                <a:latin typeface="Consolas" panose="020B0609020204030204" pitchFamily="49" charset="0"/>
              </a:rPr>
              <a:t>CreatedTime</a:t>
            </a:r>
            <a:r>
              <a:rPr lang="en-US" sz="1999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 dirty="0">
                <a:solidFill>
                  <a:srgbClr val="A9A9A9"/>
                </a:solidFill>
                <a:latin typeface="Consolas" panose="020B0609020204030204" pitchFamily="49" charset="0"/>
              </a:rPr>
              <a:t>|</a:t>
            </a:r>
            <a:endParaRPr lang="en-US" sz="1999" dirty="0">
              <a:solidFill>
                <a:srgbClr val="333333"/>
              </a:solidFill>
              <a:latin typeface="Consolas" panose="020B0609020204030204" pitchFamily="49" charset="0"/>
            </a:endParaRPr>
          </a:p>
          <a:p>
            <a:r>
              <a:rPr lang="en-US" sz="1999" dirty="0">
                <a:solidFill>
                  <a:srgbClr val="333333"/>
                </a:solidFill>
                <a:latin typeface="Consolas" panose="020B0609020204030204" pitchFamily="49" charset="0"/>
              </a:rPr>
              <a:t>Select </a:t>
            </a:r>
            <a:r>
              <a:rPr lang="en-US" sz="1999" dirty="0" err="1">
                <a:solidFill>
                  <a:srgbClr val="333333"/>
                </a:solidFill>
                <a:latin typeface="Consolas" panose="020B0609020204030204" pitchFamily="49" charset="0"/>
              </a:rPr>
              <a:t>CreatedTime</a:t>
            </a:r>
            <a:r>
              <a:rPr lang="en-US" sz="1999" dirty="0">
                <a:solidFill>
                  <a:srgbClr val="A9A9A9"/>
                </a:solidFill>
                <a:latin typeface="Consolas" panose="020B0609020204030204" pitchFamily="49" charset="0"/>
              </a:rPr>
              <a:t>,</a:t>
            </a:r>
            <a:r>
              <a:rPr lang="en-US" sz="1999" dirty="0">
                <a:solidFill>
                  <a:srgbClr val="00008B"/>
                </a:solidFill>
                <a:latin typeface="Consolas" panose="020B0609020204030204" pitchFamily="49" charset="0"/>
              </a:rPr>
              <a:t>@</a:t>
            </a:r>
            <a:r>
              <a:rPr lang="en-US" sz="1999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  <a:r>
              <a:rPr lang="en-US" sz="1999" dirty="0">
                <a:solidFill>
                  <a:srgbClr val="FF4500"/>
                </a:solidFill>
                <a:latin typeface="Consolas" panose="020B0609020204030204" pitchFamily="49" charset="0"/>
              </a:rPr>
              <a:t>N</a:t>
            </a:r>
            <a:r>
              <a:rPr lang="en-US" sz="1999" dirty="0">
                <a:solidFill>
                  <a:srgbClr val="A9A9A9"/>
                </a:solidFill>
                <a:latin typeface="Consolas" panose="020B0609020204030204" pitchFamily="49" charset="0"/>
              </a:rPr>
              <a:t>=</a:t>
            </a:r>
            <a:r>
              <a:rPr lang="en-US" sz="1999" dirty="0">
                <a:solidFill>
                  <a:srgbClr val="000000"/>
                </a:solidFill>
                <a:latin typeface="Consolas" panose="020B0609020204030204" pitchFamily="49" charset="0"/>
              </a:rPr>
              <a:t>'</a:t>
            </a:r>
            <a:r>
              <a:rPr lang="en-US" sz="1999" dirty="0" err="1">
                <a:solidFill>
                  <a:srgbClr val="8B0000"/>
                </a:solidFill>
                <a:latin typeface="Consolas" panose="020B0609020204030204" pitchFamily="49" charset="0"/>
              </a:rPr>
              <a:t>Type</a:t>
            </a:r>
            <a:r>
              <a:rPr lang="en-US" sz="1999" dirty="0" err="1">
                <a:solidFill>
                  <a:srgbClr val="000000"/>
                </a:solidFill>
                <a:latin typeface="Consolas" panose="020B0609020204030204" pitchFamily="49" charset="0"/>
              </a:rPr>
              <a:t>';</a:t>
            </a:r>
            <a:r>
              <a:rPr lang="en-US" sz="1999" dirty="0" err="1">
                <a:solidFill>
                  <a:srgbClr val="FF4500"/>
                </a:solidFill>
                <a:latin typeface="Consolas" panose="020B0609020204030204" pitchFamily="49" charset="0"/>
              </a:rPr>
              <a:t>E</a:t>
            </a:r>
            <a:r>
              <a:rPr lang="en-US" sz="1999" dirty="0">
                <a:solidFill>
                  <a:srgbClr val="A9A9A9"/>
                </a:solidFill>
                <a:latin typeface="Consolas" panose="020B0609020204030204" pitchFamily="49" charset="0"/>
              </a:rPr>
              <a:t>=</a:t>
            </a:r>
            <a:r>
              <a:rPr lang="en-US" sz="1999" dirty="0">
                <a:solidFill>
                  <a:srgbClr val="000000"/>
                </a:solidFill>
                <a:latin typeface="Consolas" panose="020B0609020204030204" pitchFamily="49" charset="0"/>
              </a:rPr>
              <a:t>{$</a:t>
            </a:r>
            <a:r>
              <a:rPr lang="en-US" sz="1999" dirty="0">
                <a:solidFill>
                  <a:srgbClr val="FF4500"/>
                </a:solidFill>
                <a:latin typeface="Consolas" panose="020B0609020204030204" pitchFamily="49" charset="0"/>
              </a:rPr>
              <a:t>_.</a:t>
            </a:r>
            <a:r>
              <a:rPr lang="en-US" sz="1999" dirty="0" err="1">
                <a:solidFill>
                  <a:srgbClr val="FF4500"/>
                </a:solidFill>
                <a:latin typeface="Consolas" panose="020B0609020204030204" pitchFamily="49" charset="0"/>
              </a:rPr>
              <a:t>GetType</a:t>
            </a:r>
            <a:r>
              <a:rPr lang="en-US" sz="1999" dirty="0">
                <a:solidFill>
                  <a:srgbClr val="000000"/>
                </a:solidFill>
                <a:latin typeface="Consolas" panose="020B0609020204030204" pitchFamily="49" charset="0"/>
              </a:rPr>
              <a:t>()</a:t>
            </a:r>
            <a:r>
              <a:rPr lang="en-US" sz="1999" dirty="0">
                <a:solidFill>
                  <a:srgbClr val="333333"/>
                </a:solidFill>
                <a:latin typeface="Consolas" panose="020B0609020204030204" pitchFamily="49" charset="0"/>
              </a:rPr>
              <a:t>.Name</a:t>
            </a:r>
            <a:r>
              <a:rPr lang="en-US" sz="1999" dirty="0">
                <a:solidFill>
                  <a:srgbClr val="000000"/>
                </a:solidFill>
                <a:latin typeface="Consolas" panose="020B0609020204030204" pitchFamily="49" charset="0"/>
              </a:rPr>
              <a:t>}}</a:t>
            </a:r>
            <a:r>
              <a:rPr lang="en-US" sz="1999" dirty="0">
                <a:solidFill>
                  <a:srgbClr val="A9A9A9"/>
                </a:solidFill>
                <a:latin typeface="Consolas" panose="020B0609020204030204" pitchFamily="49" charset="0"/>
              </a:rPr>
              <a:t>,</a:t>
            </a:r>
            <a:r>
              <a:rPr lang="en-US" sz="1999" dirty="0" err="1">
                <a:solidFill>
                  <a:srgbClr val="333333"/>
                </a:solidFill>
                <a:latin typeface="Consolas" panose="020B0609020204030204" pitchFamily="49" charset="0"/>
              </a:rPr>
              <a:t>FullFormattedMessage</a:t>
            </a:r>
            <a:endParaRPr lang="en-US" sz="1999" dirty="0">
              <a:solidFill>
                <a:srgbClr val="333333"/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99737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D1A82B1-03AA-D34C-8CA3-C48EF3E9A84D}"/>
              </a:ext>
            </a:extLst>
          </p:cNvPr>
          <p:cNvSpPr txBox="1"/>
          <p:nvPr/>
        </p:nvSpPr>
        <p:spPr>
          <a:xfrm>
            <a:off x="139148" y="715617"/>
            <a:ext cx="1158902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ait For I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CE0B342-7439-FB43-A56B-4990DAFA76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1211" y="1900218"/>
            <a:ext cx="11101191" cy="3626389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569E4B2F-0C57-3243-91D5-460A97AB291F}"/>
              </a:ext>
            </a:extLst>
          </p:cNvPr>
          <p:cNvSpPr/>
          <p:nvPr/>
        </p:nvSpPr>
        <p:spPr>
          <a:xfrm>
            <a:off x="2926699" y="4887502"/>
            <a:ext cx="3341141" cy="542025"/>
          </a:xfrm>
          <a:prstGeom prst="rect">
            <a:avLst/>
          </a:prstGeom>
          <a:noFill/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>
              <a:solidFill>
                <a:prstClr val="white"/>
              </a:solidFill>
              <a:latin typeface="Metropolis"/>
            </a:endParaRPr>
          </a:p>
        </p:txBody>
      </p:sp>
    </p:spTree>
    <p:extLst>
      <p:ext uri="{BB962C8B-B14F-4D97-AF65-F5344CB8AC3E}">
        <p14:creationId xmlns:p14="http://schemas.microsoft.com/office/powerpoint/2010/main" val="11065129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D1A82B1-03AA-D34C-8CA3-C48EF3E9A84D}"/>
              </a:ext>
            </a:extLst>
          </p:cNvPr>
          <p:cNvSpPr txBox="1"/>
          <p:nvPr/>
        </p:nvSpPr>
        <p:spPr>
          <a:xfrm>
            <a:off x="139148" y="715617"/>
            <a:ext cx="1158902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ait For It</a:t>
            </a:r>
            <a:endParaRPr lang="en-US" sz="4400" b="1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" name="Content Placeholder 8">
            <a:extLst>
              <a:ext uri="{FF2B5EF4-FFF2-40B4-BE49-F238E27FC236}">
                <a16:creationId xmlns:a16="http://schemas.microsoft.com/office/drawing/2014/main" id="{E8D1175E-5567-B945-B2B2-37B08D9650CA}"/>
              </a:ext>
            </a:extLst>
          </p:cNvPr>
          <p:cNvSpPr txBox="1">
            <a:spLocks/>
          </p:cNvSpPr>
          <p:nvPr/>
        </p:nvSpPr>
        <p:spPr>
          <a:xfrm>
            <a:off x="616666" y="1600201"/>
            <a:ext cx="10975658" cy="4572000"/>
          </a:xfrm>
          <a:prstGeom prst="rect">
            <a:avLst/>
          </a:prstGeom>
        </p:spPr>
        <p:txBody>
          <a:bodyPr/>
          <a:lstStyle>
            <a:lvl1pPr marL="228611" indent="-228611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5325" indent="-190510" algn="l" defTabSz="6096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2038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6853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69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76484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81299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86114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90930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We wait for: Succeeded or Failed</a:t>
            </a:r>
          </a:p>
          <a:p>
            <a:r>
              <a:rPr lang="en-US"/>
              <a:t>We capture the CustomizationEvent object</a:t>
            </a:r>
          </a:p>
          <a:p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3E26F4D-F8A9-414C-BBAC-0CB7231D21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9458" y="3168636"/>
            <a:ext cx="10401473" cy="209251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B0C18FE7-1156-5E41-84FA-E376725E9B40}"/>
              </a:ext>
            </a:extLst>
          </p:cNvPr>
          <p:cNvSpPr/>
          <p:nvPr/>
        </p:nvSpPr>
        <p:spPr>
          <a:xfrm>
            <a:off x="3140480" y="3337555"/>
            <a:ext cx="3171252" cy="32359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>
              <a:solidFill>
                <a:prstClr val="white"/>
              </a:solidFill>
              <a:latin typeface="Metropoli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9F4D391-E766-2D44-BD0D-53C264363097}"/>
              </a:ext>
            </a:extLst>
          </p:cNvPr>
          <p:cNvSpPr/>
          <p:nvPr/>
        </p:nvSpPr>
        <p:spPr>
          <a:xfrm>
            <a:off x="1595303" y="4312730"/>
            <a:ext cx="1941582" cy="31560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>
              <a:solidFill>
                <a:prstClr val="white"/>
              </a:solidFill>
              <a:latin typeface="Metropoli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6483F0C-1417-424A-A2DE-4B00FD97F844}"/>
              </a:ext>
            </a:extLst>
          </p:cNvPr>
          <p:cNvSpPr/>
          <p:nvPr/>
        </p:nvSpPr>
        <p:spPr>
          <a:xfrm>
            <a:off x="6210194" y="4345137"/>
            <a:ext cx="2444923" cy="250788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>
              <a:solidFill>
                <a:prstClr val="white"/>
              </a:solidFill>
              <a:latin typeface="Metropolis"/>
            </a:endParaRPr>
          </a:p>
        </p:txBody>
      </p:sp>
    </p:spTree>
    <p:extLst>
      <p:ext uri="{BB962C8B-B14F-4D97-AF65-F5344CB8AC3E}">
        <p14:creationId xmlns:p14="http://schemas.microsoft.com/office/powerpoint/2010/main" val="13776594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D1A82B1-03AA-D34C-8CA3-C48EF3E9A84D}"/>
              </a:ext>
            </a:extLst>
          </p:cNvPr>
          <p:cNvSpPr txBox="1"/>
          <p:nvPr/>
        </p:nvSpPr>
        <p:spPr>
          <a:xfrm>
            <a:off x="139148" y="715617"/>
            <a:ext cx="1158902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ait For It</a:t>
            </a:r>
          </a:p>
        </p:txBody>
      </p:sp>
      <p:sp>
        <p:nvSpPr>
          <p:cNvPr id="3" name="Content Placeholder 12">
            <a:extLst>
              <a:ext uri="{FF2B5EF4-FFF2-40B4-BE49-F238E27FC236}">
                <a16:creationId xmlns:a16="http://schemas.microsoft.com/office/drawing/2014/main" id="{606B85D7-3B48-6446-A8CA-44D54721D812}"/>
              </a:ext>
            </a:extLst>
          </p:cNvPr>
          <p:cNvSpPr txBox="1">
            <a:spLocks/>
          </p:cNvSpPr>
          <p:nvPr/>
        </p:nvSpPr>
        <p:spPr>
          <a:xfrm>
            <a:off x="1048159" y="1505472"/>
            <a:ext cx="8826753" cy="4572000"/>
          </a:xfrm>
          <a:prstGeom prst="rect">
            <a:avLst/>
          </a:prstGeom>
        </p:spPr>
        <p:txBody>
          <a:bodyPr/>
          <a:lstStyle>
            <a:lvl1pPr marL="228611" indent="-228611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5325" indent="-190510" algn="l" defTabSz="6096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2038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6853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69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76484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81299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86114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90930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itchFamily="34" charset="0"/>
              <a:buNone/>
            </a:pP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$</a:t>
            </a:r>
            <a:r>
              <a:rPr lang="en-US" dirty="0" err="1">
                <a:solidFill>
                  <a:srgbClr val="FF4500"/>
                </a:solidFill>
                <a:latin typeface="Consolas" panose="020B0609020204030204" pitchFamily="49" charset="0"/>
              </a:rPr>
              <a:t>vm</a:t>
            </a:r>
            <a:r>
              <a:rPr lang="en-US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A9A9A9"/>
                </a:solidFill>
                <a:latin typeface="Consolas" panose="020B0609020204030204" pitchFamily="49" charset="0"/>
              </a:rPr>
              <a:t>=</a:t>
            </a:r>
            <a:r>
              <a:rPr lang="en-US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0000FF"/>
                </a:solidFill>
                <a:latin typeface="Consolas" panose="020B0609020204030204" pitchFamily="49" charset="0"/>
              </a:rPr>
              <a:t>New-VM</a:t>
            </a:r>
            <a:r>
              <a:rPr lang="en-US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@</a:t>
            </a:r>
            <a:r>
              <a:rPr lang="en-US" dirty="0" err="1">
                <a:solidFill>
                  <a:srgbClr val="FF4500"/>
                </a:solidFill>
                <a:latin typeface="Consolas" panose="020B0609020204030204" pitchFamily="49" charset="0"/>
              </a:rPr>
              <a:t>sVM</a:t>
            </a:r>
            <a:r>
              <a:rPr lang="en-US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A9A9A9"/>
                </a:solidFill>
                <a:latin typeface="Consolas" panose="020B0609020204030204" pitchFamily="49" charset="0"/>
              </a:rPr>
              <a:t>|</a:t>
            </a:r>
            <a:r>
              <a:rPr lang="en-US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0000FF"/>
                </a:solidFill>
                <a:latin typeface="Consolas" panose="020B0609020204030204" pitchFamily="49" charset="0"/>
              </a:rPr>
              <a:t>Start-VM</a:t>
            </a:r>
            <a:r>
              <a:rPr lang="en-US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A9A9A9"/>
                </a:solidFill>
                <a:latin typeface="Consolas" panose="020B0609020204030204" pitchFamily="49" charset="0"/>
              </a:rPr>
              <a:t>-</a:t>
            </a:r>
            <a:r>
              <a:rPr lang="en-US" dirty="0">
                <a:solidFill>
                  <a:srgbClr val="333333"/>
                </a:solidFill>
                <a:latin typeface="Consolas" panose="020B0609020204030204" pitchFamily="49" charset="0"/>
              </a:rPr>
              <a:t>Confirm:</a:t>
            </a: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$</a:t>
            </a:r>
            <a:r>
              <a:rPr lang="en-US" dirty="0">
                <a:solidFill>
                  <a:srgbClr val="008080"/>
                </a:solidFill>
                <a:latin typeface="Consolas" panose="020B0609020204030204" pitchFamily="49" charset="0"/>
              </a:rPr>
              <a:t>false</a:t>
            </a:r>
            <a:endParaRPr lang="en-US" dirty="0">
              <a:solidFill>
                <a:srgbClr val="333333"/>
              </a:solidFill>
              <a:latin typeface="Consolas" panose="020B0609020204030204" pitchFamily="49" charset="0"/>
            </a:endParaRPr>
          </a:p>
          <a:p>
            <a:pPr>
              <a:buFont typeface="Arial" pitchFamily="34" charset="0"/>
              <a:buNone/>
            </a:pP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$</a:t>
            </a:r>
            <a:r>
              <a:rPr lang="en-US" dirty="0" err="1">
                <a:solidFill>
                  <a:srgbClr val="FF4500"/>
                </a:solidFill>
                <a:latin typeface="Consolas" panose="020B0609020204030204" pitchFamily="49" charset="0"/>
              </a:rPr>
              <a:t>sEvent</a:t>
            </a:r>
            <a:r>
              <a:rPr lang="en-US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A9A9A9"/>
                </a:solidFill>
                <a:latin typeface="Consolas" panose="020B0609020204030204" pitchFamily="49" charset="0"/>
              </a:rPr>
              <a:t>=</a:t>
            </a:r>
            <a:r>
              <a:rPr lang="en-US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00008B"/>
                </a:solidFill>
                <a:latin typeface="Consolas" panose="020B0609020204030204" pitchFamily="49" charset="0"/>
              </a:rPr>
              <a:t>@</a:t>
            </a: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  <a:b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en-US" dirty="0">
                <a:solidFill>
                  <a:srgbClr val="FF4500"/>
                </a:solidFill>
                <a:latin typeface="Consolas" panose="020B0609020204030204" pitchFamily="49" charset="0"/>
              </a:rPr>
              <a:t>  Entity</a:t>
            </a:r>
            <a:r>
              <a:rPr lang="en-US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A9A9A9"/>
                </a:solidFill>
                <a:latin typeface="Consolas" panose="020B0609020204030204" pitchFamily="49" charset="0"/>
              </a:rPr>
              <a:t>=</a:t>
            </a:r>
            <a:r>
              <a:rPr lang="en-US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$</a:t>
            </a:r>
            <a:r>
              <a:rPr lang="en-US" dirty="0" err="1">
                <a:solidFill>
                  <a:srgbClr val="FF4500"/>
                </a:solidFill>
                <a:latin typeface="Consolas" panose="020B0609020204030204" pitchFamily="49" charset="0"/>
              </a:rPr>
              <a:t>vm</a:t>
            </a:r>
            <a:br>
              <a:rPr lang="en-US" dirty="0">
                <a:solidFill>
                  <a:srgbClr val="333333"/>
                </a:solidFill>
                <a:latin typeface="Consolas" panose="020B0609020204030204" pitchFamily="49" charset="0"/>
              </a:rPr>
            </a:br>
            <a:r>
              <a:rPr lang="en-US" dirty="0">
                <a:solidFill>
                  <a:srgbClr val="FF4500"/>
                </a:solidFill>
                <a:latin typeface="Consolas" panose="020B0609020204030204" pitchFamily="49" charset="0"/>
              </a:rPr>
              <a:t>  </a:t>
            </a:r>
            <a:r>
              <a:rPr lang="en-US" dirty="0" err="1">
                <a:solidFill>
                  <a:srgbClr val="FF4500"/>
                </a:solidFill>
                <a:latin typeface="Consolas" panose="020B0609020204030204" pitchFamily="49" charset="0"/>
              </a:rPr>
              <a:t>MaxSamples</a:t>
            </a:r>
            <a:r>
              <a:rPr lang="en-US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A9A9A9"/>
                </a:solidFill>
                <a:latin typeface="Consolas" panose="020B0609020204030204" pitchFamily="49" charset="0"/>
              </a:rPr>
              <a:t>=</a:t>
            </a:r>
            <a:r>
              <a:rPr lang="en-US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en-US" dirty="0">
                <a:solidFill>
                  <a:srgbClr val="00008B"/>
                </a:solidFill>
                <a:latin typeface="Consolas" panose="020B0609020204030204" pitchFamily="49" charset="0"/>
              </a:rPr>
              <a:t>int</a:t>
            </a: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r>
              <a:rPr lang="en-US" dirty="0">
                <a:solidFill>
                  <a:srgbClr val="333333"/>
                </a:solidFill>
                <a:latin typeface="Consolas" panose="020B0609020204030204" pitchFamily="49" charset="0"/>
              </a:rPr>
              <a:t>::</a:t>
            </a:r>
            <a:r>
              <a:rPr lang="en-US" dirty="0" err="1">
                <a:solidFill>
                  <a:srgbClr val="333333"/>
                </a:solidFill>
                <a:latin typeface="Consolas" panose="020B0609020204030204" pitchFamily="49" charset="0"/>
              </a:rPr>
              <a:t>MaxValue</a:t>
            </a:r>
            <a:br>
              <a:rPr lang="en-US" dirty="0">
                <a:solidFill>
                  <a:srgbClr val="333333"/>
                </a:solidFill>
                <a:latin typeface="Consolas" panose="020B0609020204030204" pitchFamily="49" charset="0"/>
              </a:rPr>
            </a:br>
            <a:r>
              <a:rPr lang="en-US" dirty="0">
                <a:solidFill>
                  <a:srgbClr val="FF4500"/>
                </a:solidFill>
                <a:latin typeface="Consolas" panose="020B0609020204030204" pitchFamily="49" charset="0"/>
              </a:rPr>
              <a:t>  Start</a:t>
            </a:r>
            <a:r>
              <a:rPr lang="en-US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A9A9A9"/>
                </a:solidFill>
                <a:latin typeface="Consolas" panose="020B0609020204030204" pitchFamily="49" charset="0"/>
              </a:rPr>
              <a:t>=</a:t>
            </a:r>
            <a:r>
              <a:rPr lang="en-US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dirty="0">
                <a:solidFill>
                  <a:srgbClr val="0000FF"/>
                </a:solidFill>
                <a:latin typeface="Consolas" panose="020B0609020204030204" pitchFamily="49" charset="0"/>
              </a:rPr>
              <a:t>Get-Date</a:t>
            </a: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)</a:t>
            </a:r>
            <a:r>
              <a:rPr lang="en-US" dirty="0">
                <a:solidFill>
                  <a:srgbClr val="333333"/>
                </a:solidFill>
                <a:latin typeface="Consolas" panose="020B0609020204030204" pitchFamily="49" charset="0"/>
              </a:rPr>
              <a:t>.</a:t>
            </a:r>
            <a:r>
              <a:rPr lang="en-US" dirty="0" err="1">
                <a:solidFill>
                  <a:srgbClr val="333333"/>
                </a:solidFill>
                <a:latin typeface="Consolas" panose="020B0609020204030204" pitchFamily="49" charset="0"/>
              </a:rPr>
              <a:t>AddSeconds</a:t>
            </a: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dirty="0">
                <a:solidFill>
                  <a:srgbClr val="800080"/>
                </a:solidFill>
                <a:latin typeface="Consolas" panose="020B0609020204030204" pitchFamily="49" charset="0"/>
              </a:rPr>
              <a:t>-5</a:t>
            </a: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)</a:t>
            </a:r>
            <a:br>
              <a:rPr lang="en-US" dirty="0">
                <a:solidFill>
                  <a:srgbClr val="333333"/>
                </a:solidFill>
                <a:latin typeface="Consolas" panose="020B0609020204030204" pitchFamily="49" charset="0"/>
              </a:rPr>
            </a:b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  <a:endParaRPr lang="en-US" dirty="0">
              <a:solidFill>
                <a:srgbClr val="333333"/>
              </a:solidFill>
              <a:latin typeface="Consolas" panose="020B0609020204030204" pitchFamily="49" charset="0"/>
            </a:endParaRPr>
          </a:p>
          <a:p>
            <a:pPr>
              <a:buFont typeface="Arial" pitchFamily="34" charset="0"/>
              <a:buNone/>
            </a:pP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$</a:t>
            </a:r>
            <a:r>
              <a:rPr lang="en-US" dirty="0">
                <a:solidFill>
                  <a:srgbClr val="FF4500"/>
                </a:solidFill>
                <a:latin typeface="Consolas" panose="020B0609020204030204" pitchFamily="49" charset="0"/>
              </a:rPr>
              <a:t>condition</a:t>
            </a:r>
            <a:r>
              <a:rPr lang="en-US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A9A9A9"/>
                </a:solidFill>
                <a:latin typeface="Consolas" panose="020B0609020204030204" pitchFamily="49" charset="0"/>
              </a:rPr>
              <a:t>=</a:t>
            </a:r>
            <a:r>
              <a:rPr lang="en-US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  <a:br>
              <a:rPr lang="en-US" dirty="0">
                <a:solidFill>
                  <a:srgbClr val="333333"/>
                </a:solidFill>
                <a:latin typeface="Consolas" panose="020B0609020204030204" pitchFamily="49" charset="0"/>
              </a:rPr>
            </a:b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  $</a:t>
            </a:r>
            <a:r>
              <a:rPr lang="en-US" dirty="0">
                <a:solidFill>
                  <a:srgbClr val="FF4500"/>
                </a:solidFill>
                <a:latin typeface="Consolas" panose="020B0609020204030204" pitchFamily="49" charset="0"/>
              </a:rPr>
              <a:t>_</a:t>
            </a:r>
            <a:r>
              <a:rPr lang="en-US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A9A9A9"/>
                </a:solidFill>
                <a:latin typeface="Consolas" panose="020B0609020204030204" pitchFamily="49" charset="0"/>
              </a:rPr>
              <a:t>-is</a:t>
            </a:r>
            <a:r>
              <a:rPr lang="en-US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en-US" dirty="0" err="1">
                <a:solidFill>
                  <a:srgbClr val="00008B"/>
                </a:solidFill>
                <a:latin typeface="Consolas" panose="020B0609020204030204" pitchFamily="49" charset="0"/>
              </a:rPr>
              <a:t>VMware.Vim.CustomizationSucceeded</a:t>
            </a: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r>
              <a:rPr lang="en-US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A9A9A9"/>
                </a:solidFill>
                <a:latin typeface="Consolas" panose="020B0609020204030204" pitchFamily="49" charset="0"/>
              </a:rPr>
              <a:t>-or</a:t>
            </a:r>
            <a:r>
              <a:rPr lang="en-US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br>
              <a:rPr lang="en-US" dirty="0">
                <a:solidFill>
                  <a:srgbClr val="333333"/>
                </a:solidFill>
                <a:latin typeface="Consolas" panose="020B0609020204030204" pitchFamily="49" charset="0"/>
              </a:rPr>
            </a:b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  $</a:t>
            </a:r>
            <a:r>
              <a:rPr lang="en-US" dirty="0">
                <a:solidFill>
                  <a:srgbClr val="FF4500"/>
                </a:solidFill>
                <a:latin typeface="Consolas" panose="020B0609020204030204" pitchFamily="49" charset="0"/>
              </a:rPr>
              <a:t>_</a:t>
            </a:r>
            <a:r>
              <a:rPr lang="en-US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A9A9A9"/>
                </a:solidFill>
                <a:latin typeface="Consolas" panose="020B0609020204030204" pitchFamily="49" charset="0"/>
              </a:rPr>
              <a:t>-is</a:t>
            </a:r>
            <a:r>
              <a:rPr lang="en-US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en-US" dirty="0" err="1">
                <a:solidFill>
                  <a:srgbClr val="00008B"/>
                </a:solidFill>
                <a:latin typeface="Consolas" panose="020B0609020204030204" pitchFamily="49" charset="0"/>
              </a:rPr>
              <a:t>VMware.Vim.CustomizationFailed</a:t>
            </a: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br>
              <a:rPr lang="en-US" dirty="0">
                <a:solidFill>
                  <a:srgbClr val="333333"/>
                </a:solidFill>
                <a:latin typeface="Consolas" panose="020B0609020204030204" pitchFamily="49" charset="0"/>
              </a:rPr>
            </a:b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  <a:endParaRPr lang="en-US" dirty="0">
              <a:solidFill>
                <a:srgbClr val="333333"/>
              </a:solidFill>
              <a:latin typeface="Consolas" panose="020B0609020204030204" pitchFamily="49" charset="0"/>
            </a:endParaRPr>
          </a:p>
          <a:p>
            <a:pPr>
              <a:buFont typeface="Arial" pitchFamily="34" charset="0"/>
              <a:buNone/>
            </a:pPr>
            <a:r>
              <a:rPr lang="en-US" dirty="0">
                <a:solidFill>
                  <a:srgbClr val="00008B"/>
                </a:solidFill>
                <a:latin typeface="Consolas" panose="020B0609020204030204" pitchFamily="49" charset="0"/>
              </a:rPr>
              <a:t>Do </a:t>
            </a: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  <a:br>
              <a:rPr lang="en-US" dirty="0">
                <a:solidFill>
                  <a:srgbClr val="333333"/>
                </a:solidFill>
                <a:latin typeface="Consolas" panose="020B0609020204030204" pitchFamily="49" charset="0"/>
              </a:rPr>
            </a:br>
            <a:r>
              <a:rPr lang="en-US" dirty="0">
                <a:solidFill>
                  <a:srgbClr val="0000FF"/>
                </a:solidFill>
                <a:latin typeface="Consolas" panose="020B0609020204030204" pitchFamily="49" charset="0"/>
              </a:rPr>
              <a:t>  Start-Sleep</a:t>
            </a:r>
            <a:r>
              <a:rPr lang="en-US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A9A9A9"/>
                </a:solidFill>
                <a:latin typeface="Consolas" panose="020B0609020204030204" pitchFamily="49" charset="0"/>
              </a:rPr>
              <a:t>-</a:t>
            </a:r>
            <a:r>
              <a:rPr lang="en-US" dirty="0">
                <a:solidFill>
                  <a:srgbClr val="333333"/>
                </a:solidFill>
                <a:latin typeface="Consolas" panose="020B0609020204030204" pitchFamily="49" charset="0"/>
              </a:rPr>
              <a:t>Seconds </a:t>
            </a:r>
            <a:r>
              <a:rPr lang="en-US" dirty="0">
                <a:solidFill>
                  <a:srgbClr val="800080"/>
                </a:solidFill>
                <a:latin typeface="Consolas" panose="020B0609020204030204" pitchFamily="49" charset="0"/>
              </a:rPr>
              <a:t>5</a:t>
            </a:r>
            <a:br>
              <a:rPr lang="en-US" dirty="0">
                <a:solidFill>
                  <a:srgbClr val="333333"/>
                </a:solidFill>
                <a:latin typeface="Consolas" panose="020B0609020204030204" pitchFamily="49" charset="0"/>
              </a:rPr>
            </a:b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  $</a:t>
            </a:r>
            <a:r>
              <a:rPr lang="en-US" dirty="0" err="1">
                <a:solidFill>
                  <a:srgbClr val="FF4500"/>
                </a:solidFill>
                <a:latin typeface="Consolas" panose="020B0609020204030204" pitchFamily="49" charset="0"/>
              </a:rPr>
              <a:t>custEvents</a:t>
            </a:r>
            <a:r>
              <a:rPr lang="en-US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A9A9A9"/>
                </a:solidFill>
                <a:latin typeface="Consolas" panose="020B0609020204030204" pitchFamily="49" charset="0"/>
              </a:rPr>
              <a:t>=</a:t>
            </a:r>
            <a:r>
              <a:rPr lang="en-US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dirty="0">
                <a:solidFill>
                  <a:srgbClr val="0000FF"/>
                </a:solidFill>
                <a:latin typeface="Consolas" panose="020B0609020204030204" pitchFamily="49" charset="0"/>
              </a:rPr>
              <a:t>Get-</a:t>
            </a:r>
            <a:r>
              <a:rPr lang="en-US" dirty="0" err="1">
                <a:solidFill>
                  <a:srgbClr val="0000FF"/>
                </a:solidFill>
                <a:latin typeface="Consolas" panose="020B0609020204030204" pitchFamily="49" charset="0"/>
              </a:rPr>
              <a:t>VIEvent</a:t>
            </a:r>
            <a:r>
              <a:rPr lang="en-US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@</a:t>
            </a:r>
            <a:r>
              <a:rPr lang="en-US" dirty="0" err="1">
                <a:solidFill>
                  <a:srgbClr val="FF4500"/>
                </a:solidFill>
                <a:latin typeface="Consolas" panose="020B0609020204030204" pitchFamily="49" charset="0"/>
              </a:rPr>
              <a:t>sEvent</a:t>
            </a: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)</a:t>
            </a:r>
            <a:r>
              <a:rPr lang="en-US" dirty="0">
                <a:solidFill>
                  <a:srgbClr val="333333"/>
                </a:solidFill>
                <a:latin typeface="Consolas" panose="020B0609020204030204" pitchFamily="49" charset="0"/>
              </a:rPr>
              <a:t>.</a:t>
            </a:r>
            <a:r>
              <a:rPr lang="en-US" dirty="0">
                <a:solidFill>
                  <a:srgbClr val="00008B"/>
                </a:solidFill>
                <a:latin typeface="Consolas" panose="020B0609020204030204" pitchFamily="49" charset="0"/>
              </a:rPr>
              <a:t>Where</a:t>
            </a: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($</a:t>
            </a:r>
            <a:r>
              <a:rPr lang="en-US" dirty="0">
                <a:solidFill>
                  <a:srgbClr val="FF4500"/>
                </a:solidFill>
                <a:latin typeface="Consolas" panose="020B0609020204030204" pitchFamily="49" charset="0"/>
              </a:rPr>
              <a:t>condition</a:t>
            </a: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)</a:t>
            </a:r>
            <a:br>
              <a:rPr lang="en-US" dirty="0">
                <a:solidFill>
                  <a:srgbClr val="333333"/>
                </a:solidFill>
                <a:latin typeface="Consolas" panose="020B0609020204030204" pitchFamily="49" charset="0"/>
              </a:rPr>
            </a:b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  <a:r>
              <a:rPr lang="en-US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00008B"/>
                </a:solidFill>
                <a:latin typeface="Consolas" panose="020B0609020204030204" pitchFamily="49" charset="0"/>
              </a:rPr>
              <a:t>until</a:t>
            </a:r>
            <a:r>
              <a:rPr lang="en-US" dirty="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($</a:t>
            </a:r>
            <a:r>
              <a:rPr lang="en-US" dirty="0" err="1">
                <a:solidFill>
                  <a:srgbClr val="FF4500"/>
                </a:solidFill>
                <a:latin typeface="Consolas" panose="020B0609020204030204" pitchFamily="49" charset="0"/>
              </a:rPr>
              <a:t>custEvents</a:t>
            </a: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)</a:t>
            </a:r>
            <a:endParaRPr lang="en-US" dirty="0">
              <a:solidFill>
                <a:srgbClr val="333333"/>
              </a:solidFill>
              <a:latin typeface="Consolas" panose="020B0609020204030204" pitchFamily="49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359531B-A65B-5449-8F76-8204867F9B9B}"/>
              </a:ext>
            </a:extLst>
          </p:cNvPr>
          <p:cNvSpPr/>
          <p:nvPr/>
        </p:nvSpPr>
        <p:spPr>
          <a:xfrm>
            <a:off x="4344660" y="2917810"/>
            <a:ext cx="2233750" cy="380226"/>
          </a:xfrm>
          <a:prstGeom prst="rect">
            <a:avLst/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>
              <a:solidFill>
                <a:prstClr val="white"/>
              </a:solidFill>
              <a:latin typeface="Metropoli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5BC6BCF-1444-DA43-957C-C956883C17BA}"/>
              </a:ext>
            </a:extLst>
          </p:cNvPr>
          <p:cNvSpPr/>
          <p:nvPr/>
        </p:nvSpPr>
        <p:spPr>
          <a:xfrm>
            <a:off x="3453272" y="5325333"/>
            <a:ext cx="1622161" cy="380226"/>
          </a:xfrm>
          <a:prstGeom prst="rect">
            <a:avLst/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>
              <a:solidFill>
                <a:prstClr val="white"/>
              </a:solidFill>
              <a:latin typeface="Metropoli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862FB42-A6D7-9B44-AA11-2085A07B2753}"/>
              </a:ext>
            </a:extLst>
          </p:cNvPr>
          <p:cNvSpPr/>
          <p:nvPr/>
        </p:nvSpPr>
        <p:spPr>
          <a:xfrm>
            <a:off x="1014907" y="3679736"/>
            <a:ext cx="6963339" cy="1325218"/>
          </a:xfrm>
          <a:prstGeom prst="rect">
            <a:avLst/>
          </a:prstGeom>
          <a:noFill/>
          <a:ln w="381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>
              <a:solidFill>
                <a:prstClr val="white"/>
              </a:solidFill>
              <a:latin typeface="Metropoli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99651A9-8B3D-2046-AEB1-F1220AAF042A}"/>
              </a:ext>
            </a:extLst>
          </p:cNvPr>
          <p:cNvSpPr/>
          <p:nvPr/>
        </p:nvSpPr>
        <p:spPr>
          <a:xfrm>
            <a:off x="6893960" y="5610569"/>
            <a:ext cx="2668089" cy="380226"/>
          </a:xfrm>
          <a:prstGeom prst="rect">
            <a:avLst/>
          </a:prstGeom>
          <a:noFill/>
          <a:ln w="381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>
              <a:solidFill>
                <a:prstClr val="white"/>
              </a:solidFill>
              <a:latin typeface="Metropolis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9B453D5-EBF9-714F-B0B3-1A849CA73E03}"/>
              </a:ext>
            </a:extLst>
          </p:cNvPr>
          <p:cNvSpPr/>
          <p:nvPr/>
        </p:nvSpPr>
        <p:spPr>
          <a:xfrm>
            <a:off x="581397" y="1479869"/>
            <a:ext cx="368300" cy="3657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white"/>
                </a:solidFill>
                <a:latin typeface="Metropolis"/>
              </a:rPr>
              <a:t>1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A80174F1-179C-CA48-A117-73D3C89126D9}"/>
              </a:ext>
            </a:extLst>
          </p:cNvPr>
          <p:cNvSpPr/>
          <p:nvPr/>
        </p:nvSpPr>
        <p:spPr>
          <a:xfrm>
            <a:off x="581397" y="2431674"/>
            <a:ext cx="368300" cy="3657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white"/>
                </a:solidFill>
                <a:latin typeface="Metropolis"/>
              </a:rPr>
              <a:t>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3C75970B-B3A2-C743-B0BF-46F39FE2A07C}"/>
              </a:ext>
            </a:extLst>
          </p:cNvPr>
          <p:cNvSpPr/>
          <p:nvPr/>
        </p:nvSpPr>
        <p:spPr>
          <a:xfrm>
            <a:off x="581397" y="4183761"/>
            <a:ext cx="368300" cy="3657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white"/>
                </a:solidFill>
                <a:latin typeface="Metropolis"/>
              </a:rPr>
              <a:t>3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B83AB763-4AFE-434D-8C18-C856479E17E1}"/>
              </a:ext>
            </a:extLst>
          </p:cNvPr>
          <p:cNvSpPr/>
          <p:nvPr/>
        </p:nvSpPr>
        <p:spPr>
          <a:xfrm>
            <a:off x="581397" y="5586619"/>
            <a:ext cx="368300" cy="3657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white"/>
                </a:solidFill>
                <a:latin typeface="Metropolis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5871693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F3E3179-3334-E846-95E4-F2D658FF78E6}"/>
              </a:ext>
            </a:extLst>
          </p:cNvPr>
          <p:cNvSpPr txBox="1"/>
          <p:nvPr/>
        </p:nvSpPr>
        <p:spPr>
          <a:xfrm>
            <a:off x="1217469" y="2721114"/>
            <a:ext cx="975706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solidFill>
                  <a:prstClr val="black"/>
                </a:solidFill>
              </a:rPr>
              <a:t>What are PowerShell </a:t>
            </a:r>
            <a:br>
              <a:rPr lang="en-US" sz="4000" b="1" dirty="0">
                <a:solidFill>
                  <a:prstClr val="black"/>
                </a:solidFill>
              </a:rPr>
            </a:br>
            <a:r>
              <a:rPr lang="en-US" sz="4000" b="1" dirty="0">
                <a:solidFill>
                  <a:prstClr val="black"/>
                </a:solidFill>
              </a:rPr>
              <a:t>and PowerCLI?</a:t>
            </a:r>
            <a:endParaRPr lang="en-US" sz="4000" b="1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9179203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D1A82B1-03AA-D34C-8CA3-C48EF3E9A84D}"/>
              </a:ext>
            </a:extLst>
          </p:cNvPr>
          <p:cNvSpPr txBox="1"/>
          <p:nvPr/>
        </p:nvSpPr>
        <p:spPr>
          <a:xfrm>
            <a:off x="139148" y="715617"/>
            <a:ext cx="1158902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t Your Fingertip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0F95C92-FF04-434A-860C-B60FC02CEDF9}"/>
              </a:ext>
            </a:extLst>
          </p:cNvPr>
          <p:cNvSpPr txBox="1">
            <a:spLocks/>
          </p:cNvSpPr>
          <p:nvPr/>
        </p:nvSpPr>
        <p:spPr>
          <a:xfrm>
            <a:off x="616666" y="1600201"/>
            <a:ext cx="10975658" cy="4572000"/>
          </a:xfrm>
          <a:prstGeom prst="rect">
            <a:avLst/>
          </a:prstGeom>
        </p:spPr>
        <p:txBody>
          <a:bodyPr/>
          <a:lstStyle>
            <a:lvl1pPr marL="228611" indent="-228611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5325" indent="-190510" algn="l" defTabSz="6096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2038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6853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69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76484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81299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86114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90930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/>
              <a:t>How often did/do you execute any of these?</a:t>
            </a:r>
          </a:p>
          <a:p>
            <a:pPr lvl="1"/>
            <a:r>
              <a:rPr lang="en-US" sz="2400">
                <a:solidFill>
                  <a:srgbClr val="000000"/>
                </a:solidFill>
                <a:latin typeface="Consolas" panose="020B0609020204030204" pitchFamily="49" charset="0"/>
              </a:rPr>
              <a:t>$</a:t>
            </a:r>
            <a:r>
              <a:rPr lang="en-US" sz="2400">
                <a:solidFill>
                  <a:srgbClr val="00008B"/>
                </a:solidFill>
                <a:latin typeface="Consolas" panose="020B0609020204030204" pitchFamily="49" charset="0"/>
              </a:rPr>
              <a:t>global</a:t>
            </a:r>
            <a:r>
              <a:rPr lang="en-US" sz="2400">
                <a:solidFill>
                  <a:srgbClr val="FF4500"/>
                </a:solidFill>
                <a:latin typeface="Consolas" panose="020B0609020204030204" pitchFamily="49" charset="0"/>
              </a:rPr>
              <a:t>:DefaultViServer</a:t>
            </a:r>
            <a:endParaRPr lang="en-US" sz="2400">
              <a:solidFill>
                <a:srgbClr val="333333"/>
              </a:solidFill>
              <a:latin typeface="Consolas" panose="020B0609020204030204" pitchFamily="49" charset="0"/>
            </a:endParaRPr>
          </a:p>
          <a:p>
            <a:pPr lvl="1"/>
            <a:r>
              <a:rPr lang="en-US" sz="2400">
                <a:solidFill>
                  <a:srgbClr val="000000"/>
                </a:solidFill>
                <a:latin typeface="Consolas" panose="020B0609020204030204" pitchFamily="49" charset="0"/>
              </a:rPr>
              <a:t>$</a:t>
            </a:r>
            <a:r>
              <a:rPr lang="en-US" sz="2400">
                <a:solidFill>
                  <a:srgbClr val="008080"/>
                </a:solidFill>
                <a:latin typeface="Consolas" panose="020B0609020204030204" pitchFamily="49" charset="0"/>
              </a:rPr>
              <a:t>PSVersionTable</a:t>
            </a:r>
            <a:endParaRPr lang="en-US" sz="2400">
              <a:solidFill>
                <a:srgbClr val="333333"/>
              </a:solidFill>
              <a:latin typeface="Consolas" panose="020B0609020204030204" pitchFamily="49" charset="0"/>
            </a:endParaRPr>
          </a:p>
          <a:p>
            <a:pPr lvl="1"/>
            <a:r>
              <a:rPr lang="en-US" sz="2400">
                <a:solidFill>
                  <a:srgbClr val="333333"/>
                </a:solidFill>
                <a:latin typeface="Consolas" panose="020B0609020204030204" pitchFamily="49" charset="0"/>
              </a:rPr>
              <a:t>pwd</a:t>
            </a:r>
          </a:p>
          <a:p>
            <a:pPr lvl="1"/>
            <a:r>
              <a:rPr lang="en-US" sz="2400">
                <a:solidFill>
                  <a:srgbClr val="0000FF"/>
                </a:solidFill>
                <a:latin typeface="Consolas" panose="020B0609020204030204" pitchFamily="49" charset="0"/>
              </a:rPr>
              <a:t>Get-Module</a:t>
            </a:r>
            <a:r>
              <a:rPr lang="en-US" sz="2400">
                <a:solidFill>
                  <a:srgbClr val="333333"/>
                </a:solidFill>
                <a:latin typeface="Consolas" panose="020B0609020204030204" pitchFamily="49" charset="0"/>
              </a:rPr>
              <a:t> –Name VMware.PowerCLI –ListAvailable</a:t>
            </a:r>
          </a:p>
          <a:p>
            <a:pPr lvl="1"/>
            <a:r>
              <a:rPr lang="en-US" sz="2400">
                <a:solidFill>
                  <a:srgbClr val="333333"/>
                </a:solidFill>
                <a:latin typeface="Consolas" panose="020B0609020204030204" pitchFamily="49" charset="0"/>
              </a:rPr>
              <a:t>…</a:t>
            </a:r>
          </a:p>
          <a:p>
            <a:r>
              <a:rPr lang="en-US" sz="2800"/>
              <a:t>Useful while coding and when asking for guidance</a:t>
            </a:r>
          </a:p>
          <a:p>
            <a:r>
              <a:rPr lang="en-US" sz="2800"/>
              <a:t>Can be automated</a:t>
            </a:r>
          </a:p>
          <a:p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10418217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D1A82B1-03AA-D34C-8CA3-C48EF3E9A84D}"/>
              </a:ext>
            </a:extLst>
          </p:cNvPr>
          <p:cNvSpPr txBox="1"/>
          <p:nvPr/>
        </p:nvSpPr>
        <p:spPr>
          <a:xfrm>
            <a:off x="139148" y="715617"/>
            <a:ext cx="1158902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t Your Fingertips</a:t>
            </a:r>
          </a:p>
        </p:txBody>
      </p:sp>
      <p:sp>
        <p:nvSpPr>
          <p:cNvPr id="3" name="Content Placeholder 18">
            <a:extLst>
              <a:ext uri="{FF2B5EF4-FFF2-40B4-BE49-F238E27FC236}">
                <a16:creationId xmlns:a16="http://schemas.microsoft.com/office/drawing/2014/main" id="{0979C83D-FC2C-3E48-A42E-088B1E612F45}"/>
              </a:ext>
            </a:extLst>
          </p:cNvPr>
          <p:cNvSpPr txBox="1">
            <a:spLocks/>
          </p:cNvSpPr>
          <p:nvPr/>
        </p:nvSpPr>
        <p:spPr>
          <a:xfrm>
            <a:off x="618093" y="1600202"/>
            <a:ext cx="10972800" cy="966983"/>
          </a:xfrm>
          <a:prstGeom prst="rect">
            <a:avLst/>
          </a:prstGeom>
        </p:spPr>
        <p:txBody>
          <a:bodyPr/>
          <a:lstStyle>
            <a:lvl1pPr marL="228611" indent="-228611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5325" indent="-190510" algn="l" defTabSz="6096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2038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6853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69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76484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81299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86114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90930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Meet your “power(cli)” profile</a:t>
            </a:r>
          </a:p>
          <a:p>
            <a:r>
              <a:rPr lang="en-US"/>
              <a:t>A lot of info at your fingertips</a:t>
            </a:r>
          </a:p>
          <a:p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369ACC7-1C24-6449-AA94-61C31D0F0D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4421" y="3852839"/>
            <a:ext cx="11423158" cy="1690161"/>
          </a:xfrm>
          <a:prstGeom prst="rect">
            <a:avLst/>
          </a:prstGeom>
        </p:spPr>
      </p:pic>
      <p:sp>
        <p:nvSpPr>
          <p:cNvPr id="5" name="Speech Bubble: Rectangle 5">
            <a:extLst>
              <a:ext uri="{FF2B5EF4-FFF2-40B4-BE49-F238E27FC236}">
                <a16:creationId xmlns:a16="http://schemas.microsoft.com/office/drawing/2014/main" id="{F2CED3D5-6344-3E4D-8E40-FB82A96CB44E}"/>
              </a:ext>
            </a:extLst>
          </p:cNvPr>
          <p:cNvSpPr/>
          <p:nvPr/>
        </p:nvSpPr>
        <p:spPr>
          <a:xfrm>
            <a:off x="160016" y="5276369"/>
            <a:ext cx="1686076" cy="549272"/>
          </a:xfrm>
          <a:prstGeom prst="wedgeRectCallout">
            <a:avLst>
              <a:gd name="adj1" fmla="val -6116"/>
              <a:gd name="adj2" fmla="val -151539"/>
            </a:avLst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>
              <a:lnSpc>
                <a:spcPct val="85000"/>
              </a:lnSpc>
            </a:pPr>
            <a:r>
              <a:rPr lang="en-US" sz="1799" dirty="0">
                <a:solidFill>
                  <a:prstClr val="white"/>
                </a:solidFill>
                <a:latin typeface="Metropolis" panose="00000500000000000000" pitchFamily="2" charset="0"/>
              </a:rPr>
              <a:t>Current time</a:t>
            </a:r>
          </a:p>
        </p:txBody>
      </p:sp>
      <p:sp>
        <p:nvSpPr>
          <p:cNvPr id="6" name="Speech Bubble: Rectangle 6">
            <a:extLst>
              <a:ext uri="{FF2B5EF4-FFF2-40B4-BE49-F238E27FC236}">
                <a16:creationId xmlns:a16="http://schemas.microsoft.com/office/drawing/2014/main" id="{F2A7B133-2DCD-C84A-B315-D3CF05963FC5}"/>
              </a:ext>
            </a:extLst>
          </p:cNvPr>
          <p:cNvSpPr/>
          <p:nvPr/>
        </p:nvSpPr>
        <p:spPr>
          <a:xfrm>
            <a:off x="1970811" y="5768506"/>
            <a:ext cx="1879570" cy="549272"/>
          </a:xfrm>
          <a:prstGeom prst="wedgeRectCallout">
            <a:avLst>
              <a:gd name="adj1" fmla="val -47630"/>
              <a:gd name="adj2" fmla="val -246260"/>
            </a:avLst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>
              <a:lnSpc>
                <a:spcPct val="85000"/>
              </a:lnSpc>
            </a:pPr>
            <a:r>
              <a:rPr lang="en-US" sz="1799" dirty="0">
                <a:solidFill>
                  <a:prstClr val="white"/>
                </a:solidFill>
                <a:latin typeface="Metropolis" panose="00000500000000000000" pitchFamily="2" charset="0"/>
              </a:rPr>
              <a:t>Execution time</a:t>
            </a:r>
          </a:p>
        </p:txBody>
      </p:sp>
      <p:sp>
        <p:nvSpPr>
          <p:cNvPr id="7" name="Speech Bubble: Rectangle 7">
            <a:extLst>
              <a:ext uri="{FF2B5EF4-FFF2-40B4-BE49-F238E27FC236}">
                <a16:creationId xmlns:a16="http://schemas.microsoft.com/office/drawing/2014/main" id="{2624A690-255E-3243-90C5-3A6AF2F4FA8B}"/>
              </a:ext>
            </a:extLst>
          </p:cNvPr>
          <p:cNvSpPr/>
          <p:nvPr/>
        </p:nvSpPr>
        <p:spPr>
          <a:xfrm>
            <a:off x="4235991" y="5768506"/>
            <a:ext cx="1875452" cy="549272"/>
          </a:xfrm>
          <a:prstGeom prst="wedgeRectCallout">
            <a:avLst>
              <a:gd name="adj1" fmla="val -58895"/>
              <a:gd name="adj2" fmla="val -244328"/>
            </a:avLst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>
              <a:lnSpc>
                <a:spcPct val="85000"/>
              </a:lnSpc>
            </a:pPr>
            <a:r>
              <a:rPr lang="en-US" sz="1799" dirty="0">
                <a:solidFill>
                  <a:prstClr val="white"/>
                </a:solidFill>
                <a:latin typeface="Metropolis" panose="00000500000000000000" pitchFamily="2" charset="0"/>
              </a:rPr>
              <a:t>Current folder</a:t>
            </a:r>
          </a:p>
        </p:txBody>
      </p:sp>
      <p:sp>
        <p:nvSpPr>
          <p:cNvPr id="8" name="Speech Bubble: Rectangle 8">
            <a:extLst>
              <a:ext uri="{FF2B5EF4-FFF2-40B4-BE49-F238E27FC236}">
                <a16:creationId xmlns:a16="http://schemas.microsoft.com/office/drawing/2014/main" id="{CA46534C-E44C-1047-8127-D83BC5DDC043}"/>
              </a:ext>
            </a:extLst>
          </p:cNvPr>
          <p:cNvSpPr/>
          <p:nvPr/>
        </p:nvSpPr>
        <p:spPr>
          <a:xfrm>
            <a:off x="160016" y="2705374"/>
            <a:ext cx="1686076" cy="549272"/>
          </a:xfrm>
          <a:prstGeom prst="wedgeRectCallout">
            <a:avLst>
              <a:gd name="adj1" fmla="val -10434"/>
              <a:gd name="adj2" fmla="val 169541"/>
            </a:avLst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>
              <a:lnSpc>
                <a:spcPct val="85000"/>
              </a:lnSpc>
            </a:pPr>
            <a:r>
              <a:rPr lang="en-US" sz="1799" dirty="0">
                <a:solidFill>
                  <a:prstClr val="white"/>
                </a:solidFill>
                <a:latin typeface="Metropolis" panose="00000500000000000000" pitchFamily="2" charset="0"/>
              </a:rPr>
              <a:t>User/Admin</a:t>
            </a:r>
          </a:p>
        </p:txBody>
      </p:sp>
      <p:sp>
        <p:nvSpPr>
          <p:cNvPr id="9" name="Speech Bubble: Rectangle 9">
            <a:extLst>
              <a:ext uri="{FF2B5EF4-FFF2-40B4-BE49-F238E27FC236}">
                <a16:creationId xmlns:a16="http://schemas.microsoft.com/office/drawing/2014/main" id="{B93674A4-9FBB-B346-95ED-CF8CE9F8A01F}"/>
              </a:ext>
            </a:extLst>
          </p:cNvPr>
          <p:cNvSpPr/>
          <p:nvPr/>
        </p:nvSpPr>
        <p:spPr>
          <a:xfrm>
            <a:off x="1945971" y="2737997"/>
            <a:ext cx="1879570" cy="549272"/>
          </a:xfrm>
          <a:prstGeom prst="wedgeRectCallout">
            <a:avLst>
              <a:gd name="adj1" fmla="val -73844"/>
              <a:gd name="adj2" fmla="val 162002"/>
            </a:avLst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>
              <a:lnSpc>
                <a:spcPct val="85000"/>
              </a:lnSpc>
            </a:pPr>
            <a:r>
              <a:rPr lang="en-US" sz="1799" dirty="0">
                <a:solidFill>
                  <a:prstClr val="white"/>
                </a:solidFill>
                <a:latin typeface="Metropolis" panose="00000500000000000000" pitchFamily="2" charset="0"/>
              </a:rPr>
              <a:t>Account/Host</a:t>
            </a:r>
          </a:p>
        </p:txBody>
      </p:sp>
      <p:sp>
        <p:nvSpPr>
          <p:cNvPr id="10" name="Speech Bubble: Rectangle 10">
            <a:extLst>
              <a:ext uri="{FF2B5EF4-FFF2-40B4-BE49-F238E27FC236}">
                <a16:creationId xmlns:a16="http://schemas.microsoft.com/office/drawing/2014/main" id="{5437B208-BF25-9742-AD59-51D798D03B1F}"/>
              </a:ext>
            </a:extLst>
          </p:cNvPr>
          <p:cNvSpPr/>
          <p:nvPr/>
        </p:nvSpPr>
        <p:spPr>
          <a:xfrm>
            <a:off x="4021431" y="2410691"/>
            <a:ext cx="1657750" cy="519773"/>
          </a:xfrm>
          <a:prstGeom prst="wedgeRectCallout">
            <a:avLst>
              <a:gd name="adj1" fmla="val -86954"/>
              <a:gd name="adj2" fmla="val 223238"/>
            </a:avLst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r>
              <a:rPr lang="en-US" sz="1799" dirty="0">
                <a:solidFill>
                  <a:prstClr val="white"/>
                </a:solidFill>
                <a:latin typeface="Metropolis" panose="00000500000000000000" pitchFamily="2" charset="0"/>
              </a:rPr>
              <a:t>PS version</a:t>
            </a:r>
          </a:p>
        </p:txBody>
      </p:sp>
      <p:sp>
        <p:nvSpPr>
          <p:cNvPr id="11" name="Speech Bubble: Rectangle 11">
            <a:extLst>
              <a:ext uri="{FF2B5EF4-FFF2-40B4-BE49-F238E27FC236}">
                <a16:creationId xmlns:a16="http://schemas.microsoft.com/office/drawing/2014/main" id="{0DDBAD66-335D-C64C-866B-7FBD329E5A8B}"/>
              </a:ext>
            </a:extLst>
          </p:cNvPr>
          <p:cNvSpPr/>
          <p:nvPr/>
        </p:nvSpPr>
        <p:spPr>
          <a:xfrm>
            <a:off x="4747811" y="3012634"/>
            <a:ext cx="2290635" cy="550919"/>
          </a:xfrm>
          <a:prstGeom prst="wedgeRectCallout">
            <a:avLst>
              <a:gd name="adj1" fmla="val -43881"/>
              <a:gd name="adj2" fmla="val 104592"/>
            </a:avLst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>
              <a:lnSpc>
                <a:spcPct val="85000"/>
              </a:lnSpc>
            </a:pPr>
            <a:r>
              <a:rPr lang="en-US" sz="1799" dirty="0" err="1">
                <a:solidFill>
                  <a:prstClr val="white"/>
                </a:solidFill>
                <a:latin typeface="Metropolis" panose="00000500000000000000" pitchFamily="2" charset="0"/>
              </a:rPr>
              <a:t>PowerCLI</a:t>
            </a:r>
            <a:r>
              <a:rPr lang="en-US" sz="1799" dirty="0">
                <a:solidFill>
                  <a:prstClr val="white"/>
                </a:solidFill>
                <a:latin typeface="Metropolis" panose="00000500000000000000" pitchFamily="2" charset="0"/>
              </a:rPr>
              <a:t> version</a:t>
            </a:r>
          </a:p>
        </p:txBody>
      </p:sp>
      <p:sp>
        <p:nvSpPr>
          <p:cNvPr id="12" name="Speech Bubble: Rectangle 12">
            <a:extLst>
              <a:ext uri="{FF2B5EF4-FFF2-40B4-BE49-F238E27FC236}">
                <a16:creationId xmlns:a16="http://schemas.microsoft.com/office/drawing/2014/main" id="{521430B1-648F-6F47-A6A5-588897847692}"/>
              </a:ext>
            </a:extLst>
          </p:cNvPr>
          <p:cNvSpPr/>
          <p:nvPr/>
        </p:nvSpPr>
        <p:spPr>
          <a:xfrm>
            <a:off x="7134928" y="2567184"/>
            <a:ext cx="2068849" cy="598192"/>
          </a:xfrm>
          <a:prstGeom prst="wedgeRectCallout">
            <a:avLst>
              <a:gd name="adj1" fmla="val -58146"/>
              <a:gd name="adj2" fmla="val 172423"/>
            </a:avLst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>
              <a:lnSpc>
                <a:spcPct val="85000"/>
              </a:lnSpc>
            </a:pPr>
            <a:r>
              <a:rPr lang="en-US" sz="1799" dirty="0">
                <a:solidFill>
                  <a:prstClr val="white"/>
                </a:solidFill>
                <a:latin typeface="Metropolis" panose="00000500000000000000" pitchFamily="2" charset="0"/>
              </a:rPr>
              <a:t>vSphere Server</a:t>
            </a:r>
          </a:p>
        </p:txBody>
      </p:sp>
      <p:sp>
        <p:nvSpPr>
          <p:cNvPr id="13" name="Speech Bubble: Rectangle 13">
            <a:extLst>
              <a:ext uri="{FF2B5EF4-FFF2-40B4-BE49-F238E27FC236}">
                <a16:creationId xmlns:a16="http://schemas.microsoft.com/office/drawing/2014/main" id="{6B347549-0937-2449-A8C0-7893B164CE3C}"/>
              </a:ext>
            </a:extLst>
          </p:cNvPr>
          <p:cNvSpPr/>
          <p:nvPr/>
        </p:nvSpPr>
        <p:spPr>
          <a:xfrm>
            <a:off x="9279524" y="2996335"/>
            <a:ext cx="1686076" cy="549272"/>
          </a:xfrm>
          <a:prstGeom prst="wedgeRectCallout">
            <a:avLst>
              <a:gd name="adj1" fmla="val -48339"/>
              <a:gd name="adj2" fmla="val 112100"/>
            </a:avLst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>
              <a:lnSpc>
                <a:spcPct val="85000"/>
              </a:lnSpc>
            </a:pPr>
            <a:r>
              <a:rPr lang="en-US" sz="1799" dirty="0">
                <a:solidFill>
                  <a:prstClr val="white"/>
                </a:solidFill>
                <a:latin typeface="Metropolis" panose="00000500000000000000" pitchFamily="2" charset="0"/>
              </a:rPr>
              <a:t>Repo/branch</a:t>
            </a:r>
          </a:p>
        </p:txBody>
      </p:sp>
    </p:spTree>
    <p:extLst>
      <p:ext uri="{BB962C8B-B14F-4D97-AF65-F5344CB8AC3E}">
        <p14:creationId xmlns:p14="http://schemas.microsoft.com/office/powerpoint/2010/main" val="20933043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D1A82B1-03AA-D34C-8CA3-C48EF3E9A84D}"/>
              </a:ext>
            </a:extLst>
          </p:cNvPr>
          <p:cNvSpPr txBox="1"/>
          <p:nvPr/>
        </p:nvSpPr>
        <p:spPr>
          <a:xfrm>
            <a:off x="139148" y="715617"/>
            <a:ext cx="1158902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t Your Fingertips</a:t>
            </a:r>
          </a:p>
        </p:txBody>
      </p:sp>
      <p:sp>
        <p:nvSpPr>
          <p:cNvPr id="3" name="Content Placeholder 4">
            <a:extLst>
              <a:ext uri="{FF2B5EF4-FFF2-40B4-BE49-F238E27FC236}">
                <a16:creationId xmlns:a16="http://schemas.microsoft.com/office/drawing/2014/main" id="{BB823AFC-3E2A-2642-B6E5-A5497C382C18}"/>
              </a:ext>
            </a:extLst>
          </p:cNvPr>
          <p:cNvSpPr txBox="1">
            <a:spLocks/>
          </p:cNvSpPr>
          <p:nvPr/>
        </p:nvSpPr>
        <p:spPr>
          <a:xfrm>
            <a:off x="616666" y="1600201"/>
            <a:ext cx="10975658" cy="4572000"/>
          </a:xfrm>
          <a:prstGeom prst="rect">
            <a:avLst/>
          </a:prstGeom>
        </p:spPr>
        <p:txBody>
          <a:bodyPr/>
          <a:lstStyle>
            <a:lvl1pPr marL="228611" indent="-228611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5325" indent="-190510" algn="l" defTabSz="6096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2038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6853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69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76484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81299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86114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90930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itchFamily="34" charset="0"/>
              <a:buNone/>
            </a:pPr>
            <a:r>
              <a:rPr lang="en-US" sz="2400">
                <a:solidFill>
                  <a:srgbClr val="00008B"/>
                </a:solidFill>
                <a:latin typeface="Consolas" panose="020B0609020204030204" pitchFamily="49" charset="0"/>
              </a:rPr>
              <a:t>function</a:t>
            </a:r>
            <a:r>
              <a:rPr lang="en-US" sz="240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400">
                <a:solidFill>
                  <a:srgbClr val="0000FF"/>
                </a:solidFill>
                <a:latin typeface="Consolas" panose="020B0609020204030204" pitchFamily="49" charset="0"/>
              </a:rPr>
              <a:t>prompt</a:t>
            </a:r>
            <a:br>
              <a:rPr lang="en-US" sz="2400">
                <a:solidFill>
                  <a:srgbClr val="333333"/>
                </a:solidFill>
                <a:latin typeface="Consolas" panose="020B0609020204030204" pitchFamily="49" charset="0"/>
              </a:rPr>
            </a:br>
            <a:r>
              <a:rPr lang="en-US" sz="240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  <a:br>
              <a:rPr lang="en-US" sz="2400">
                <a:solidFill>
                  <a:srgbClr val="333333"/>
                </a:solidFill>
                <a:latin typeface="Consolas" panose="020B0609020204030204" pitchFamily="49" charset="0"/>
              </a:rPr>
            </a:br>
            <a:r>
              <a:rPr lang="en-US" sz="2400" i="1">
                <a:solidFill>
                  <a:srgbClr val="006400"/>
                </a:solidFill>
                <a:latin typeface="Consolas" panose="020B0609020204030204" pitchFamily="49" charset="0"/>
              </a:rPr>
              <a:t>  # Shorted PWD</a:t>
            </a:r>
            <a:br>
              <a:rPr lang="en-US" sz="2400" i="1">
                <a:solidFill>
                  <a:srgbClr val="333333"/>
                </a:solidFill>
                <a:latin typeface="Consolas" panose="020B0609020204030204" pitchFamily="49" charset="0"/>
              </a:rPr>
            </a:br>
            <a:r>
              <a:rPr lang="en-US" sz="2400">
                <a:solidFill>
                  <a:srgbClr val="000000"/>
                </a:solidFill>
                <a:latin typeface="Consolas" panose="020B0609020204030204" pitchFamily="49" charset="0"/>
              </a:rPr>
              <a:t>  $</a:t>
            </a:r>
            <a:r>
              <a:rPr lang="en-US" sz="2400">
                <a:solidFill>
                  <a:srgbClr val="FF4500"/>
                </a:solidFill>
                <a:latin typeface="Consolas" panose="020B0609020204030204" pitchFamily="49" charset="0"/>
              </a:rPr>
              <a:t>path</a:t>
            </a:r>
            <a:r>
              <a:rPr lang="en-US" sz="240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400">
                <a:solidFill>
                  <a:srgbClr val="A9A9A9"/>
                </a:solidFill>
                <a:latin typeface="Consolas" panose="020B0609020204030204" pitchFamily="49" charset="0"/>
              </a:rPr>
              <a:t>=</a:t>
            </a:r>
            <a:r>
              <a:rPr lang="en-US" sz="240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400">
                <a:solidFill>
                  <a:srgbClr val="000000"/>
                </a:solidFill>
                <a:latin typeface="Consolas" panose="020B0609020204030204" pitchFamily="49" charset="0"/>
              </a:rPr>
              <a:t>$</a:t>
            </a:r>
            <a:r>
              <a:rPr lang="en-US" sz="2400">
                <a:solidFill>
                  <a:srgbClr val="FF4500"/>
                </a:solidFill>
                <a:latin typeface="Consolas" panose="020B0609020204030204" pitchFamily="49" charset="0"/>
              </a:rPr>
              <a:t>pwd.Path.Split</a:t>
            </a:r>
            <a:r>
              <a:rPr lang="en-US" sz="2400">
                <a:solidFill>
                  <a:srgbClr val="000000"/>
                </a:solidFill>
                <a:latin typeface="Consolas" panose="020B0609020204030204" pitchFamily="49" charset="0"/>
              </a:rPr>
              <a:t>(‘</a:t>
            </a:r>
            <a:r>
              <a:rPr lang="en-US" sz="2400">
                <a:solidFill>
                  <a:srgbClr val="8B0000"/>
                </a:solidFill>
                <a:latin typeface="Consolas" panose="020B0609020204030204" pitchFamily="49" charset="0"/>
              </a:rPr>
              <a:t>\</a:t>
            </a:r>
            <a:r>
              <a:rPr lang="en-US" sz="2400">
                <a:solidFill>
                  <a:srgbClr val="000000"/>
                </a:solidFill>
                <a:latin typeface="Consolas" panose="020B0609020204030204" pitchFamily="49" charset="0"/>
              </a:rPr>
              <a:t>’)</a:t>
            </a:r>
            <a:br>
              <a:rPr lang="en-US" sz="2400">
                <a:solidFill>
                  <a:srgbClr val="333333"/>
                </a:solidFill>
                <a:latin typeface="Consolas" panose="020B0609020204030204" pitchFamily="49" charset="0"/>
              </a:rPr>
            </a:br>
            <a:r>
              <a:rPr lang="en-US" sz="2400">
                <a:solidFill>
                  <a:srgbClr val="00008B"/>
                </a:solidFill>
                <a:latin typeface="Consolas" panose="020B0609020204030204" pitchFamily="49" charset="0"/>
              </a:rPr>
              <a:t>  if</a:t>
            </a:r>
            <a:r>
              <a:rPr lang="en-US" sz="240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400">
                <a:solidFill>
                  <a:srgbClr val="000000"/>
                </a:solidFill>
                <a:latin typeface="Consolas" panose="020B0609020204030204" pitchFamily="49" charset="0"/>
              </a:rPr>
              <a:t>($</a:t>
            </a:r>
            <a:r>
              <a:rPr lang="en-US" sz="2400">
                <a:solidFill>
                  <a:srgbClr val="FF4500"/>
                </a:solidFill>
                <a:latin typeface="Consolas" panose="020B0609020204030204" pitchFamily="49" charset="0"/>
              </a:rPr>
              <a:t>path.Count</a:t>
            </a:r>
            <a:r>
              <a:rPr lang="en-US" sz="240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400">
                <a:solidFill>
                  <a:srgbClr val="A9A9A9"/>
                </a:solidFill>
                <a:latin typeface="Consolas" panose="020B0609020204030204" pitchFamily="49" charset="0"/>
              </a:rPr>
              <a:t>-gt</a:t>
            </a:r>
            <a:r>
              <a:rPr lang="en-US" sz="240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400">
                <a:solidFill>
                  <a:srgbClr val="800080"/>
                </a:solidFill>
                <a:latin typeface="Consolas" panose="020B0609020204030204" pitchFamily="49" charset="0"/>
              </a:rPr>
              <a:t>3</a:t>
            </a:r>
            <a:r>
              <a:rPr lang="en-US" sz="2400">
                <a:solidFill>
                  <a:srgbClr val="000000"/>
                </a:solidFill>
                <a:latin typeface="Consolas" panose="020B0609020204030204" pitchFamily="49" charset="0"/>
              </a:rPr>
              <a:t>)</a:t>
            </a:r>
            <a:br>
              <a:rPr lang="en-US" sz="2400">
                <a:solidFill>
                  <a:srgbClr val="333333"/>
                </a:solidFill>
                <a:latin typeface="Consolas" panose="020B0609020204030204" pitchFamily="49" charset="0"/>
              </a:rPr>
            </a:br>
            <a:r>
              <a:rPr lang="en-US" sz="2400">
                <a:solidFill>
                  <a:srgbClr val="000000"/>
                </a:solidFill>
                <a:latin typeface="Consolas" panose="020B0609020204030204" pitchFamily="49" charset="0"/>
              </a:rPr>
              <a:t>  {</a:t>
            </a:r>
            <a:br>
              <a:rPr lang="en-US" sz="2400">
                <a:solidFill>
                  <a:srgbClr val="333333"/>
                </a:solidFill>
                <a:latin typeface="Consolas" panose="020B0609020204030204" pitchFamily="49" charset="0"/>
              </a:rPr>
            </a:br>
            <a:r>
              <a:rPr lang="en-US" sz="2400">
                <a:solidFill>
                  <a:srgbClr val="000000"/>
                </a:solidFill>
                <a:latin typeface="Consolas" panose="020B0609020204030204" pitchFamily="49" charset="0"/>
              </a:rPr>
              <a:t>    $</a:t>
            </a:r>
            <a:r>
              <a:rPr lang="en-US" sz="2400">
                <a:solidFill>
                  <a:srgbClr val="FF4500"/>
                </a:solidFill>
                <a:latin typeface="Consolas" panose="020B0609020204030204" pitchFamily="49" charset="0"/>
              </a:rPr>
              <a:t>path</a:t>
            </a:r>
            <a:r>
              <a:rPr lang="en-US" sz="240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400">
                <a:solidFill>
                  <a:srgbClr val="A9A9A9"/>
                </a:solidFill>
                <a:latin typeface="Consolas" panose="020B0609020204030204" pitchFamily="49" charset="0"/>
              </a:rPr>
              <a:t>=</a:t>
            </a:r>
            <a:r>
              <a:rPr lang="en-US" sz="240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400">
                <a:solidFill>
                  <a:srgbClr val="000000"/>
                </a:solidFill>
                <a:latin typeface="Consolas" panose="020B0609020204030204" pitchFamily="49" charset="0"/>
              </a:rPr>
              <a:t>$</a:t>
            </a:r>
            <a:r>
              <a:rPr lang="en-US" sz="2400">
                <a:solidFill>
                  <a:srgbClr val="FF4500"/>
                </a:solidFill>
                <a:latin typeface="Consolas" panose="020B0609020204030204" pitchFamily="49" charset="0"/>
              </a:rPr>
              <a:t>path</a:t>
            </a:r>
            <a:r>
              <a:rPr lang="en-US" sz="240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en-US" sz="2400">
                <a:solidFill>
                  <a:srgbClr val="800080"/>
                </a:solidFill>
                <a:latin typeface="Consolas" panose="020B0609020204030204" pitchFamily="49" charset="0"/>
              </a:rPr>
              <a:t>0</a:t>
            </a:r>
            <a:r>
              <a:rPr lang="en-US" sz="240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r>
              <a:rPr lang="en-US" sz="2400">
                <a:solidFill>
                  <a:srgbClr val="A9A9A9"/>
                </a:solidFill>
                <a:latin typeface="Consolas" panose="020B0609020204030204" pitchFamily="49" charset="0"/>
              </a:rPr>
              <a:t>,</a:t>
            </a:r>
            <a:r>
              <a:rPr lang="en-US" sz="240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400">
                <a:solidFill>
                  <a:srgbClr val="000000"/>
                </a:solidFill>
                <a:latin typeface="Consolas" panose="020B0609020204030204" pitchFamily="49" charset="0"/>
              </a:rPr>
              <a:t>'</a:t>
            </a:r>
            <a:r>
              <a:rPr lang="en-US" sz="2400">
                <a:solidFill>
                  <a:srgbClr val="8B0000"/>
                </a:solidFill>
                <a:latin typeface="Consolas" panose="020B0609020204030204" pitchFamily="49" charset="0"/>
              </a:rPr>
              <a:t>..</a:t>
            </a:r>
            <a:r>
              <a:rPr lang="en-US" sz="2400">
                <a:solidFill>
                  <a:srgbClr val="000000"/>
                </a:solidFill>
                <a:latin typeface="Consolas" panose="020B0609020204030204" pitchFamily="49" charset="0"/>
              </a:rPr>
              <a:t>'</a:t>
            </a:r>
            <a:r>
              <a:rPr lang="en-US" sz="2400">
                <a:solidFill>
                  <a:srgbClr val="A9A9A9"/>
                </a:solidFill>
                <a:latin typeface="Consolas" panose="020B0609020204030204" pitchFamily="49" charset="0"/>
              </a:rPr>
              <a:t>,</a:t>
            </a:r>
            <a:r>
              <a:rPr lang="en-US" sz="240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400">
                <a:solidFill>
                  <a:srgbClr val="000000"/>
                </a:solidFill>
                <a:latin typeface="Consolas" panose="020B0609020204030204" pitchFamily="49" charset="0"/>
              </a:rPr>
              <a:t>$</a:t>
            </a:r>
            <a:r>
              <a:rPr lang="en-US" sz="2400">
                <a:solidFill>
                  <a:srgbClr val="FF4500"/>
                </a:solidFill>
                <a:latin typeface="Consolas" panose="020B0609020204030204" pitchFamily="49" charset="0"/>
              </a:rPr>
              <a:t>path</a:t>
            </a:r>
            <a:r>
              <a:rPr lang="en-US" sz="240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en-US" sz="2400">
                <a:solidFill>
                  <a:srgbClr val="800080"/>
                </a:solidFill>
                <a:latin typeface="Consolas" panose="020B0609020204030204" pitchFamily="49" charset="0"/>
              </a:rPr>
              <a:t>-2</a:t>
            </a:r>
            <a:r>
              <a:rPr lang="en-US" sz="240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r>
              <a:rPr lang="en-US" sz="2400">
                <a:solidFill>
                  <a:srgbClr val="A9A9A9"/>
                </a:solidFill>
                <a:latin typeface="Consolas" panose="020B0609020204030204" pitchFamily="49" charset="0"/>
              </a:rPr>
              <a:t>,</a:t>
            </a:r>
            <a:r>
              <a:rPr lang="en-US" sz="240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400">
                <a:solidFill>
                  <a:srgbClr val="000000"/>
                </a:solidFill>
                <a:latin typeface="Consolas" panose="020B0609020204030204" pitchFamily="49" charset="0"/>
              </a:rPr>
              <a:t>$</a:t>
            </a:r>
            <a:r>
              <a:rPr lang="en-US" sz="2400">
                <a:solidFill>
                  <a:srgbClr val="FF4500"/>
                </a:solidFill>
                <a:latin typeface="Consolas" panose="020B0609020204030204" pitchFamily="49" charset="0"/>
              </a:rPr>
              <a:t>path</a:t>
            </a:r>
            <a:r>
              <a:rPr lang="en-US" sz="240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en-US" sz="2400">
                <a:solidFill>
                  <a:srgbClr val="800080"/>
                </a:solidFill>
                <a:latin typeface="Consolas" panose="020B0609020204030204" pitchFamily="49" charset="0"/>
              </a:rPr>
              <a:t>-1</a:t>
            </a:r>
            <a:r>
              <a:rPr lang="en-US" sz="240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br>
              <a:rPr lang="en-US" sz="2400">
                <a:solidFill>
                  <a:srgbClr val="333333"/>
                </a:solidFill>
                <a:latin typeface="Consolas" panose="020B0609020204030204" pitchFamily="49" charset="0"/>
              </a:rPr>
            </a:br>
            <a:r>
              <a:rPr lang="en-US" sz="2400">
                <a:solidFill>
                  <a:srgbClr val="000000"/>
                </a:solidFill>
                <a:latin typeface="Consolas" panose="020B0609020204030204" pitchFamily="49" charset="0"/>
              </a:rPr>
              <a:t>  }</a:t>
            </a:r>
            <a:br>
              <a:rPr lang="en-US" sz="2400">
                <a:solidFill>
                  <a:srgbClr val="333333"/>
                </a:solidFill>
                <a:latin typeface="Consolas" panose="020B0609020204030204" pitchFamily="49" charset="0"/>
              </a:rPr>
            </a:br>
            <a:r>
              <a:rPr lang="en-US" sz="2400">
                <a:solidFill>
                  <a:srgbClr val="0000FF"/>
                </a:solidFill>
                <a:latin typeface="Consolas" panose="020B0609020204030204" pitchFamily="49" charset="0"/>
              </a:rPr>
              <a:t>  Write-Host</a:t>
            </a:r>
            <a:r>
              <a:rPr lang="en-US" sz="240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400">
                <a:solidFill>
                  <a:srgbClr val="A9A9A9"/>
                </a:solidFill>
                <a:latin typeface="Consolas" panose="020B0609020204030204" pitchFamily="49" charset="0"/>
              </a:rPr>
              <a:t>-</a:t>
            </a:r>
            <a:r>
              <a:rPr lang="en-US" sz="2400">
                <a:solidFill>
                  <a:srgbClr val="333333"/>
                </a:solidFill>
                <a:latin typeface="Consolas" panose="020B0609020204030204" pitchFamily="49" charset="0"/>
              </a:rPr>
              <a:t>Object </a:t>
            </a:r>
            <a:r>
              <a:rPr lang="en-US" sz="2400">
                <a:solidFill>
                  <a:srgbClr val="000000"/>
                </a:solidFill>
                <a:latin typeface="Consolas" panose="020B0609020204030204" pitchFamily="49" charset="0"/>
              </a:rPr>
              <a:t>"$($</a:t>
            </a:r>
            <a:r>
              <a:rPr lang="en-US" sz="2400">
                <a:solidFill>
                  <a:srgbClr val="FF4500"/>
                </a:solidFill>
                <a:latin typeface="Consolas" panose="020B0609020204030204" pitchFamily="49" charset="0"/>
              </a:rPr>
              <a:t>path</a:t>
            </a:r>
            <a:r>
              <a:rPr lang="en-US" sz="2400">
                <a:solidFill>
                  <a:srgbClr val="8B0000"/>
                </a:solidFill>
                <a:latin typeface="Consolas" panose="020B0609020204030204" pitchFamily="49" charset="0"/>
              </a:rPr>
              <a:t> </a:t>
            </a:r>
            <a:r>
              <a:rPr lang="en-US" sz="2400">
                <a:solidFill>
                  <a:srgbClr val="A9A9A9"/>
                </a:solidFill>
                <a:latin typeface="Consolas" panose="020B0609020204030204" pitchFamily="49" charset="0"/>
              </a:rPr>
              <a:t>-join</a:t>
            </a:r>
            <a:r>
              <a:rPr lang="en-US" sz="2400">
                <a:solidFill>
                  <a:srgbClr val="8B0000"/>
                </a:solidFill>
                <a:latin typeface="Consolas" panose="020B0609020204030204" pitchFamily="49" charset="0"/>
              </a:rPr>
              <a:t> </a:t>
            </a:r>
            <a:r>
              <a:rPr lang="en-US" sz="2400">
                <a:solidFill>
                  <a:srgbClr val="000000"/>
                </a:solidFill>
                <a:latin typeface="Consolas" panose="020B0609020204030204" pitchFamily="49" charset="0"/>
              </a:rPr>
              <a:t>'</a:t>
            </a:r>
            <a:r>
              <a:rPr lang="en-US" sz="2400">
                <a:solidFill>
                  <a:srgbClr val="8B0000"/>
                </a:solidFill>
                <a:latin typeface="Consolas" panose="020B0609020204030204" pitchFamily="49" charset="0"/>
              </a:rPr>
              <a:t>\</a:t>
            </a:r>
            <a:r>
              <a:rPr lang="en-US" sz="2400">
                <a:solidFill>
                  <a:srgbClr val="000000"/>
                </a:solidFill>
                <a:latin typeface="Consolas" panose="020B0609020204030204" pitchFamily="49" charset="0"/>
              </a:rPr>
              <a:t>')"</a:t>
            </a:r>
            <a:r>
              <a:rPr lang="en-US" sz="2400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2400">
                <a:solidFill>
                  <a:srgbClr val="A9A9A9"/>
                </a:solidFill>
                <a:latin typeface="Consolas" panose="020B0609020204030204" pitchFamily="49" charset="0"/>
              </a:rPr>
              <a:t>–</a:t>
            </a:r>
            <a:r>
              <a:rPr lang="en-US" sz="2400">
                <a:solidFill>
                  <a:srgbClr val="333333"/>
                </a:solidFill>
                <a:latin typeface="Consolas" panose="020B0609020204030204" pitchFamily="49" charset="0"/>
              </a:rPr>
              <a:t>NoNewline</a:t>
            </a:r>
            <a:br>
              <a:rPr lang="en-US" sz="2400">
                <a:solidFill>
                  <a:srgbClr val="333333"/>
                </a:solidFill>
                <a:latin typeface="Consolas" panose="020B0609020204030204" pitchFamily="49" charset="0"/>
              </a:rPr>
            </a:br>
            <a:r>
              <a:rPr lang="en-US" sz="2400">
                <a:solidFill>
                  <a:srgbClr val="333333"/>
                </a:solidFill>
                <a:latin typeface="Consolas" panose="020B0609020204030204" pitchFamily="49" charset="0"/>
              </a:rPr>
              <a:t>}</a:t>
            </a:r>
            <a:endParaRPr lang="en-US" sz="2400" dirty="0">
              <a:solidFill>
                <a:srgbClr val="333333"/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8284927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D1A82B1-03AA-D34C-8CA3-C48EF3E9A84D}"/>
              </a:ext>
            </a:extLst>
          </p:cNvPr>
          <p:cNvSpPr txBox="1"/>
          <p:nvPr/>
        </p:nvSpPr>
        <p:spPr>
          <a:xfrm>
            <a:off x="139148" y="715617"/>
            <a:ext cx="1158902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t Your Fingertips</a:t>
            </a:r>
          </a:p>
        </p:txBody>
      </p:sp>
      <p:sp>
        <p:nvSpPr>
          <p:cNvPr id="3" name="Content Placeholder 4">
            <a:extLst>
              <a:ext uri="{FF2B5EF4-FFF2-40B4-BE49-F238E27FC236}">
                <a16:creationId xmlns:a16="http://schemas.microsoft.com/office/drawing/2014/main" id="{2659516E-727D-014D-9266-AAD5457FBB8D}"/>
              </a:ext>
            </a:extLst>
          </p:cNvPr>
          <p:cNvSpPr txBox="1">
            <a:spLocks/>
          </p:cNvSpPr>
          <p:nvPr/>
        </p:nvSpPr>
        <p:spPr>
          <a:xfrm>
            <a:off x="616666" y="1600201"/>
            <a:ext cx="10975658" cy="4572000"/>
          </a:xfrm>
          <a:prstGeom prst="rect">
            <a:avLst/>
          </a:prstGeom>
        </p:spPr>
        <p:txBody>
          <a:bodyPr/>
          <a:lstStyle>
            <a:lvl1pPr marL="228611" indent="-228611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5325" indent="-190510" algn="l" defTabSz="6096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2038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6853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69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76484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81299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86114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90930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itchFamily="34" charset="0"/>
              <a:buNone/>
            </a:pPr>
            <a:r>
              <a:rPr lang="en-US" sz="1999">
                <a:solidFill>
                  <a:srgbClr val="00008B"/>
                </a:solidFill>
                <a:latin typeface="Consolas" panose="020B0609020204030204" pitchFamily="49" charset="0"/>
              </a:rPr>
              <a:t>if</a:t>
            </a:r>
            <a:r>
              <a:rPr lang="en-US" sz="1999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>
                <a:solidFill>
                  <a:srgbClr val="000000"/>
                </a:solidFill>
                <a:latin typeface="Consolas" panose="020B0609020204030204" pitchFamily="49" charset="0"/>
              </a:rPr>
              <a:t>($</a:t>
            </a:r>
            <a:r>
              <a:rPr lang="en-US" sz="1999">
                <a:solidFill>
                  <a:srgbClr val="00008B"/>
                </a:solidFill>
                <a:latin typeface="Consolas" panose="020B0609020204030204" pitchFamily="49" charset="0"/>
              </a:rPr>
              <a:t>global</a:t>
            </a:r>
            <a:r>
              <a:rPr lang="en-US" sz="1999">
                <a:solidFill>
                  <a:srgbClr val="FF4500"/>
                </a:solidFill>
                <a:latin typeface="Consolas" panose="020B0609020204030204" pitchFamily="49" charset="0"/>
              </a:rPr>
              <a:t>:defaultviserver</a:t>
            </a:r>
            <a:r>
              <a:rPr lang="en-US" sz="1999">
                <a:solidFill>
                  <a:srgbClr val="000000"/>
                </a:solidFill>
                <a:latin typeface="Consolas" panose="020B0609020204030204" pitchFamily="49" charset="0"/>
              </a:rPr>
              <a:t>)</a:t>
            </a:r>
            <a:br>
              <a:rPr lang="en-US" sz="1999">
                <a:solidFill>
                  <a:srgbClr val="333333"/>
                </a:solidFill>
                <a:latin typeface="Consolas" panose="020B0609020204030204" pitchFamily="49" charset="0"/>
              </a:rPr>
            </a:br>
            <a:r>
              <a:rPr lang="en-US" sz="1999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  <a:br>
              <a:rPr lang="en-US" sz="1999">
                <a:solidFill>
                  <a:srgbClr val="333333"/>
                </a:solidFill>
                <a:latin typeface="Consolas" panose="020B0609020204030204" pitchFamily="49" charset="0"/>
              </a:rPr>
            </a:br>
            <a:r>
              <a:rPr lang="en-US" sz="1999">
                <a:solidFill>
                  <a:srgbClr val="000000"/>
                </a:solidFill>
                <a:latin typeface="Consolas" panose="020B0609020204030204" pitchFamily="49" charset="0"/>
              </a:rPr>
              <a:t>  $</a:t>
            </a:r>
            <a:r>
              <a:rPr lang="en-US" sz="1999">
                <a:solidFill>
                  <a:srgbClr val="FF4500"/>
                </a:solidFill>
                <a:latin typeface="Consolas" panose="020B0609020204030204" pitchFamily="49" charset="0"/>
              </a:rPr>
              <a:t>vcObj</a:t>
            </a:r>
            <a:r>
              <a:rPr lang="en-US" sz="1999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>
                <a:solidFill>
                  <a:srgbClr val="A9A9A9"/>
                </a:solidFill>
                <a:latin typeface="Consolas" panose="020B0609020204030204" pitchFamily="49" charset="0"/>
              </a:rPr>
              <a:t>=</a:t>
            </a:r>
            <a:r>
              <a:rPr lang="en-US" sz="1999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999">
                <a:solidFill>
                  <a:srgbClr val="0000FF"/>
                </a:solidFill>
                <a:latin typeface="Consolas" panose="020B0609020204030204" pitchFamily="49" charset="0"/>
              </a:rPr>
              <a:t>Get-Variable</a:t>
            </a:r>
            <a:r>
              <a:rPr lang="en-US" sz="1999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>
                <a:solidFill>
                  <a:srgbClr val="A9A9A9"/>
                </a:solidFill>
                <a:latin typeface="Consolas" panose="020B0609020204030204" pitchFamily="49" charset="0"/>
              </a:rPr>
              <a:t>-</a:t>
            </a:r>
            <a:r>
              <a:rPr lang="en-US" sz="1999">
                <a:solidFill>
                  <a:srgbClr val="333333"/>
                </a:solidFill>
                <a:latin typeface="Consolas" panose="020B0609020204030204" pitchFamily="49" charset="0"/>
              </a:rPr>
              <a:t>Scope global </a:t>
            </a:r>
            <a:r>
              <a:rPr lang="en-US" sz="1999">
                <a:solidFill>
                  <a:srgbClr val="A9A9A9"/>
                </a:solidFill>
                <a:latin typeface="Consolas" panose="020B0609020204030204" pitchFamily="49" charset="0"/>
              </a:rPr>
              <a:t>-</a:t>
            </a:r>
            <a:r>
              <a:rPr lang="en-US" sz="1999">
                <a:solidFill>
                  <a:srgbClr val="333333"/>
                </a:solidFill>
                <a:latin typeface="Consolas" panose="020B0609020204030204" pitchFamily="49" charset="0"/>
              </a:rPr>
              <a:t>Name </a:t>
            </a:r>
            <a:r>
              <a:rPr lang="en-US" sz="1999">
                <a:solidFill>
                  <a:srgbClr val="000000"/>
                </a:solidFill>
                <a:latin typeface="Consolas" panose="020B0609020204030204" pitchFamily="49" charset="0"/>
              </a:rPr>
              <a:t>'</a:t>
            </a:r>
            <a:r>
              <a:rPr lang="en-US" sz="1999">
                <a:solidFill>
                  <a:srgbClr val="8B0000"/>
                </a:solidFill>
                <a:latin typeface="Consolas" panose="020B0609020204030204" pitchFamily="49" charset="0"/>
              </a:rPr>
              <a:t>DefaultVIServer</a:t>
            </a:r>
            <a:r>
              <a:rPr lang="en-US" sz="1999">
                <a:solidFill>
                  <a:srgbClr val="000000"/>
                </a:solidFill>
                <a:latin typeface="Consolas" panose="020B0609020204030204" pitchFamily="49" charset="0"/>
              </a:rPr>
              <a:t>')</a:t>
            </a:r>
            <a:r>
              <a:rPr lang="en-US" sz="1999">
                <a:solidFill>
                  <a:srgbClr val="333333"/>
                </a:solidFill>
                <a:latin typeface="Consolas" panose="020B0609020204030204" pitchFamily="49" charset="0"/>
              </a:rPr>
              <a:t>.Value</a:t>
            </a:r>
            <a:br>
              <a:rPr lang="en-US" sz="1999">
                <a:solidFill>
                  <a:srgbClr val="333333"/>
                </a:solidFill>
                <a:latin typeface="Consolas" panose="020B0609020204030204" pitchFamily="49" charset="0"/>
              </a:rPr>
            </a:br>
            <a:r>
              <a:rPr lang="en-US" sz="1999">
                <a:solidFill>
                  <a:srgbClr val="00008B"/>
                </a:solidFill>
                <a:latin typeface="Consolas" panose="020B0609020204030204" pitchFamily="49" charset="0"/>
              </a:rPr>
              <a:t>  if</a:t>
            </a:r>
            <a:r>
              <a:rPr lang="en-US" sz="1999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>
                <a:solidFill>
                  <a:srgbClr val="000000"/>
                </a:solidFill>
                <a:latin typeface="Consolas" panose="020B0609020204030204" pitchFamily="49" charset="0"/>
              </a:rPr>
              <a:t>($</a:t>
            </a:r>
            <a:r>
              <a:rPr lang="en-US" sz="1999">
                <a:solidFill>
                  <a:srgbClr val="FF4500"/>
                </a:solidFill>
                <a:latin typeface="Consolas" panose="020B0609020204030204" pitchFamily="49" charset="0"/>
              </a:rPr>
              <a:t>vcObj.ProductLine</a:t>
            </a:r>
            <a:r>
              <a:rPr lang="en-US" sz="1999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>
                <a:solidFill>
                  <a:srgbClr val="A9A9A9"/>
                </a:solidFill>
                <a:latin typeface="Consolas" panose="020B0609020204030204" pitchFamily="49" charset="0"/>
              </a:rPr>
              <a:t>-eq</a:t>
            </a:r>
            <a:r>
              <a:rPr lang="en-US" sz="1999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>
                <a:solidFill>
                  <a:srgbClr val="000000"/>
                </a:solidFill>
                <a:latin typeface="Consolas" panose="020B0609020204030204" pitchFamily="49" charset="0"/>
              </a:rPr>
              <a:t>'</a:t>
            </a:r>
            <a:r>
              <a:rPr lang="en-US" sz="1999">
                <a:solidFill>
                  <a:srgbClr val="8B0000"/>
                </a:solidFill>
                <a:latin typeface="Consolas" panose="020B0609020204030204" pitchFamily="49" charset="0"/>
              </a:rPr>
              <a:t>vpx</a:t>
            </a:r>
            <a:r>
              <a:rPr lang="en-US" sz="1999">
                <a:solidFill>
                  <a:srgbClr val="000000"/>
                </a:solidFill>
                <a:latin typeface="Consolas" panose="020B0609020204030204" pitchFamily="49" charset="0"/>
              </a:rPr>
              <a:t>’){ $</a:t>
            </a:r>
            <a:r>
              <a:rPr lang="en-US" sz="1999">
                <a:solidFill>
                  <a:srgbClr val="FF4500"/>
                </a:solidFill>
                <a:latin typeface="Consolas" panose="020B0609020204030204" pitchFamily="49" charset="0"/>
              </a:rPr>
              <a:t>vcSrv</a:t>
            </a:r>
            <a:r>
              <a:rPr lang="en-US" sz="1999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>
                <a:solidFill>
                  <a:srgbClr val="A9A9A9"/>
                </a:solidFill>
                <a:latin typeface="Consolas" panose="020B0609020204030204" pitchFamily="49" charset="0"/>
              </a:rPr>
              <a:t>=</a:t>
            </a:r>
            <a:r>
              <a:rPr lang="en-US" sz="1999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>
                <a:solidFill>
                  <a:srgbClr val="000000"/>
                </a:solidFill>
                <a:latin typeface="Consolas" panose="020B0609020204030204" pitchFamily="49" charset="0"/>
              </a:rPr>
              <a:t>'</a:t>
            </a:r>
            <a:r>
              <a:rPr lang="en-US" sz="1999">
                <a:solidFill>
                  <a:srgbClr val="8B0000"/>
                </a:solidFill>
                <a:latin typeface="Consolas" panose="020B0609020204030204" pitchFamily="49" charset="0"/>
              </a:rPr>
              <a:t>VC</a:t>
            </a:r>
            <a:r>
              <a:rPr lang="en-US" sz="1999">
                <a:solidFill>
                  <a:srgbClr val="000000"/>
                </a:solidFill>
                <a:latin typeface="Consolas" panose="020B0609020204030204" pitchFamily="49" charset="0"/>
              </a:rPr>
              <a:t>’ }</a:t>
            </a:r>
            <a:br>
              <a:rPr lang="en-US" sz="1999">
                <a:solidFill>
                  <a:srgbClr val="333333"/>
                </a:solidFill>
                <a:latin typeface="Consolas" panose="020B0609020204030204" pitchFamily="49" charset="0"/>
              </a:rPr>
            </a:br>
            <a:r>
              <a:rPr lang="en-US" sz="1999">
                <a:solidFill>
                  <a:srgbClr val="00008B"/>
                </a:solidFill>
                <a:latin typeface="Consolas" panose="020B0609020204030204" pitchFamily="49" charset="0"/>
              </a:rPr>
              <a:t>  else</a:t>
            </a:r>
            <a:r>
              <a:rPr lang="en-US" sz="1999">
                <a:solidFill>
                  <a:srgbClr val="000000"/>
                </a:solidFill>
                <a:latin typeface="Consolas" panose="020B0609020204030204" pitchFamily="49" charset="0"/>
              </a:rPr>
              <a:t>{ $</a:t>
            </a:r>
            <a:r>
              <a:rPr lang="en-US" sz="1999">
                <a:solidFill>
                  <a:srgbClr val="FF4500"/>
                </a:solidFill>
                <a:latin typeface="Consolas" panose="020B0609020204030204" pitchFamily="49" charset="0"/>
              </a:rPr>
              <a:t>vcSrv</a:t>
            </a:r>
            <a:r>
              <a:rPr lang="en-US" sz="1999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>
                <a:solidFill>
                  <a:srgbClr val="A9A9A9"/>
                </a:solidFill>
                <a:latin typeface="Consolas" panose="020B0609020204030204" pitchFamily="49" charset="0"/>
              </a:rPr>
              <a:t>=</a:t>
            </a:r>
            <a:r>
              <a:rPr lang="en-US" sz="1999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>
                <a:solidFill>
                  <a:srgbClr val="000000"/>
                </a:solidFill>
                <a:latin typeface="Consolas" panose="020B0609020204030204" pitchFamily="49" charset="0"/>
              </a:rPr>
              <a:t>'</a:t>
            </a:r>
            <a:r>
              <a:rPr lang="en-US" sz="1999">
                <a:solidFill>
                  <a:srgbClr val="8B0000"/>
                </a:solidFill>
                <a:latin typeface="Consolas" panose="020B0609020204030204" pitchFamily="49" charset="0"/>
              </a:rPr>
              <a:t>ESXi</a:t>
            </a:r>
            <a:r>
              <a:rPr lang="en-US" sz="1999">
                <a:solidFill>
                  <a:srgbClr val="000000"/>
                </a:solidFill>
                <a:latin typeface="Consolas" panose="020B0609020204030204" pitchFamily="49" charset="0"/>
              </a:rPr>
              <a:t>’ }</a:t>
            </a:r>
            <a:br>
              <a:rPr lang="en-US" sz="1999">
                <a:solidFill>
                  <a:srgbClr val="333333"/>
                </a:solidFill>
                <a:latin typeface="Consolas" panose="020B0609020204030204" pitchFamily="49" charset="0"/>
              </a:rPr>
            </a:br>
            <a:r>
              <a:rPr lang="en-US" sz="1999">
                <a:solidFill>
                  <a:srgbClr val="000000"/>
                </a:solidFill>
                <a:latin typeface="Consolas" panose="020B0609020204030204" pitchFamily="49" charset="0"/>
              </a:rPr>
              <a:t>  $</a:t>
            </a:r>
            <a:r>
              <a:rPr lang="en-US" sz="1999">
                <a:solidFill>
                  <a:srgbClr val="FF4500"/>
                </a:solidFill>
                <a:latin typeface="Consolas" panose="020B0609020204030204" pitchFamily="49" charset="0"/>
              </a:rPr>
              <a:t>vc</a:t>
            </a:r>
            <a:r>
              <a:rPr lang="en-US" sz="1999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>
                <a:solidFill>
                  <a:srgbClr val="A9A9A9"/>
                </a:solidFill>
                <a:latin typeface="Consolas" panose="020B0609020204030204" pitchFamily="49" charset="0"/>
              </a:rPr>
              <a:t>=</a:t>
            </a:r>
            <a:r>
              <a:rPr lang="en-US" sz="1999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r>
              <a:rPr lang="en-US" sz="1999">
                <a:solidFill>
                  <a:srgbClr val="8B0000"/>
                </a:solidFill>
                <a:latin typeface="Consolas" panose="020B0609020204030204" pitchFamily="49" charset="0"/>
              </a:rPr>
              <a:t> - </a:t>
            </a:r>
            <a:r>
              <a:rPr lang="en-US" sz="1999">
                <a:solidFill>
                  <a:srgbClr val="000000"/>
                </a:solidFill>
                <a:latin typeface="Consolas" panose="020B0609020204030204" pitchFamily="49" charset="0"/>
              </a:rPr>
              <a:t>$($</a:t>
            </a:r>
            <a:r>
              <a:rPr lang="en-US" sz="1999">
                <a:solidFill>
                  <a:srgbClr val="FF4500"/>
                </a:solidFill>
                <a:latin typeface="Consolas" panose="020B0609020204030204" pitchFamily="49" charset="0"/>
              </a:rPr>
              <a:t>vcSrv</a:t>
            </a:r>
            <a:r>
              <a:rPr lang="en-US" sz="1999">
                <a:solidFill>
                  <a:srgbClr val="000000"/>
                </a:solidFill>
                <a:latin typeface="Consolas" panose="020B0609020204030204" pitchFamily="49" charset="0"/>
              </a:rPr>
              <a:t>)</a:t>
            </a:r>
            <a:r>
              <a:rPr lang="en-US" sz="1999">
                <a:solidFill>
                  <a:srgbClr val="8B0000"/>
                </a:solidFill>
                <a:latin typeface="Consolas" panose="020B0609020204030204" pitchFamily="49" charset="0"/>
              </a:rPr>
              <a:t>: </a:t>
            </a:r>
            <a:r>
              <a:rPr lang="en-US" sz="1999">
                <a:solidFill>
                  <a:srgbClr val="000000"/>
                </a:solidFill>
                <a:latin typeface="Consolas" panose="020B0609020204030204" pitchFamily="49" charset="0"/>
              </a:rPr>
              <a:t>$($</a:t>
            </a:r>
            <a:r>
              <a:rPr lang="en-US" sz="1999">
                <a:solidFill>
                  <a:srgbClr val="FF4500"/>
                </a:solidFill>
                <a:latin typeface="Consolas" panose="020B0609020204030204" pitchFamily="49" charset="0"/>
              </a:rPr>
              <a:t>vcObj.Name</a:t>
            </a:r>
            <a:r>
              <a:rPr lang="en-US" sz="1999">
                <a:solidFill>
                  <a:srgbClr val="000000"/>
                </a:solidFill>
                <a:latin typeface="Consolas" panose="020B0609020204030204" pitchFamily="49" charset="0"/>
              </a:rPr>
              <a:t>)</a:t>
            </a:r>
            <a:r>
              <a:rPr lang="en-US" sz="1999">
                <a:solidFill>
                  <a:srgbClr val="8B0000"/>
                </a:solidFill>
                <a:latin typeface="Consolas" panose="020B0609020204030204" pitchFamily="49" charset="0"/>
              </a:rPr>
              <a:t>-</a:t>
            </a:r>
            <a:r>
              <a:rPr lang="en-US" sz="1999">
                <a:solidFill>
                  <a:srgbClr val="000000"/>
                </a:solidFill>
                <a:latin typeface="Consolas" panose="020B0609020204030204" pitchFamily="49" charset="0"/>
              </a:rPr>
              <a:t>$($</a:t>
            </a:r>
            <a:r>
              <a:rPr lang="en-US" sz="1999">
                <a:solidFill>
                  <a:srgbClr val="FF4500"/>
                </a:solidFill>
                <a:latin typeface="Consolas" panose="020B0609020204030204" pitchFamily="49" charset="0"/>
              </a:rPr>
              <a:t>vcObj.User</a:t>
            </a:r>
            <a:r>
              <a:rPr lang="en-US" sz="1999">
                <a:solidFill>
                  <a:srgbClr val="000000"/>
                </a:solidFill>
                <a:latin typeface="Consolas" panose="020B0609020204030204" pitchFamily="49" charset="0"/>
              </a:rPr>
              <a:t>)”</a:t>
            </a:r>
            <a:br>
              <a:rPr lang="en-US" sz="1999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en-US" sz="1999">
                <a:solidFill>
                  <a:srgbClr val="000000"/>
                </a:solidFill>
                <a:latin typeface="Consolas" panose="020B0609020204030204" pitchFamily="49" charset="0"/>
              </a:rPr>
              <a:t>  $</a:t>
            </a:r>
            <a:r>
              <a:rPr lang="en-US" sz="1999">
                <a:solidFill>
                  <a:srgbClr val="FF4500"/>
                </a:solidFill>
                <a:latin typeface="Consolas" panose="020B0609020204030204" pitchFamily="49" charset="0"/>
              </a:rPr>
              <a:t>vc</a:t>
            </a:r>
            <a:r>
              <a:rPr lang="en-US" sz="1999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>
                <a:solidFill>
                  <a:srgbClr val="A9A9A9"/>
                </a:solidFill>
                <a:latin typeface="Consolas" panose="020B0609020204030204" pitchFamily="49" charset="0"/>
              </a:rPr>
              <a:t>=</a:t>
            </a:r>
            <a:r>
              <a:rPr lang="en-US" sz="1999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>
                <a:solidFill>
                  <a:srgbClr val="000000"/>
                </a:solidFill>
                <a:latin typeface="Consolas" panose="020B0609020204030204" pitchFamily="49" charset="0"/>
              </a:rPr>
              <a:t>“</a:t>
            </a:r>
            <a:r>
              <a:rPr lang="en-US" sz="1999">
                <a:solidFill>
                  <a:srgbClr val="8B0000"/>
                </a:solidFill>
                <a:latin typeface="Consolas" panose="020B0609020204030204" pitchFamily="49" charset="0"/>
              </a:rPr>
              <a:t>[</a:t>
            </a:r>
            <a:r>
              <a:rPr lang="en-US" sz="1999">
                <a:solidFill>
                  <a:srgbClr val="000000"/>
                </a:solidFill>
                <a:latin typeface="Consolas" panose="020B0609020204030204" pitchFamily="49" charset="0"/>
              </a:rPr>
              <a:t>$($</a:t>
            </a:r>
            <a:r>
              <a:rPr lang="en-US" sz="1999">
                <a:solidFill>
                  <a:srgbClr val="00008B"/>
                </a:solidFill>
                <a:latin typeface="Consolas" panose="020B0609020204030204" pitchFamily="49" charset="0"/>
              </a:rPr>
              <a:t>global</a:t>
            </a:r>
            <a:r>
              <a:rPr lang="en-US" sz="1999">
                <a:solidFill>
                  <a:srgbClr val="FF4500"/>
                </a:solidFill>
                <a:latin typeface="Consolas" panose="020B0609020204030204" pitchFamily="49" charset="0"/>
              </a:rPr>
              <a:t>:DefaultVIServers.Count</a:t>
            </a:r>
            <a:r>
              <a:rPr lang="en-US" sz="1999">
                <a:solidFill>
                  <a:srgbClr val="000000"/>
                </a:solidFill>
                <a:latin typeface="Consolas" panose="020B0609020204030204" pitchFamily="49" charset="0"/>
              </a:rPr>
              <a:t>)</a:t>
            </a:r>
            <a:r>
              <a:rPr lang="en-US" sz="1999">
                <a:solidFill>
                  <a:srgbClr val="8B0000"/>
                </a:solidFill>
                <a:latin typeface="Consolas" panose="020B0609020204030204" pitchFamily="49" charset="0"/>
              </a:rPr>
              <a:t>]</a:t>
            </a:r>
            <a:r>
              <a:rPr lang="en-US" sz="1999">
                <a:solidFill>
                  <a:srgbClr val="000000"/>
                </a:solidFill>
                <a:latin typeface="Consolas" panose="020B0609020204030204" pitchFamily="49" charset="0"/>
              </a:rPr>
              <a:t>”</a:t>
            </a:r>
            <a:br>
              <a:rPr lang="en-US" sz="1999">
                <a:solidFill>
                  <a:srgbClr val="333333"/>
                </a:solidFill>
                <a:latin typeface="Consolas" panose="020B0609020204030204" pitchFamily="49" charset="0"/>
              </a:rPr>
            </a:br>
            <a:r>
              <a:rPr lang="en-US" sz="1999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  <a:endParaRPr lang="en-US" sz="1999">
              <a:solidFill>
                <a:srgbClr val="333333"/>
              </a:solidFill>
              <a:latin typeface="Consolas" panose="020B0609020204030204" pitchFamily="49" charset="0"/>
            </a:endParaRPr>
          </a:p>
          <a:p>
            <a:pPr>
              <a:buFont typeface="Arial" pitchFamily="34" charset="0"/>
              <a:buNone/>
            </a:pPr>
            <a:br>
              <a:rPr lang="en-US" sz="1999">
                <a:solidFill>
                  <a:srgbClr val="333333"/>
                </a:solidFill>
                <a:latin typeface="Consolas" panose="020B0609020204030204" pitchFamily="49" charset="0"/>
              </a:rPr>
            </a:br>
            <a:r>
              <a:rPr lang="en-US" sz="1999" i="1">
                <a:solidFill>
                  <a:srgbClr val="006400"/>
                </a:solidFill>
                <a:latin typeface="Consolas" panose="020B0609020204030204" pitchFamily="49" charset="0"/>
              </a:rPr>
              <a:t># Update the Window's title</a:t>
            </a:r>
            <a:br>
              <a:rPr lang="en-US" sz="1999" i="1">
                <a:solidFill>
                  <a:srgbClr val="333333"/>
                </a:solidFill>
                <a:latin typeface="Consolas" panose="020B0609020204030204" pitchFamily="49" charset="0"/>
              </a:rPr>
            </a:br>
            <a:r>
              <a:rPr lang="en-US" sz="1999">
                <a:solidFill>
                  <a:srgbClr val="000000"/>
                </a:solidFill>
                <a:latin typeface="Consolas" panose="020B0609020204030204" pitchFamily="49" charset="0"/>
              </a:rPr>
              <a:t>$</a:t>
            </a:r>
            <a:r>
              <a:rPr lang="en-US" sz="1999">
                <a:solidFill>
                  <a:srgbClr val="008080"/>
                </a:solidFill>
                <a:latin typeface="Consolas" panose="020B0609020204030204" pitchFamily="49" charset="0"/>
              </a:rPr>
              <a:t>host</a:t>
            </a:r>
            <a:r>
              <a:rPr lang="en-US" sz="1999">
                <a:solidFill>
                  <a:srgbClr val="FF4500"/>
                </a:solidFill>
                <a:latin typeface="Consolas" panose="020B0609020204030204" pitchFamily="49" charset="0"/>
              </a:rPr>
              <a:t>.ui.RawUI.WindowTitle</a:t>
            </a:r>
            <a:r>
              <a:rPr lang="en-US" sz="1999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>
                <a:solidFill>
                  <a:srgbClr val="A9A9A9"/>
                </a:solidFill>
                <a:latin typeface="Consolas" panose="020B0609020204030204" pitchFamily="49" charset="0"/>
              </a:rPr>
              <a:t>=</a:t>
            </a:r>
            <a:r>
              <a:rPr lang="en-US" sz="1999">
                <a:solidFill>
                  <a:srgbClr val="333333"/>
                </a:solidFill>
                <a:latin typeface="Consolas" panose="020B0609020204030204" pitchFamily="49" charset="0"/>
              </a:rPr>
              <a:t> </a:t>
            </a:r>
            <a:r>
              <a:rPr lang="en-US" sz="1999">
                <a:solidFill>
                  <a:srgbClr val="000000"/>
                </a:solidFill>
                <a:latin typeface="Consolas" panose="020B0609020204030204" pitchFamily="49" charset="0"/>
              </a:rPr>
              <a:t>"$</a:t>
            </a:r>
            <a:r>
              <a:rPr lang="en-US" sz="1999">
                <a:solidFill>
                  <a:srgbClr val="FF4500"/>
                </a:solidFill>
                <a:latin typeface="Consolas" panose="020B0609020204030204" pitchFamily="49" charset="0"/>
              </a:rPr>
              <a:t>user</a:t>
            </a:r>
            <a:r>
              <a:rPr lang="en-US" sz="1999">
                <a:solidFill>
                  <a:srgbClr val="000000"/>
                </a:solidFill>
                <a:latin typeface="Consolas" panose="020B0609020204030204" pitchFamily="49" charset="0"/>
              </a:rPr>
              <a:t>$</a:t>
            </a:r>
            <a:r>
              <a:rPr lang="en-US" sz="1999">
                <a:solidFill>
                  <a:srgbClr val="FF4500"/>
                </a:solidFill>
                <a:latin typeface="Consolas" panose="020B0609020204030204" pitchFamily="49" charset="0"/>
              </a:rPr>
              <a:t>ps</a:t>
            </a:r>
            <a:r>
              <a:rPr lang="en-US" sz="1999">
                <a:solidFill>
                  <a:srgbClr val="000000"/>
                </a:solidFill>
                <a:latin typeface="Consolas" panose="020B0609020204030204" pitchFamily="49" charset="0"/>
              </a:rPr>
              <a:t>$</a:t>
            </a:r>
            <a:r>
              <a:rPr lang="en-US" sz="1999">
                <a:solidFill>
                  <a:srgbClr val="FF4500"/>
                </a:solidFill>
                <a:latin typeface="Consolas" panose="020B0609020204030204" pitchFamily="49" charset="0"/>
              </a:rPr>
              <a:t>pcli</a:t>
            </a:r>
            <a:r>
              <a:rPr lang="en-US" sz="1999">
                <a:solidFill>
                  <a:srgbClr val="000000"/>
                </a:solidFill>
                <a:latin typeface="Consolas" panose="020B0609020204030204" pitchFamily="49" charset="0"/>
              </a:rPr>
              <a:t>$</a:t>
            </a:r>
            <a:r>
              <a:rPr lang="en-US" sz="1999">
                <a:solidFill>
                  <a:srgbClr val="FF4500"/>
                </a:solidFill>
                <a:latin typeface="Consolas" panose="020B0609020204030204" pitchFamily="49" charset="0"/>
              </a:rPr>
              <a:t>vc</a:t>
            </a:r>
            <a:r>
              <a:rPr lang="en-US" sz="1999">
                <a:solidFill>
                  <a:srgbClr val="000000"/>
                </a:solidFill>
                <a:latin typeface="Consolas" panose="020B0609020204030204" pitchFamily="49" charset="0"/>
              </a:rPr>
              <a:t>$</a:t>
            </a:r>
            <a:r>
              <a:rPr lang="en-US" sz="1999">
                <a:solidFill>
                  <a:srgbClr val="FF4500"/>
                </a:solidFill>
                <a:latin typeface="Consolas" panose="020B0609020204030204" pitchFamily="49" charset="0"/>
              </a:rPr>
              <a:t>gitStr</a:t>
            </a:r>
            <a:r>
              <a:rPr lang="en-US" sz="1999">
                <a:solidFill>
                  <a:srgbClr val="000000"/>
                </a:solidFill>
                <a:latin typeface="Consolas" panose="020B0609020204030204" pitchFamily="49" charset="0"/>
              </a:rPr>
              <a:t>"</a:t>
            </a:r>
            <a:endParaRPr lang="en-US" sz="1999" dirty="0">
              <a:solidFill>
                <a:srgbClr val="333333"/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8541425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D1A82B1-03AA-D34C-8CA3-C48EF3E9A84D}"/>
              </a:ext>
            </a:extLst>
          </p:cNvPr>
          <p:cNvSpPr txBox="1"/>
          <p:nvPr/>
        </p:nvSpPr>
        <p:spPr>
          <a:xfrm>
            <a:off x="139148" y="715617"/>
            <a:ext cx="1158902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t Your Fingertip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8557D81-8D0F-E948-9513-128F53692C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9569" y="1691141"/>
            <a:ext cx="6849228" cy="210923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98DCDAE-DF78-6A4B-8933-D3A592EF3F8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9569" y="4403471"/>
            <a:ext cx="9781456" cy="138071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57392516-1FB1-294D-A954-1DD1FC4F8755}"/>
              </a:ext>
            </a:extLst>
          </p:cNvPr>
          <p:cNvSpPr/>
          <p:nvPr/>
        </p:nvSpPr>
        <p:spPr>
          <a:xfrm>
            <a:off x="839571" y="1691141"/>
            <a:ext cx="866549" cy="36661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 dirty="0">
              <a:solidFill>
                <a:prstClr val="white"/>
              </a:solidFill>
              <a:latin typeface="Metropolis" panose="00000500000000000000" pitchFamily="2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1679964-3E63-D74C-A30A-B036FBAD8726}"/>
              </a:ext>
            </a:extLst>
          </p:cNvPr>
          <p:cNvSpPr/>
          <p:nvPr/>
        </p:nvSpPr>
        <p:spPr>
          <a:xfrm>
            <a:off x="3507897" y="4404144"/>
            <a:ext cx="1695514" cy="41025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 dirty="0">
              <a:solidFill>
                <a:prstClr val="white"/>
              </a:solidFill>
              <a:latin typeface="Metropoli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83298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</p:bld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nline Media 6" descr="VMworld19-Profile">
            <a:hlinkClick r:id="" action="ppaction://media"/>
            <a:extLst>
              <a:ext uri="{FF2B5EF4-FFF2-40B4-BE49-F238E27FC236}">
                <a16:creationId xmlns:a16="http://schemas.microsoft.com/office/drawing/2014/main" id="{143152E2-20C6-4D44-BF9A-3DD456A68646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495300" y="0"/>
            <a:ext cx="112014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57036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8839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 fullScrn="1">
              <p:cMediaNode vol="80000" mute="1">
                <p:cTn id="7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DC22B734-627C-BB4D-A867-50F356B4CB2F}"/>
              </a:ext>
            </a:extLst>
          </p:cNvPr>
          <p:cNvSpPr txBox="1"/>
          <p:nvPr/>
        </p:nvSpPr>
        <p:spPr>
          <a:xfrm>
            <a:off x="139148" y="715617"/>
            <a:ext cx="1158902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/>
              <a:t>Code Capture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10AAB9A6-7610-DF4A-BF7F-5D21DDF19679}"/>
              </a:ext>
            </a:extLst>
          </p:cNvPr>
          <p:cNvSpPr txBox="1">
            <a:spLocks/>
          </p:cNvSpPr>
          <p:nvPr/>
        </p:nvSpPr>
        <p:spPr>
          <a:xfrm>
            <a:off x="139147" y="1570383"/>
            <a:ext cx="4756943" cy="4572000"/>
          </a:xfrm>
          <a:prstGeom prst="rect">
            <a:avLst/>
          </a:prstGeom>
        </p:spPr>
        <p:txBody>
          <a:bodyPr/>
          <a:lstStyle>
            <a:lvl1pPr marL="228611" indent="-228611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5325" indent="-190510" algn="l" defTabSz="6096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2038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6853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69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76484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81299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86114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90930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itchFamily="34" charset="0"/>
              <a:buNone/>
            </a:pPr>
            <a:r>
              <a:rPr lang="en-US" sz="2400" dirty="0"/>
              <a:t>Turn UI Actions into Executable Code</a:t>
            </a:r>
          </a:p>
          <a:p>
            <a:pPr marL="285664" indent="-285664"/>
            <a:r>
              <a:rPr lang="en-US" sz="2400" dirty="0"/>
              <a:t>Available</a:t>
            </a:r>
          </a:p>
          <a:p>
            <a:pPr marL="742864" lvl="1" indent="-285664"/>
            <a:r>
              <a:rPr lang="en-US" sz="2000" dirty="0"/>
              <a:t>vSphere 6.7 U2</a:t>
            </a:r>
          </a:p>
          <a:p>
            <a:pPr marL="742727" lvl="1" indent="-285664"/>
            <a:r>
              <a:rPr lang="en-US" sz="2000" dirty="0"/>
              <a:t>vSphere HTML 5 Fling</a:t>
            </a:r>
          </a:p>
          <a:p>
            <a:pPr marL="1030065" lvl="2" indent="-285664"/>
            <a:r>
              <a:rPr lang="en-US" sz="1800" dirty="0"/>
              <a:t>Currently Supports vSphere 6.5</a:t>
            </a:r>
          </a:p>
          <a:p>
            <a:r>
              <a:rPr lang="en-US" sz="2400" dirty="0"/>
              <a:t>Output Type: PowerCLI</a:t>
            </a:r>
          </a:p>
          <a:p>
            <a:r>
              <a:rPr lang="en-US" sz="2400" dirty="0"/>
              <a:t>Never use as-is!</a:t>
            </a:r>
          </a:p>
          <a:p>
            <a:pPr marL="285664" indent="-285664"/>
            <a:r>
              <a:rPr lang="en-US" sz="2400" dirty="0"/>
              <a:t>Refer to Code Later</a:t>
            </a:r>
          </a:p>
          <a:p>
            <a:pPr marL="742727" lvl="1" indent="-285664"/>
            <a:r>
              <a:rPr lang="en-US" sz="2000" dirty="0"/>
              <a:t>Copy to Clipboard</a:t>
            </a:r>
          </a:p>
          <a:p>
            <a:pPr marL="742727" lvl="1" indent="-285664"/>
            <a:r>
              <a:rPr lang="en-US" sz="2000" dirty="0"/>
              <a:t>Download as Script</a:t>
            </a:r>
            <a:endParaRPr lang="en-US" sz="2266" dirty="0"/>
          </a:p>
        </p:txBody>
      </p:sp>
      <p:pic>
        <p:nvPicPr>
          <p:cNvPr id="8" name="Content Placeholder 8">
            <a:extLst>
              <a:ext uri="{FF2B5EF4-FFF2-40B4-BE49-F238E27FC236}">
                <a16:creationId xmlns:a16="http://schemas.microsoft.com/office/drawing/2014/main" id="{04D40A1B-E4C4-3A45-99EB-AFC44C4609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96091" y="1485058"/>
            <a:ext cx="6832083" cy="493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2205931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de_capture_inuse.mp4">
            <a:hlinkClick r:id="" action="ppaction://media"/>
            <a:extLst>
              <a:ext uri="{FF2B5EF4-FFF2-40B4-BE49-F238E27FC236}">
                <a16:creationId xmlns:a16="http://schemas.microsoft.com/office/drawing/2014/main" id="{12823BD6-40D8-9F47-B8DE-A16FAB279ED5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45868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9774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 fullScrn="1">
              <p:cMediaNode vol="80000" mute="1">
                <p:cTn id="12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1984E24C-9D87-AC43-8F3E-04892F0AE616}"/>
              </a:ext>
            </a:extLst>
          </p:cNvPr>
          <p:cNvSpPr txBox="1"/>
          <p:nvPr/>
        </p:nvSpPr>
        <p:spPr>
          <a:xfrm>
            <a:off x="139148" y="715617"/>
            <a:ext cx="1158902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/>
              <a:t>Additional Inform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83522BF-DB7A-FF4D-9AA7-14272F57BD18}"/>
              </a:ext>
            </a:extLst>
          </p:cNvPr>
          <p:cNvSpPr txBox="1">
            <a:spLocks/>
          </p:cNvSpPr>
          <p:nvPr/>
        </p:nvSpPr>
        <p:spPr>
          <a:xfrm>
            <a:off x="236306" y="1600201"/>
            <a:ext cx="11356018" cy="4572000"/>
          </a:xfrm>
          <a:prstGeom prst="rect">
            <a:avLst/>
          </a:prstGeom>
        </p:spPr>
        <p:txBody>
          <a:bodyPr/>
          <a:lstStyle>
            <a:lvl1pPr marL="228611" indent="-228611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5325" indent="-190510" algn="l" defTabSz="6096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2038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6853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69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76484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81299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86114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90930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800" dirty="0"/>
              <a:t>Make use of the community: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800" dirty="0"/>
              <a:t>VMware PowerCLI Community: </a:t>
            </a:r>
            <a:r>
              <a:rPr lang="en-US" sz="2800" dirty="0">
                <a:hlinkClick r:id="rId3"/>
              </a:rPr>
              <a:t>https://vmware.com/go/powercli</a:t>
            </a:r>
            <a:r>
              <a:rPr lang="en-US" sz="2800" dirty="0"/>
              <a:t>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800" dirty="0"/>
              <a:t>VMware Code Slack Group: </a:t>
            </a:r>
            <a:r>
              <a:rPr lang="en-US" sz="2800" dirty="0">
                <a:hlinkClick r:id="rId4"/>
              </a:rPr>
              <a:t>https://code.vmware.com/web/code/join</a:t>
            </a:r>
            <a:r>
              <a:rPr lang="en-US" sz="2800" dirty="0"/>
              <a:t>  </a:t>
            </a:r>
          </a:p>
          <a:p>
            <a:endParaRPr lang="en-US" sz="2800" dirty="0"/>
          </a:p>
          <a:p>
            <a:pPr marL="0" indent="0">
              <a:buNone/>
            </a:pPr>
            <a:r>
              <a:rPr lang="en-US" sz="2800" dirty="0"/>
              <a:t>Example Scripts:</a:t>
            </a:r>
          </a:p>
          <a:p>
            <a:r>
              <a:rPr lang="en-US" sz="2800" dirty="0"/>
              <a:t>Community Repo: </a:t>
            </a:r>
            <a:r>
              <a:rPr lang="en-US" sz="2800" dirty="0">
                <a:hlinkClick r:id="rId5"/>
              </a:rPr>
              <a:t>https://github.com/vmware/PowerCLI-Example-Scripts</a:t>
            </a:r>
            <a:endParaRPr lang="en-US" sz="2800" dirty="0"/>
          </a:p>
          <a:p>
            <a:r>
              <a:rPr lang="en-US" sz="2800" dirty="0"/>
              <a:t>Sample Exchange: </a:t>
            </a:r>
            <a:r>
              <a:rPr lang="en-US" sz="2800" dirty="0">
                <a:hlinkClick r:id="rId6"/>
              </a:rPr>
              <a:t>https://code.vmware.com/samples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465523773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1984E24C-9D87-AC43-8F3E-04892F0AE616}"/>
              </a:ext>
            </a:extLst>
          </p:cNvPr>
          <p:cNvSpPr txBox="1"/>
          <p:nvPr/>
        </p:nvSpPr>
        <p:spPr>
          <a:xfrm>
            <a:off x="139148" y="715617"/>
            <a:ext cx="1158902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dditional Inform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83522BF-DB7A-FF4D-9AA7-14272F57BD18}"/>
              </a:ext>
            </a:extLst>
          </p:cNvPr>
          <p:cNvSpPr txBox="1">
            <a:spLocks/>
          </p:cNvSpPr>
          <p:nvPr/>
        </p:nvSpPr>
        <p:spPr>
          <a:xfrm>
            <a:off x="616666" y="1600201"/>
            <a:ext cx="10975658" cy="4572000"/>
          </a:xfrm>
          <a:prstGeom prst="rect">
            <a:avLst/>
          </a:prstGeom>
        </p:spPr>
        <p:txBody>
          <a:bodyPr/>
          <a:lstStyle>
            <a:lvl1pPr marL="228611" indent="-228611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5325" indent="-190510" algn="l" defTabSz="6096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2038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6853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69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76484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81299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86114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90930" indent="-152408" algn="l" defTabSz="6096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 Complete Guide to PowerShell Punctuation</a:t>
            </a:r>
          </a:p>
          <a:p>
            <a:pPr marR="0" lvl="1" algn="l" defTabSz="60963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3"/>
              </a:rPr>
              <a:t>https://www.simple-talk.com/sysadmin/powershell/the-complete-guide-to-powershell-punctuation/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28611" marR="0" lvl="0" indent="-228611" algn="l" defTabSz="60963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lvl="0" indent="0">
              <a:buNone/>
            </a:pPr>
            <a:r>
              <a:rPr lang="en-US" sz="2800" dirty="0">
                <a:solidFill>
                  <a:prstClr val="black"/>
                </a:solidFill>
                <a:latin typeface="Calibri"/>
              </a:rPr>
              <a:t>PowerCLI Info Page: </a:t>
            </a:r>
            <a:r>
              <a:rPr lang="en-US" sz="2800" dirty="0">
                <a:hlinkClick r:id="rId4"/>
              </a:rPr>
              <a:t>https://code.vmware.com/tool/vmware-powercli</a:t>
            </a:r>
            <a:endParaRPr lang="en-US" sz="2800" dirty="0"/>
          </a:p>
          <a:p>
            <a:pPr lvl="1"/>
            <a:r>
              <a:rPr kumimoji="0" lang="en-US" sz="2534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cludes: Cmdlet Reference, User Guide, Change Log, Release Notes</a:t>
            </a:r>
          </a:p>
        </p:txBody>
      </p:sp>
    </p:spTree>
    <p:extLst>
      <p:ext uri="{BB962C8B-B14F-4D97-AF65-F5344CB8AC3E}">
        <p14:creationId xmlns:p14="http://schemas.microsoft.com/office/powerpoint/2010/main" val="36385042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5">
            <a:extLst>
              <a:ext uri="{FF2B5EF4-FFF2-40B4-BE49-F238E27FC236}">
                <a16:creationId xmlns:a16="http://schemas.microsoft.com/office/drawing/2014/main" id="{EA371B65-6B36-B040-86C3-598134A78501}"/>
              </a:ext>
            </a:extLst>
          </p:cNvPr>
          <p:cNvSpPr txBox="1">
            <a:spLocks/>
          </p:cNvSpPr>
          <p:nvPr/>
        </p:nvSpPr>
        <p:spPr>
          <a:xfrm>
            <a:off x="885919" y="977461"/>
            <a:ext cx="10660622" cy="350489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“Windows PowerShell is a </a:t>
            </a:r>
            <a:r>
              <a:rPr lang="en-US" b="1" dirty="0"/>
              <a:t>task</a:t>
            </a:r>
            <a:r>
              <a:rPr lang="en-US" b="1" dirty="0">
                <a:solidFill>
                  <a:schemeClr val="tx2"/>
                </a:solidFill>
              </a:rPr>
              <a:t> </a:t>
            </a:r>
            <a:r>
              <a:rPr lang="en-US" b="1" dirty="0"/>
              <a:t>automation</a:t>
            </a:r>
            <a:r>
              <a:rPr lang="en-US" dirty="0">
                <a:solidFill>
                  <a:schemeClr val="tx2"/>
                </a:solidFill>
              </a:rPr>
              <a:t> and </a:t>
            </a:r>
            <a:r>
              <a:rPr lang="en-US" b="1" dirty="0"/>
              <a:t>configuration</a:t>
            </a:r>
            <a:r>
              <a:rPr lang="en-US" b="1" dirty="0">
                <a:solidFill>
                  <a:schemeClr val="tx2"/>
                </a:solidFill>
              </a:rPr>
              <a:t> </a:t>
            </a:r>
            <a:r>
              <a:rPr lang="en-US" b="1" dirty="0"/>
              <a:t>management</a:t>
            </a:r>
            <a:r>
              <a:rPr lang="en-US" dirty="0">
                <a:solidFill>
                  <a:schemeClr val="tx2"/>
                </a:solidFill>
              </a:rPr>
              <a:t> </a:t>
            </a:r>
            <a:r>
              <a:rPr lang="en-US" b="1" dirty="0"/>
              <a:t>framework</a:t>
            </a:r>
            <a:r>
              <a:rPr lang="en-US" dirty="0">
                <a:solidFill>
                  <a:schemeClr val="tx2"/>
                </a:solidFill>
              </a:rPr>
              <a:t> from Microsoft, consisting of a command-line shell and associated </a:t>
            </a:r>
            <a:r>
              <a:rPr lang="en-US" b="1" dirty="0"/>
              <a:t>scripting</a:t>
            </a:r>
            <a:r>
              <a:rPr lang="en-US" b="1" dirty="0">
                <a:solidFill>
                  <a:schemeClr val="tx2"/>
                </a:solidFill>
              </a:rPr>
              <a:t> </a:t>
            </a:r>
            <a:r>
              <a:rPr lang="en-US" b="1" dirty="0"/>
              <a:t>language</a:t>
            </a:r>
            <a:r>
              <a:rPr lang="en-US" dirty="0">
                <a:solidFill>
                  <a:schemeClr val="tx2"/>
                </a:solidFill>
              </a:rPr>
              <a:t> built on the .NET Framework.”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3CFC0F72-A3AB-E14B-BA4B-922A4B61EC3D}"/>
              </a:ext>
            </a:extLst>
          </p:cNvPr>
          <p:cNvSpPr txBox="1">
            <a:spLocks/>
          </p:cNvSpPr>
          <p:nvPr/>
        </p:nvSpPr>
        <p:spPr>
          <a:xfrm>
            <a:off x="885920" y="5412808"/>
            <a:ext cx="10660622" cy="6948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>
                <a:hlinkClick r:id="rId3"/>
              </a:rPr>
              <a:t>https://en.wikipedia.org/wiki/Windows_PowerShell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773130436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A8B86D7-F5E9-4426-8F00-6433C8F4A8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03600" y="1447800"/>
            <a:ext cx="5518070" cy="4152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78894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495ECF31-86A4-104C-B5CD-33D2427100AD}"/>
              </a:ext>
            </a:extLst>
          </p:cNvPr>
          <p:cNvSpPr txBox="1">
            <a:spLocks/>
          </p:cNvSpPr>
          <p:nvPr/>
        </p:nvSpPr>
        <p:spPr>
          <a:xfrm>
            <a:off x="610627" y="1963270"/>
            <a:ext cx="10882290" cy="294429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3600" dirty="0">
                <a:solidFill>
                  <a:schemeClr val="tx1"/>
                </a:solidFill>
              </a:rPr>
              <a:t>A simple and straight-forward path to automation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2800" dirty="0"/>
              <a:t>Already installed on all modern Windows Operating Systems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2800" dirty="0"/>
              <a:t>Integrated and rich help system</a:t>
            </a:r>
          </a:p>
          <a:p>
            <a:pPr algn="l"/>
            <a:r>
              <a:rPr lang="en-US" sz="3200" dirty="0">
                <a:solidFill>
                  <a:schemeClr val="tx1"/>
                </a:solidFill>
              </a:rPr>
              <a:t>PowerShell 6.0 (aka. Core) available for Linux and </a:t>
            </a:r>
            <a:r>
              <a:rPr lang="en-US" sz="3200" dirty="0" err="1">
                <a:solidFill>
                  <a:schemeClr val="tx1"/>
                </a:solidFill>
              </a:rPr>
              <a:t>MacOS</a:t>
            </a:r>
            <a:endParaRPr lang="en-US" sz="3200" dirty="0">
              <a:solidFill>
                <a:schemeClr val="tx1"/>
              </a:solidFill>
            </a:endParaRPr>
          </a:p>
          <a:p>
            <a:pPr marL="742950" lvl="1" indent="-285750">
              <a:buFont typeface="Arial" charset="0"/>
              <a:buChar char="•"/>
            </a:pPr>
            <a:r>
              <a:rPr lang="en-US" sz="2800" dirty="0">
                <a:hlinkClick r:id="rId3"/>
              </a:rPr>
              <a:t>https://github.com/PowerShell/PowerShell</a:t>
            </a:r>
            <a:endParaRPr lang="en-US" sz="2800" dirty="0"/>
          </a:p>
          <a:p>
            <a:pPr lvl="1"/>
            <a:endParaRPr lang="en-US" sz="28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8721B9D-0C81-374C-8B9F-2708AF9CD302}"/>
              </a:ext>
            </a:extLst>
          </p:cNvPr>
          <p:cNvSpPr txBox="1"/>
          <p:nvPr/>
        </p:nvSpPr>
        <p:spPr>
          <a:xfrm>
            <a:off x="139148" y="715617"/>
            <a:ext cx="1158902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/>
              <a:t>PowerShell</a:t>
            </a:r>
          </a:p>
        </p:txBody>
      </p:sp>
    </p:spTree>
    <p:extLst>
      <p:ext uri="{BB962C8B-B14F-4D97-AF65-F5344CB8AC3E}">
        <p14:creationId xmlns:p14="http://schemas.microsoft.com/office/powerpoint/2010/main" val="24808816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A3A335A-5753-4F43-AD45-63FB04B5F853}"/>
              </a:ext>
            </a:extLst>
          </p:cNvPr>
          <p:cNvSpPr txBox="1"/>
          <p:nvPr/>
        </p:nvSpPr>
        <p:spPr>
          <a:xfrm>
            <a:off x="139148" y="715617"/>
            <a:ext cx="1158902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/>
              <a:t>PowerShell</a:t>
            </a:r>
          </a:p>
        </p:txBody>
      </p:sp>
      <p:sp>
        <p:nvSpPr>
          <p:cNvPr id="3" name="Text Placeholder 15">
            <a:extLst>
              <a:ext uri="{FF2B5EF4-FFF2-40B4-BE49-F238E27FC236}">
                <a16:creationId xmlns:a16="http://schemas.microsoft.com/office/drawing/2014/main" id="{8BDDE22E-AE84-4643-B72B-576557F8CE11}"/>
              </a:ext>
            </a:extLst>
          </p:cNvPr>
          <p:cNvSpPr txBox="1">
            <a:spLocks/>
          </p:cNvSpPr>
          <p:nvPr/>
        </p:nvSpPr>
        <p:spPr>
          <a:xfrm>
            <a:off x="208722" y="1963270"/>
            <a:ext cx="11320669" cy="27597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3600" dirty="0">
                <a:solidFill>
                  <a:schemeClr val="tx1"/>
                </a:solidFill>
              </a:rPr>
              <a:t>Modular and object-oriented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2800" dirty="0"/>
              <a:t>The best of a programming language melded with a scripting language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2800" dirty="0"/>
              <a:t>True portability of code via modules (and snap-ins)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2800" dirty="0"/>
              <a:t>Objects = Properties + Methods</a:t>
            </a:r>
          </a:p>
        </p:txBody>
      </p:sp>
    </p:spTree>
    <p:extLst>
      <p:ext uri="{BB962C8B-B14F-4D97-AF65-F5344CB8AC3E}">
        <p14:creationId xmlns:p14="http://schemas.microsoft.com/office/powerpoint/2010/main" val="12120100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E39974F-38B2-954D-8EEC-0E64315AC19D}"/>
              </a:ext>
            </a:extLst>
          </p:cNvPr>
          <p:cNvSpPr txBox="1"/>
          <p:nvPr/>
        </p:nvSpPr>
        <p:spPr>
          <a:xfrm>
            <a:off x="139148" y="715617"/>
            <a:ext cx="1158902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/>
              <a:t>VMware PowerCLI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1E4A595-9D8F-6A40-9A86-3E9A5348C366}"/>
              </a:ext>
            </a:extLst>
          </p:cNvPr>
          <p:cNvSpPr/>
          <p:nvPr/>
        </p:nvSpPr>
        <p:spPr>
          <a:xfrm>
            <a:off x="357614" y="1659285"/>
            <a:ext cx="11152094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dirty="0"/>
              <a:t>VMware’s command-line and scripting tool built on Windows PowerShell</a:t>
            </a:r>
          </a:p>
          <a:p>
            <a:endParaRPr lang="en-US" sz="2800" dirty="0"/>
          </a:p>
          <a:p>
            <a:r>
              <a:rPr lang="en-US" sz="2800" dirty="0"/>
              <a:t>Features more than 700 cmdlets for managing and automating vSphere, </a:t>
            </a:r>
            <a:r>
              <a:rPr lang="en-US" sz="2800" dirty="0" err="1"/>
              <a:t>vCloud</a:t>
            </a:r>
            <a:r>
              <a:rPr lang="en-US" sz="2800" dirty="0"/>
              <a:t>, and Horizon environments</a:t>
            </a:r>
          </a:p>
          <a:p>
            <a:endParaRPr lang="en-US" sz="2800" dirty="0"/>
          </a:p>
          <a:p>
            <a:r>
              <a:rPr lang="en-US" sz="2800" dirty="0"/>
              <a:t>One of the most robust and complete PowerShell deployments in the world</a:t>
            </a:r>
          </a:p>
          <a:p>
            <a:endParaRPr lang="en-US" sz="2800" dirty="0"/>
          </a:p>
          <a:p>
            <a:r>
              <a:rPr lang="en-US" sz="2800" dirty="0"/>
              <a:t>Over 10 years “young”!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3B12BC6-0C40-744F-84FA-29EC4B8265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46130" y="4352351"/>
            <a:ext cx="2019146" cy="2010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572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heme/theme1.xml><?xml version="1.0" encoding="utf-8"?>
<a:theme xmlns:a="http://schemas.openxmlformats.org/drawingml/2006/main" name="VMware">
  <a:themeElements>
    <a:clrScheme name="VMware">
      <a:dk1>
        <a:srgbClr val="717074"/>
      </a:dk1>
      <a:lt1>
        <a:sysClr val="window" lastClr="FFFFFF"/>
      </a:lt1>
      <a:dk2>
        <a:srgbClr val="000000"/>
      </a:dk2>
      <a:lt2>
        <a:srgbClr val="C6C6C8"/>
      </a:lt2>
      <a:accent1>
        <a:srgbClr val="0095D3"/>
      </a:accent1>
      <a:accent2>
        <a:srgbClr val="89CBDF"/>
      </a:accent2>
      <a:accent3>
        <a:srgbClr val="006990"/>
      </a:accent3>
      <a:accent4>
        <a:srgbClr val="6DB33F"/>
      </a:accent4>
      <a:accent5>
        <a:srgbClr val="C2CD23"/>
      </a:accent5>
      <a:accent6>
        <a:srgbClr val="387C2C"/>
      </a:accent6>
      <a:hlink>
        <a:srgbClr val="0095D3"/>
      </a:hlink>
      <a:folHlink>
        <a:srgbClr val="89CBD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/>
      </a:spPr>
      <a:bodyPr rtlCol="0" anchor="ctr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bg2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 dirty="0" smtClean="0"/>
        </a:defPPr>
      </a:lstStyle>
    </a:txDef>
  </a:objectDefaults>
  <a:extraClrSchemeLst/>
  <a:custClrLst>
    <a:custClr name="PMS130">
      <a:srgbClr val="FDB813"/>
    </a:custClr>
    <a:custClr name="PMS144">
      <a:srgbClr val="F8981D"/>
    </a:custClr>
    <a:custClr name="PMS180">
      <a:srgbClr val="D9541E"/>
    </a:custClr>
    <a:custClr name="PMS1807">
      <a:srgbClr val="9E3039"/>
    </a:custClr>
    <a:custClr name="PMS195">
      <a:srgbClr val="820024"/>
    </a:custClr>
    <a:custClr name="PMS174">
      <a:srgbClr val="9A3B26"/>
    </a:custClr>
    <a:custClr name="PMS7519">
      <a:srgbClr val="574319"/>
    </a:custClr>
    <a:custClr name="PMS654">
      <a:srgbClr val="003D79"/>
    </a:custClr>
  </a:custClrLst>
  <a:extLst>
    <a:ext uri="{05A4C25C-085E-4340-85A3-A5531E510DB2}">
      <thm15:themeFamily xmlns:thm15="http://schemas.microsoft.com/office/thememl/2012/main" name="VMware" id="{DA8131E0-7C5D-4C4C-BECA-18D8E3A5C38B}" vid="{3F45A39D-7473-614D-B391-5CC157602556}"/>
    </a:ext>
  </a:extLst>
</a:theme>
</file>

<file path=ppt/theme/theme10.xml><?xml version="1.0" encoding="utf-8"?>
<a:theme xmlns:a="http://schemas.openxmlformats.org/drawingml/2006/main" name="5_VMware_white_16x9">
  <a:themeElements>
    <a:clrScheme name="VMware 2019">
      <a:dk1>
        <a:srgbClr val="717074"/>
      </a:dk1>
      <a:lt1>
        <a:sysClr val="window" lastClr="FFFFFF"/>
      </a:lt1>
      <a:dk2>
        <a:srgbClr val="3F3F3F"/>
      </a:dk2>
      <a:lt2>
        <a:srgbClr val="F2F2F2"/>
      </a:lt2>
      <a:accent1>
        <a:srgbClr val="0091DA"/>
      </a:accent1>
      <a:accent2>
        <a:srgbClr val="1A428A"/>
      </a:accent2>
      <a:accent3>
        <a:srgbClr val="00C1D5"/>
      </a:accent3>
      <a:accent4>
        <a:srgbClr val="78BE20"/>
      </a:accent4>
      <a:accent5>
        <a:srgbClr val="7F35B2"/>
      </a:accent5>
      <a:accent6>
        <a:srgbClr val="387C2C"/>
      </a:accent6>
      <a:hlink>
        <a:srgbClr val="006990"/>
      </a:hlink>
      <a:folHlink>
        <a:srgbClr val="006990"/>
      </a:folHlink>
    </a:clrScheme>
    <a:fontScheme name="Custom 19">
      <a:majorFont>
        <a:latin typeface="Metropolis Light"/>
        <a:ea typeface=""/>
        <a:cs typeface=""/>
      </a:majorFont>
      <a:minorFont>
        <a:latin typeface="Metropoli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Aft>
            <a:spcPts val="600"/>
          </a:spcAft>
          <a:defRPr sz="120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 bwMode="gray">
        <a:ln w="25400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 algn="l">
          <a:spcAft>
            <a:spcPts val="600"/>
          </a:spcAft>
          <a:defRPr sz="1200" smtClean="0"/>
        </a:defPPr>
      </a:lstStyle>
    </a:txDef>
  </a:objectDefaults>
  <a:extraClrSchemeLst/>
  <a:custClrLst>
    <a:custClr name="Orange">
      <a:srgbClr val="F8981D"/>
    </a:custClr>
    <a:custClr name="Red">
      <a:srgbClr val="820024"/>
    </a:custClr>
  </a:custClrLst>
  <a:extLst>
    <a:ext uri="{05A4C25C-085E-4340-85A3-A5531E510DB2}">
      <thm15:themeFamily xmlns:thm15="http://schemas.microsoft.com/office/thememl/2012/main" name="VMWR_CorpTempRefresh_Light_07_21_hr.potx" id="{05DAF37D-AD21-46CA-8327-AA29D585B2C3}" vid="{AA349161-A6C3-488A-A8B7-7A2D5F49158C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VMware_white_16x9">
  <a:themeElements>
    <a:clrScheme name="VMware">
      <a:dk1>
        <a:srgbClr val="717074"/>
      </a:dk1>
      <a:lt1>
        <a:sysClr val="window" lastClr="FFFFFF"/>
      </a:lt1>
      <a:dk2>
        <a:srgbClr val="000000"/>
      </a:dk2>
      <a:lt2>
        <a:srgbClr val="C6C6C8"/>
      </a:lt2>
      <a:accent1>
        <a:srgbClr val="0095D3"/>
      </a:accent1>
      <a:accent2>
        <a:srgbClr val="89CBDF"/>
      </a:accent2>
      <a:accent3>
        <a:srgbClr val="006990"/>
      </a:accent3>
      <a:accent4>
        <a:srgbClr val="6DB33F"/>
      </a:accent4>
      <a:accent5>
        <a:srgbClr val="C2CD23"/>
      </a:accent5>
      <a:accent6>
        <a:srgbClr val="387C2C"/>
      </a:accent6>
      <a:hlink>
        <a:srgbClr val="0095D3"/>
      </a:hlink>
      <a:folHlink>
        <a:srgbClr val="89CBD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/>
      </a:spPr>
      <a:bodyPr rtlCol="0" anchor="ctr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bg2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 dirty="0" smtClean="0"/>
        </a:defPPr>
      </a:lstStyle>
    </a:txDef>
  </a:objectDefaults>
  <a:extraClrSchemeLst/>
  <a:custClrLst>
    <a:custClr name="PMS130">
      <a:srgbClr val="FDB813"/>
    </a:custClr>
    <a:custClr name="PMS144">
      <a:srgbClr val="F8981D"/>
    </a:custClr>
    <a:custClr name="PMS180">
      <a:srgbClr val="D9541E"/>
    </a:custClr>
    <a:custClr name="PMS1807">
      <a:srgbClr val="9E3039"/>
    </a:custClr>
    <a:custClr name="PMS195">
      <a:srgbClr val="820024"/>
    </a:custClr>
    <a:custClr name="PMS174">
      <a:srgbClr val="9A3B26"/>
    </a:custClr>
    <a:custClr name="PMS7519">
      <a:srgbClr val="574319"/>
    </a:custClr>
    <a:custClr name="PMS654">
      <a:srgbClr val="003D79"/>
    </a:custClr>
  </a:custClrLst>
</a:theme>
</file>

<file path=ppt/theme/theme3.xml><?xml version="1.0" encoding="utf-8"?>
<a:theme xmlns:a="http://schemas.openxmlformats.org/drawingml/2006/main" name="2_VMware_white_16x9">
  <a:themeElements>
    <a:clrScheme name="VMware">
      <a:dk1>
        <a:srgbClr val="717074"/>
      </a:dk1>
      <a:lt1>
        <a:sysClr val="window" lastClr="FFFFFF"/>
      </a:lt1>
      <a:dk2>
        <a:srgbClr val="000000"/>
      </a:dk2>
      <a:lt2>
        <a:srgbClr val="C6C6C8"/>
      </a:lt2>
      <a:accent1>
        <a:srgbClr val="0095D3"/>
      </a:accent1>
      <a:accent2>
        <a:srgbClr val="89CBDF"/>
      </a:accent2>
      <a:accent3>
        <a:srgbClr val="006990"/>
      </a:accent3>
      <a:accent4>
        <a:srgbClr val="6DB33F"/>
      </a:accent4>
      <a:accent5>
        <a:srgbClr val="C2CD23"/>
      </a:accent5>
      <a:accent6>
        <a:srgbClr val="387C2C"/>
      </a:accent6>
      <a:hlink>
        <a:srgbClr val="0095D3"/>
      </a:hlink>
      <a:folHlink>
        <a:srgbClr val="89CBD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/>
      </a:spPr>
      <a:bodyPr rtlCol="0" anchor="ctr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bg2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 dirty="0" smtClean="0"/>
        </a:defPPr>
      </a:lstStyle>
    </a:txDef>
  </a:objectDefaults>
  <a:extraClrSchemeLst/>
  <a:custClrLst>
    <a:custClr name="PMS130">
      <a:srgbClr val="FDB813"/>
    </a:custClr>
    <a:custClr name="PMS144">
      <a:srgbClr val="F8981D"/>
    </a:custClr>
    <a:custClr name="PMS180">
      <a:srgbClr val="D9541E"/>
    </a:custClr>
    <a:custClr name="PMS1807">
      <a:srgbClr val="9E3039"/>
    </a:custClr>
    <a:custClr name="PMS195">
      <a:srgbClr val="820024"/>
    </a:custClr>
    <a:custClr name="PMS174">
      <a:srgbClr val="9A3B26"/>
    </a:custClr>
    <a:custClr name="PMS7519">
      <a:srgbClr val="574319"/>
    </a:custClr>
    <a:custClr name="PMS654">
      <a:srgbClr val="003D79"/>
    </a:custClr>
  </a:custClrLst>
</a:theme>
</file>

<file path=ppt/theme/theme4.xml><?xml version="1.0" encoding="utf-8"?>
<a:theme xmlns:a="http://schemas.openxmlformats.org/drawingml/2006/main" name="1_VMware_white_4x3">
  <a:themeElements>
    <a:clrScheme name="VMware">
      <a:dk1>
        <a:srgbClr val="717074"/>
      </a:dk1>
      <a:lt1>
        <a:sysClr val="window" lastClr="FFFFFF"/>
      </a:lt1>
      <a:dk2>
        <a:srgbClr val="000000"/>
      </a:dk2>
      <a:lt2>
        <a:srgbClr val="C6C6C8"/>
      </a:lt2>
      <a:accent1>
        <a:srgbClr val="0095D3"/>
      </a:accent1>
      <a:accent2>
        <a:srgbClr val="89CBDF"/>
      </a:accent2>
      <a:accent3>
        <a:srgbClr val="006990"/>
      </a:accent3>
      <a:accent4>
        <a:srgbClr val="6DB33F"/>
      </a:accent4>
      <a:accent5>
        <a:srgbClr val="C2CD23"/>
      </a:accent5>
      <a:accent6>
        <a:srgbClr val="387C2C"/>
      </a:accent6>
      <a:hlink>
        <a:srgbClr val="0095D3"/>
      </a:hlink>
      <a:folHlink>
        <a:srgbClr val="89CBD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/>
      </a:spPr>
      <a:bodyPr rtlCol="0" anchor="ctr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bg2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 dirty="0" smtClean="0"/>
        </a:defPPr>
      </a:lstStyle>
    </a:txDef>
  </a:objectDefaults>
  <a:extraClrSchemeLst/>
  <a:custClrLst>
    <a:custClr name="PMS130">
      <a:srgbClr val="FDB813"/>
    </a:custClr>
    <a:custClr name="PMS144">
      <a:srgbClr val="F8981D"/>
    </a:custClr>
    <a:custClr name="PMS180">
      <a:srgbClr val="D9541E"/>
    </a:custClr>
    <a:custClr name="PMS1807">
      <a:srgbClr val="9E3039"/>
    </a:custClr>
    <a:custClr name="PMS195">
      <a:srgbClr val="820024"/>
    </a:custClr>
    <a:custClr name="PMS174">
      <a:srgbClr val="9A3B26"/>
    </a:custClr>
    <a:custClr name="PMS7519">
      <a:srgbClr val="574319"/>
    </a:custClr>
    <a:custClr name="PMS654">
      <a:srgbClr val="003D79"/>
    </a:custClr>
  </a:custClrLst>
</a:theme>
</file>

<file path=ppt/theme/theme5.xml><?xml version="1.0" encoding="utf-8"?>
<a:theme xmlns:a="http://schemas.openxmlformats.org/drawingml/2006/main" name="4_VMware_white_16x9">
  <a:themeElements>
    <a:clrScheme name="VMware">
      <a:dk1>
        <a:srgbClr val="717074"/>
      </a:dk1>
      <a:lt1>
        <a:sysClr val="window" lastClr="FFFFFF"/>
      </a:lt1>
      <a:dk2>
        <a:srgbClr val="000000"/>
      </a:dk2>
      <a:lt2>
        <a:srgbClr val="C6C6C8"/>
      </a:lt2>
      <a:accent1>
        <a:srgbClr val="0095D3"/>
      </a:accent1>
      <a:accent2>
        <a:srgbClr val="89CBDF"/>
      </a:accent2>
      <a:accent3>
        <a:srgbClr val="006990"/>
      </a:accent3>
      <a:accent4>
        <a:srgbClr val="6DB33F"/>
      </a:accent4>
      <a:accent5>
        <a:srgbClr val="C2CD23"/>
      </a:accent5>
      <a:accent6>
        <a:srgbClr val="387C2C"/>
      </a:accent6>
      <a:hlink>
        <a:srgbClr val="0095D3"/>
      </a:hlink>
      <a:folHlink>
        <a:srgbClr val="89CBD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/>
      </a:spPr>
      <a:bodyPr rtlCol="0" anchor="ctr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bg2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 dirty="0" smtClean="0"/>
        </a:defPPr>
      </a:lstStyle>
    </a:txDef>
  </a:objectDefaults>
  <a:extraClrSchemeLst/>
  <a:custClrLst>
    <a:custClr name="PMS130">
      <a:srgbClr val="FDB813"/>
    </a:custClr>
    <a:custClr name="PMS144">
      <a:srgbClr val="F8981D"/>
    </a:custClr>
    <a:custClr name="PMS180">
      <a:srgbClr val="D9541E"/>
    </a:custClr>
    <a:custClr name="PMS1807">
      <a:srgbClr val="9E3039"/>
    </a:custClr>
    <a:custClr name="PMS195">
      <a:srgbClr val="820024"/>
    </a:custClr>
    <a:custClr name="PMS174">
      <a:srgbClr val="9A3B26"/>
    </a:custClr>
    <a:custClr name="PMS7519">
      <a:srgbClr val="574319"/>
    </a:custClr>
    <a:custClr name="PMS654">
      <a:srgbClr val="003D79"/>
    </a:custClr>
  </a:custClrLst>
  <a:extLst>
    <a:ext uri="{05A4C25C-085E-4340-85A3-A5531E510DB2}">
      <thm15:themeFamily xmlns:thm15="http://schemas.microsoft.com/office/thememl/2012/main" name="blank.potx" id="{CDC00B7B-5647-46B5-AF63-08286C364102}" vid="{1614787C-6D0B-418E-9572-CFEA4ED2B18D}"/>
    </a:ext>
  </a:extLst>
</a:theme>
</file>

<file path=ppt/theme/theme6.xml><?xml version="1.0" encoding="utf-8"?>
<a:theme xmlns:a="http://schemas.openxmlformats.org/drawingml/2006/main" name="VMware_white_16x9">
  <a:themeElements>
    <a:clrScheme name="Custom 8">
      <a:dk1>
        <a:srgbClr val="717074"/>
      </a:dk1>
      <a:lt1>
        <a:sysClr val="window" lastClr="FFFFFF"/>
      </a:lt1>
      <a:dk2>
        <a:srgbClr val="3F3F3F"/>
      </a:dk2>
      <a:lt2>
        <a:srgbClr val="F2F2F2"/>
      </a:lt2>
      <a:accent1>
        <a:srgbClr val="0095D3"/>
      </a:accent1>
      <a:accent2>
        <a:srgbClr val="003D79"/>
      </a:accent2>
      <a:accent3>
        <a:srgbClr val="006990"/>
      </a:accent3>
      <a:accent4>
        <a:srgbClr val="6DB33F"/>
      </a:accent4>
      <a:accent5>
        <a:srgbClr val="AADB1E"/>
      </a:accent5>
      <a:accent6>
        <a:srgbClr val="387C2C"/>
      </a:accent6>
      <a:hlink>
        <a:srgbClr val="006990"/>
      </a:hlink>
      <a:folHlink>
        <a:srgbClr val="006990"/>
      </a:folHlink>
    </a:clrScheme>
    <a:fontScheme name="Custom 19">
      <a:majorFont>
        <a:latin typeface="Metropolis Light"/>
        <a:ea typeface=""/>
        <a:cs typeface=""/>
      </a:majorFont>
      <a:minorFont>
        <a:latin typeface="Metropoli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Aft>
            <a:spcPts val="600"/>
          </a:spcAft>
          <a:defRPr sz="120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 bwMode="gray">
        <a:ln w="25400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 algn="l">
          <a:spcAft>
            <a:spcPts val="600"/>
          </a:spcAft>
          <a:defRPr sz="1200" smtClean="0"/>
        </a:defPPr>
      </a:lstStyle>
    </a:txDef>
  </a:objectDefaults>
  <a:extraClrSchemeLst/>
  <a:custClrLst>
    <a:custClr name="Orange">
      <a:srgbClr val="F8981D"/>
    </a:custClr>
    <a:custClr name="Red">
      <a:srgbClr val="820024"/>
    </a:custClr>
    <a:custClr name="Baby Blue">
      <a:srgbClr val="89CBDF"/>
    </a:custClr>
  </a:custClrLst>
  <a:extLst>
    <a:ext uri="{05A4C25C-085E-4340-85A3-A5531E510DB2}">
      <thm15:themeFamily xmlns:thm15="http://schemas.microsoft.com/office/thememl/2012/main" name="VMWR_CorpTempRefresh_Light_07_21_hr.potx" id="{05DAF37D-AD21-46CA-8327-AA29D585B2C3}" vid="{AA349161-A6C3-488A-A8B7-7A2D5F49158C}"/>
    </a:ext>
  </a:extLst>
</a:theme>
</file>

<file path=ppt/theme/theme7.xml><?xml version="1.0" encoding="utf-8"?>
<a:theme xmlns:a="http://schemas.openxmlformats.org/drawingml/2006/main" name="3_VMware_white_16x9">
  <a:themeElements>
    <a:clrScheme name="VMware 2019">
      <a:dk1>
        <a:srgbClr val="717074"/>
      </a:dk1>
      <a:lt1>
        <a:sysClr val="window" lastClr="FFFFFF"/>
      </a:lt1>
      <a:dk2>
        <a:srgbClr val="3F3F3F"/>
      </a:dk2>
      <a:lt2>
        <a:srgbClr val="F2F2F2"/>
      </a:lt2>
      <a:accent1>
        <a:srgbClr val="0091DA"/>
      </a:accent1>
      <a:accent2>
        <a:srgbClr val="1A428A"/>
      </a:accent2>
      <a:accent3>
        <a:srgbClr val="00C1D5"/>
      </a:accent3>
      <a:accent4>
        <a:srgbClr val="78BE20"/>
      </a:accent4>
      <a:accent5>
        <a:srgbClr val="7F35B2"/>
      </a:accent5>
      <a:accent6>
        <a:srgbClr val="387C2C"/>
      </a:accent6>
      <a:hlink>
        <a:srgbClr val="006990"/>
      </a:hlink>
      <a:folHlink>
        <a:srgbClr val="006990"/>
      </a:folHlink>
    </a:clrScheme>
    <a:fontScheme name="Custom 19">
      <a:majorFont>
        <a:latin typeface="Metropolis Light"/>
        <a:ea typeface=""/>
        <a:cs typeface=""/>
      </a:majorFont>
      <a:minorFont>
        <a:latin typeface="Metropoli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Aft>
            <a:spcPts val="600"/>
          </a:spcAft>
          <a:defRPr sz="120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 bwMode="gray">
        <a:ln w="25400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 algn="l">
          <a:spcAft>
            <a:spcPts val="600"/>
          </a:spcAft>
          <a:defRPr sz="1200" smtClean="0"/>
        </a:defPPr>
      </a:lstStyle>
    </a:txDef>
  </a:objectDefaults>
  <a:extraClrSchemeLst/>
  <a:custClrLst>
    <a:custClr name="Orange">
      <a:srgbClr val="F8981D"/>
    </a:custClr>
    <a:custClr name="Red">
      <a:srgbClr val="820024"/>
    </a:custClr>
  </a:custClrLst>
  <a:extLst>
    <a:ext uri="{05A4C25C-085E-4340-85A3-A5531E510DB2}">
      <thm15:themeFamily xmlns:thm15="http://schemas.microsoft.com/office/thememl/2012/main" name="VMWR_CorpTempRefresh_Light_07_21_hr.potx" id="{05DAF37D-AD21-46CA-8327-AA29D585B2C3}" vid="{AA349161-A6C3-488A-A8B7-7A2D5F49158C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VMware</Template>
  <TotalTime>1003</TotalTime>
  <Words>1623</Words>
  <Application>Microsoft Office PowerPoint</Application>
  <PresentationFormat>Widescreen</PresentationFormat>
  <Paragraphs>375</Paragraphs>
  <Slides>60</Slides>
  <Notes>0</Notes>
  <HiddenSlides>0</HiddenSlides>
  <MMClips>2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0</vt:i4>
      </vt:variant>
    </vt:vector>
  </HeadingPairs>
  <TitlesOfParts>
    <vt:vector size="85" baseType="lpstr">
      <vt:lpstr>Arial</vt:lpstr>
      <vt:lpstr>Bahnschrift SemiCondensed</vt:lpstr>
      <vt:lpstr>Calibri</vt:lpstr>
      <vt:lpstr>Camphor Std</vt:lpstr>
      <vt:lpstr>Consolas</vt:lpstr>
      <vt:lpstr>Dubai Medium</vt:lpstr>
      <vt:lpstr>Lucida Console</vt:lpstr>
      <vt:lpstr>Menlo</vt:lpstr>
      <vt:lpstr>Metropolis</vt:lpstr>
      <vt:lpstr>Metropolis Light</vt:lpstr>
      <vt:lpstr>Open Sans</vt:lpstr>
      <vt:lpstr>Tahoma</vt:lpstr>
      <vt:lpstr>Verdana</vt:lpstr>
      <vt:lpstr>Wingdings</vt:lpstr>
      <vt:lpstr>VMware</vt:lpstr>
      <vt:lpstr>1_VMware_white_16x9</vt:lpstr>
      <vt:lpstr>2_VMware_white_16x9</vt:lpstr>
      <vt:lpstr>1_VMware_white_4x3</vt:lpstr>
      <vt:lpstr>4_VMware_white_16x9</vt:lpstr>
      <vt:lpstr>VMware_white_16x9</vt:lpstr>
      <vt:lpstr>3_VMware_white_16x9</vt:lpstr>
      <vt:lpstr>Office Theme</vt:lpstr>
      <vt:lpstr>1_Office Theme</vt:lpstr>
      <vt:lpstr>5_VMware_white_16x9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yle Ruddy</dc:creator>
  <cp:lastModifiedBy>Luc Dekens</cp:lastModifiedBy>
  <cp:revision>36</cp:revision>
  <dcterms:created xsi:type="dcterms:W3CDTF">2017-05-01T14:10:48Z</dcterms:created>
  <dcterms:modified xsi:type="dcterms:W3CDTF">2019-09-24T11:54:32Z</dcterms:modified>
</cp:coreProperties>
</file>